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theme/themeOverride2.xml" ContentType="application/vnd.openxmlformats-officedocument.themeOverride+xml"/>
  <Override PartName="/ppt/charts/chart4.xml" ContentType="application/vnd.openxmlformats-officedocument.drawingml.chart+xml"/>
  <Override PartName="/ppt/theme/themeOverride3.xml" ContentType="application/vnd.openxmlformats-officedocument.themeOverride+xml"/>
  <Override PartName="/ppt/charts/chart5.xml" ContentType="application/vnd.openxmlformats-officedocument.drawingml.chart+xml"/>
  <Override PartName="/ppt/theme/themeOverride4.xml" ContentType="application/vnd.openxmlformats-officedocument.themeOverr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9"/>
  </p:notesMasterIdLst>
  <p:sldIdLst>
    <p:sldId id="732" r:id="rId2"/>
    <p:sldId id="733" r:id="rId3"/>
    <p:sldId id="743" r:id="rId4"/>
    <p:sldId id="736" r:id="rId5"/>
    <p:sldId id="764" r:id="rId6"/>
    <p:sldId id="791" r:id="rId7"/>
    <p:sldId id="792" r:id="rId8"/>
    <p:sldId id="793" r:id="rId9"/>
    <p:sldId id="737" r:id="rId10"/>
    <p:sldId id="794" r:id="rId11"/>
    <p:sldId id="795" r:id="rId12"/>
    <p:sldId id="796" r:id="rId13"/>
    <p:sldId id="797" r:id="rId14"/>
    <p:sldId id="738" r:id="rId15"/>
    <p:sldId id="798" r:id="rId16"/>
    <p:sldId id="799" r:id="rId17"/>
    <p:sldId id="800" r:id="rId18"/>
    <p:sldId id="801" r:id="rId19"/>
    <p:sldId id="739" r:id="rId20"/>
    <p:sldId id="802" r:id="rId21"/>
    <p:sldId id="803" r:id="rId22"/>
    <p:sldId id="804" r:id="rId23"/>
    <p:sldId id="805" r:id="rId24"/>
    <p:sldId id="806" r:id="rId25"/>
    <p:sldId id="304" r:id="rId26"/>
    <p:sldId id="305" r:id="rId27"/>
    <p:sldId id="306" r:id="rId28"/>
  </p:sldIdLst>
  <p:sldSz cx="12192000" cy="6858000"/>
  <p:notesSz cx="6858000" cy="9144000"/>
  <p:custDataLst>
    <p:tags r:id="rId3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00000"/>
    <a:srgbClr val="F57B26"/>
    <a:srgbClr val="6FCEFE"/>
    <a:srgbClr val="60A757"/>
    <a:srgbClr val="FFFFFF"/>
    <a:srgbClr val="D54839"/>
    <a:srgbClr val="84E2FD"/>
    <a:srgbClr val="DC4534"/>
    <a:srgbClr val="F4F4F6"/>
    <a:srgbClr val="F5F5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3676" autoAdjust="0"/>
    <p:restoredTop sz="90866" autoAdjust="0"/>
  </p:normalViewPr>
  <p:slideViewPr>
    <p:cSldViewPr snapToGrid="0" showGuides="1">
      <p:cViewPr varScale="1">
        <p:scale>
          <a:sx n="72" d="100"/>
          <a:sy n="72" d="100"/>
        </p:scale>
        <p:origin x="306" y="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39" d="100"/>
        <a:sy n="139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2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3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6FCEFE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6DD8-4747-9642-5DCC7B0E2675}"/>
              </c:ext>
            </c:extLst>
          </c:dPt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DD8-4747-9642-5DCC7B0E267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F57B26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DD8-4747-9642-5DCC7B0E267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D00000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DD8-4747-9642-5DCC7B0E26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34"/>
        <c:overlap val="-100"/>
        <c:axId val="523687424"/>
        <c:axId val="523688960"/>
      </c:barChart>
      <c:catAx>
        <c:axId val="5236874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523688960"/>
        <c:crosses val="autoZero"/>
        <c:auto val="1"/>
        <c:lblAlgn val="ctr"/>
        <c:lblOffset val="100"/>
        <c:noMultiLvlLbl val="0"/>
      </c:catAx>
      <c:valAx>
        <c:axId val="52368896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zh-CN"/>
          </a:p>
        </c:txPr>
        <c:crossAx val="523687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  <a:ea typeface="+mn-ea"/>
          <a:cs typeface="+mn-ea"/>
          <a:sym typeface="+mn-lt"/>
        </a:defRPr>
      </a:pPr>
      <a:endParaRPr lang="zh-CN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0697583486215729"/>
          <c:y val="8.6676963429184198E-2"/>
          <c:w val="0.66319444444444442"/>
          <c:h val="0.8377192982456140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noFill/>
            <a:ln>
              <a:solidFill>
                <a:srgbClr val="6FCEFE"/>
              </a:solidFill>
            </a:ln>
          </c:spPr>
          <c:dPt>
            <c:idx val="0"/>
            <c:bubble3D val="0"/>
            <c:spPr>
              <a:solidFill>
                <a:srgbClr val="6FCEFE"/>
              </a:solidFill>
              <a:ln>
                <a:solidFill>
                  <a:srgbClr val="6FCEFE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24F6-4688-9103-34E654843A64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2-24F6-4688-9103-34E654843A64}"/>
              </c:ext>
            </c:extLst>
          </c:dPt>
          <c:cat>
            <c:strRef>
              <c:f>Sheet1!$A$2:$A$3</c:f>
              <c:strCache>
                <c:ptCount val="2"/>
                <c:pt idx="0">
                  <c:v>A</c:v>
                </c:pt>
                <c:pt idx="1">
                  <c:v>B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>
                  <c:v>0.4</c:v>
                </c:pt>
                <c:pt idx="1">
                  <c:v>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4F6-4688-9103-34E654843A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plotVisOnly val="1"/>
    <c:dispBlanksAs val="zero"/>
    <c:showDLblsOverMax val="0"/>
  </c:chart>
  <c:txPr>
    <a:bodyPr/>
    <a:lstStyle/>
    <a:p>
      <a:pPr>
        <a:defRPr sz="1800">
          <a:latin typeface="+mn-lt"/>
          <a:ea typeface="+mn-ea"/>
          <a:cs typeface="+mn-ea"/>
          <a:sym typeface="+mn-lt"/>
        </a:defRPr>
      </a:pPr>
      <a:endParaRPr lang="zh-CN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0697583486215729"/>
          <c:y val="8.6676963429184198E-2"/>
          <c:w val="0.66319444444444442"/>
          <c:h val="0.8377192982456140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rgbClr val="800080"/>
            </a:solidFill>
            <a:ln>
              <a:solidFill>
                <a:srgbClr val="800080"/>
              </a:solidFill>
            </a:ln>
          </c:spPr>
          <c:dPt>
            <c:idx val="0"/>
            <c:bubble3D val="0"/>
            <c:spPr>
              <a:solidFill>
                <a:srgbClr val="F57B26"/>
              </a:solidFill>
              <a:ln>
                <a:solidFill>
                  <a:srgbClr val="F57B26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D6E0-445B-9D16-19B484F74FA7}"/>
              </c:ext>
            </c:extLst>
          </c:dPt>
          <c:dPt>
            <c:idx val="1"/>
            <c:bubble3D val="0"/>
            <c:spPr>
              <a:noFill/>
              <a:ln>
                <a:solidFill>
                  <a:srgbClr val="F57B26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D6E0-445B-9D16-19B484F74FA7}"/>
              </c:ext>
            </c:extLst>
          </c:dPt>
          <c:cat>
            <c:strRef>
              <c:f>Sheet1!$A$2:$A$3</c:f>
              <c:strCache>
                <c:ptCount val="2"/>
                <c:pt idx="0">
                  <c:v>A</c:v>
                </c:pt>
                <c:pt idx="1">
                  <c:v>B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>
                  <c:v>0.6</c:v>
                </c:pt>
                <c:pt idx="1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6E0-445B-9D16-19B484F74F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plotVisOnly val="1"/>
    <c:dispBlanksAs val="zero"/>
    <c:showDLblsOverMax val="0"/>
  </c:chart>
  <c:txPr>
    <a:bodyPr/>
    <a:lstStyle/>
    <a:p>
      <a:pPr>
        <a:defRPr sz="1800">
          <a:latin typeface="+mn-lt"/>
          <a:ea typeface="+mn-ea"/>
          <a:cs typeface="+mn-ea"/>
          <a:sym typeface="+mn-lt"/>
        </a:defRPr>
      </a:pPr>
      <a:endParaRPr lang="zh-CN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0697583486215729"/>
          <c:y val="8.6676963429184198E-2"/>
          <c:w val="0.66319444444444442"/>
          <c:h val="0.8377192982456140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rgbClr val="800080"/>
            </a:solidFill>
            <a:ln>
              <a:solidFill>
                <a:srgbClr val="800080"/>
              </a:solidFill>
            </a:ln>
          </c:spPr>
          <c:dPt>
            <c:idx val="0"/>
            <c:bubble3D val="0"/>
            <c:spPr>
              <a:solidFill>
                <a:srgbClr val="60A757"/>
              </a:solidFill>
              <a:ln>
                <a:solidFill>
                  <a:srgbClr val="60A757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4641-49D2-A48A-65DA01FC659B}"/>
              </c:ext>
            </c:extLst>
          </c:dPt>
          <c:dPt>
            <c:idx val="1"/>
            <c:bubble3D val="0"/>
            <c:spPr>
              <a:noFill/>
              <a:ln>
                <a:solidFill>
                  <a:srgbClr val="60A757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4641-49D2-A48A-65DA01FC659B}"/>
              </c:ext>
            </c:extLst>
          </c:dPt>
          <c:cat>
            <c:strRef>
              <c:f>Sheet1!$A$2:$A$3</c:f>
              <c:strCache>
                <c:ptCount val="2"/>
                <c:pt idx="0">
                  <c:v>A</c:v>
                </c:pt>
                <c:pt idx="1">
                  <c:v>B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>
                  <c:v>0.8</c:v>
                </c:pt>
                <c:pt idx="1">
                  <c:v>0.19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641-49D2-A48A-65DA01FC65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plotVisOnly val="1"/>
    <c:dispBlanksAs val="zero"/>
    <c:showDLblsOverMax val="0"/>
  </c:chart>
  <c:txPr>
    <a:bodyPr/>
    <a:lstStyle/>
    <a:p>
      <a:pPr>
        <a:defRPr sz="1800">
          <a:latin typeface="+mn-lt"/>
          <a:ea typeface="+mn-ea"/>
          <a:cs typeface="+mn-ea"/>
          <a:sym typeface="+mn-lt"/>
        </a:defRPr>
      </a:pPr>
      <a:endParaRPr lang="zh-CN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0697583486215729"/>
          <c:y val="8.6676963429184198E-2"/>
          <c:w val="0.66319444444444442"/>
          <c:h val="0.8377192982456140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rgbClr val="800080"/>
            </a:solidFill>
            <a:ln>
              <a:solidFill>
                <a:srgbClr val="800080"/>
              </a:solidFill>
            </a:ln>
          </c:spPr>
          <c:dPt>
            <c:idx val="0"/>
            <c:bubble3D val="0"/>
            <c:spPr>
              <a:solidFill>
                <a:srgbClr val="D00000"/>
              </a:solidFill>
              <a:ln>
                <a:solidFill>
                  <a:srgbClr val="D00000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1FE6-4BAF-AC1F-364A31E9C778}"/>
              </c:ext>
            </c:extLst>
          </c:dPt>
          <c:dPt>
            <c:idx val="1"/>
            <c:bubble3D val="0"/>
            <c:spPr>
              <a:noFill/>
              <a:ln>
                <a:solidFill>
                  <a:srgbClr val="D00000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1FE6-4BAF-AC1F-364A31E9C778}"/>
              </c:ext>
            </c:extLst>
          </c:dPt>
          <c:cat>
            <c:strRef>
              <c:f>Sheet1!$A$2:$A$3</c:f>
              <c:strCache>
                <c:ptCount val="2"/>
                <c:pt idx="0">
                  <c:v>A</c:v>
                </c:pt>
                <c:pt idx="1">
                  <c:v>B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>
                  <c:v>0.8</c:v>
                </c:pt>
                <c:pt idx="1">
                  <c:v>0.19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FE6-4BAF-AC1F-364A31E9C7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plotVisOnly val="1"/>
    <c:dispBlanksAs val="zero"/>
    <c:showDLblsOverMax val="0"/>
  </c:chart>
  <c:txPr>
    <a:bodyPr/>
    <a:lstStyle/>
    <a:p>
      <a:pPr>
        <a:defRPr sz="1800">
          <a:latin typeface="+mn-lt"/>
          <a:ea typeface="+mn-ea"/>
          <a:cs typeface="+mn-ea"/>
          <a:sym typeface="+mn-lt"/>
        </a:defRPr>
      </a:pPr>
      <a:endParaRPr lang="zh-CN"/>
    </a:p>
  </c:tx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13E272-A017-45D1-BF50-E01C56DEC431}" type="datetimeFigureOut">
              <a:rPr lang="zh-CN" altLang="en-US" smtClean="0"/>
              <a:t>2020/9/1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5DD8BC-D6FC-4DC7-95EE-0B21F35818F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952520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8" Type="http://schemas.openxmlformats.org/officeDocument/2006/relationships/hyperlink" Target="http://www.1ppt.com/tubiao/" TargetMode="External"/><Relationship Id="rId13" Type="http://schemas.openxmlformats.org/officeDocument/2006/relationships/hyperlink" Target="http://www.1ppt.com/jianli/" TargetMode="External"/><Relationship Id="rId18" Type="http://schemas.openxmlformats.org/officeDocument/2006/relationships/hyperlink" Target="http://www.1ppt.com/ziti/" TargetMode="External"/><Relationship Id="rId3" Type="http://schemas.openxmlformats.org/officeDocument/2006/relationships/hyperlink" Target="http://www.1ppt.com/moban/" TargetMode="External"/><Relationship Id="rId7" Type="http://schemas.openxmlformats.org/officeDocument/2006/relationships/hyperlink" Target="http://www.1ppt.com/beijing/" TargetMode="External"/><Relationship Id="rId12" Type="http://schemas.openxmlformats.org/officeDocument/2006/relationships/hyperlink" Target="http://www.1ppt.com/excel/" TargetMode="External"/><Relationship Id="rId17" Type="http://schemas.openxmlformats.org/officeDocument/2006/relationships/hyperlink" Target="http://www.1ppt.com/jiaoan/" TargetMode="External"/><Relationship Id="rId2" Type="http://schemas.openxmlformats.org/officeDocument/2006/relationships/slide" Target="../slides/slide14.xml"/><Relationship Id="rId16" Type="http://schemas.openxmlformats.org/officeDocument/2006/relationships/hyperlink" Target="http://www.1ppt.com/shiti/" TargetMode="External"/><Relationship Id="rId1" Type="http://schemas.openxmlformats.org/officeDocument/2006/relationships/notesMaster" Target="../notesMasters/notesMaster1.xml"/><Relationship Id="rId6" Type="http://schemas.openxmlformats.org/officeDocument/2006/relationships/hyperlink" Target="http://www.1ppt.com/sucai/" TargetMode="External"/><Relationship Id="rId11" Type="http://schemas.openxmlformats.org/officeDocument/2006/relationships/hyperlink" Target="http://www.1ppt.com/word/" TargetMode="External"/><Relationship Id="rId5" Type="http://schemas.openxmlformats.org/officeDocument/2006/relationships/hyperlink" Target="http://www.1ppt.com/jieri/" TargetMode="External"/><Relationship Id="rId15" Type="http://schemas.openxmlformats.org/officeDocument/2006/relationships/hyperlink" Target="http://www.1ppt.com/shouchaobao/" TargetMode="External"/><Relationship Id="rId10" Type="http://schemas.openxmlformats.org/officeDocument/2006/relationships/hyperlink" Target="http://www.1ppt.com/powerpoint/" TargetMode="External"/><Relationship Id="rId4" Type="http://schemas.openxmlformats.org/officeDocument/2006/relationships/hyperlink" Target="http://www.1ppt.com/hangye/" TargetMode="External"/><Relationship Id="rId9" Type="http://schemas.openxmlformats.org/officeDocument/2006/relationships/hyperlink" Target="http://www.1ppt.com/xiazai/" TargetMode="External"/><Relationship Id="rId14" Type="http://schemas.openxmlformats.org/officeDocument/2006/relationships/hyperlink" Target="http://www.1ppt.com/kejian/" TargetMode="Externa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810554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838202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7159341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203478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4249154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.</a:t>
            </a:r>
            <a:r>
              <a:rPr lang="zh-CN" altLang="en-US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emplate:       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3"/>
              </a:rPr>
              <a:t>www.1ppt.com/moban/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           </a:t>
            </a:r>
            <a:r>
              <a:rPr lang="zh-CN" altLang="en-US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ndustry.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.</a:t>
            </a:r>
            <a:r>
              <a:rPr lang="zh-CN" altLang="en-US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emplate: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4"/>
              </a:rPr>
              <a:t>www.1ppt.com/hangye/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</a:p>
          <a:p>
            <a:r>
              <a:rPr lang="zh-CN" altLang="en-US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estival.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.</a:t>
            </a:r>
            <a:r>
              <a:rPr lang="zh-CN" altLang="en-US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emplate: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5"/>
              </a:rPr>
              <a:t>www.1ppt.com/jieri/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                 Ppt.</a:t>
            </a:r>
            <a:r>
              <a:rPr lang="zh-CN" altLang="en-US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aterial:       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6"/>
              </a:rPr>
              <a:t>www.1ppt.com/sucai/</a:t>
            </a:r>
            <a:endParaRPr lang="en-US" altLang="zh-CN" sz="1200" dirty="0">
              <a:solidFill>
                <a:srgbClr val="EEECE1">
                  <a:lumMod val="2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.</a:t>
            </a:r>
            <a:r>
              <a:rPr lang="zh-CN" altLang="en-US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ackground picture: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7"/>
              </a:rPr>
              <a:t>www.1ppt.com/beijing/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            Ppt.</a:t>
            </a:r>
            <a:r>
              <a:rPr lang="zh-CN" altLang="en-US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hart:       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8"/>
              </a:rPr>
              <a:t>www.1ppt.com/tubiao/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</a:t>
            </a:r>
          </a:p>
          <a:p>
            <a:r>
              <a:rPr lang="zh-CN" altLang="en-US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xcellent.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.</a:t>
            </a:r>
            <a:r>
              <a:rPr lang="zh-CN" altLang="en-US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ownload: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9"/>
              </a:rPr>
              <a:t>www.1ppt.com/xiazai/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              Ppt.</a:t>
            </a:r>
            <a:r>
              <a:rPr lang="zh-CN" altLang="en-US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utorial:       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0"/>
              </a:rPr>
              <a:t>www.1ppt.com/powerpoint/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</a:t>
            </a:r>
          </a:p>
          <a:p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ord.</a:t>
            </a:r>
            <a:r>
              <a:rPr lang="zh-CN" altLang="en-US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utorial:    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1"/>
              </a:rPr>
              <a:t>www.1ppt.com/word/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               Excel.</a:t>
            </a:r>
            <a:r>
              <a:rPr lang="zh-CN" altLang="en-US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utorial:     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2"/>
              </a:rPr>
              <a:t>www.1ppt.com/excel/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</a:p>
          <a:p>
            <a:r>
              <a:rPr lang="zh-CN" altLang="en-US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iography:      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3"/>
              </a:rPr>
              <a:t>www.1ppt.com/jianli/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                Ppt.</a:t>
            </a:r>
            <a:r>
              <a:rPr lang="zh-CN" altLang="en-US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urseware:       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4"/>
              </a:rPr>
              <a:t>www.1ppt.com/kejian/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</a:p>
          <a:p>
            <a:r>
              <a:rPr lang="zh-CN" altLang="en-US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and-copy:          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5"/>
              </a:rPr>
              <a:t>www.1ppt.com/shouchaobao/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 </a:t>
            </a:r>
            <a:r>
              <a:rPr lang="zh-CN" altLang="en-US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Question download:      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6"/>
              </a:rPr>
              <a:t>www.1ppt.com/shiti/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</a:p>
          <a:p>
            <a:r>
              <a:rPr lang="zh-CN" altLang="en-US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each download:      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7"/>
              </a:rPr>
              <a:t>www.1ppt.com/jiaoan/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              </a:t>
            </a:r>
            <a:r>
              <a:rPr lang="zh-CN" altLang="en-US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ont download:      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18"/>
              </a:rPr>
              <a:t>www.1ppt.com/ziti/</a:t>
            </a:r>
            <a:r>
              <a:rPr lang="en-US" altLang="zh-CN" sz="1200" dirty="0">
                <a:solidFill>
                  <a:srgbClr val="EEECE1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     </a:t>
            </a:r>
            <a:endParaRPr lang="zh-CN" altLang="en-US" sz="1200" dirty="0">
              <a:solidFill>
                <a:srgbClr val="EEECE1">
                  <a:lumMod val="2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8452127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1454164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6661726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042678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8697051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029395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3976173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6320259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5836557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4737012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2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2680896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718490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749793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900659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739952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955319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88088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392211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DD8BC-D6FC-4DC7-95EE-0B21F35818F6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485866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60D3CD5-2856-4FBB-B945-A5AAD51A37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4BA84670-E173-4350-8DBA-0DDF414582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F306F2C9-6204-4CDC-8A7B-B1FF921C71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8C1BB4-362A-4FA9-8DB1-67ED03367B5F}" type="datetimeFigureOut">
              <a:rPr lang="zh-CN" altLang="en-US" smtClean="0"/>
              <a:t>2020/9/1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6C8487E7-FDBF-4D2A-8D5B-2D5A24551A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634F7A92-F3E2-4CAD-8740-9DB6CE3CDE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A68BC-99F0-46F7-8FC8-CC50DBF267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94488515"/>
      </p:ext>
    </p:extLst>
  </p:cSld>
  <p:clrMapOvr>
    <a:masterClrMapping/>
  </p:clrMapOvr>
  <p:transition spd="slow" advClick="0" advTm="0">
    <p:comb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099A77-1441-4A90-949D-DB4972659A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2265DE50-21FD-4139-8B7B-24865738570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39B5924E-B103-452A-9096-C3D5CF13E4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8C1BB4-362A-4FA9-8DB1-67ED03367B5F}" type="datetimeFigureOut">
              <a:rPr lang="zh-CN" altLang="en-US" smtClean="0"/>
              <a:t>2020/9/1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6B71C771-13F6-47BF-8380-D7AD749E85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8BF76AE8-3F8E-48ED-9684-5C8D8302D1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A68BC-99F0-46F7-8FC8-CC50DBF267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08580143"/>
      </p:ext>
    </p:extLst>
  </p:cSld>
  <p:clrMapOvr>
    <a:masterClrMapping/>
  </p:clrMapOvr>
  <p:transition spd="slow" advClick="0" advTm="0">
    <p:comb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D4DF8C08-8700-4D56-BE9A-3C9FC1EF3A9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BEA194EE-3132-498C-8989-2F2B0A58750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BF68F920-4FD1-4537-BB6C-83DD0C023E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8C1BB4-362A-4FA9-8DB1-67ED03367B5F}" type="datetimeFigureOut">
              <a:rPr lang="zh-CN" altLang="en-US" smtClean="0"/>
              <a:t>2020/9/1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F13330DC-893A-4C0D-BFC0-545999F4C5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CA8451E-E009-4858-91B8-768D838F6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A68BC-99F0-46F7-8FC8-CC50DBF267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3814039"/>
      </p:ext>
    </p:extLst>
  </p:cSld>
  <p:clrMapOvr>
    <a:masterClrMapping/>
  </p:clrMapOvr>
  <p:transition spd="slow" advClick="0" advTm="0">
    <p:comb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8429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3000">
        <p:fade/>
      </p:transition>
    </mc:Choice>
    <mc:Fallback xmlns="">
      <p:transition spd="med" advClick="0" advTm="3000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con s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123478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con Sets Layout</a:t>
            </a:r>
          </a:p>
        </p:txBody>
      </p:sp>
      <p:sp>
        <p:nvSpPr>
          <p:cNvPr id="3" name="Rounded Rectangle 2"/>
          <p:cNvSpPr/>
          <p:nvPr userDrawn="1"/>
        </p:nvSpPr>
        <p:spPr>
          <a:xfrm>
            <a:off x="354010" y="1131591"/>
            <a:ext cx="3560767" cy="5402561"/>
          </a:xfrm>
          <a:prstGeom prst="roundRect">
            <a:avLst>
              <a:gd name="adj" fmla="val 3968"/>
            </a:avLst>
          </a:prstGeom>
          <a:solidFill>
            <a:srgbClr val="D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/>
          </a:p>
        </p:txBody>
      </p:sp>
      <p:sp>
        <p:nvSpPr>
          <p:cNvPr id="4" name="Rounded Rectangle 3"/>
          <p:cNvSpPr/>
          <p:nvPr userDrawn="1"/>
        </p:nvSpPr>
        <p:spPr>
          <a:xfrm>
            <a:off x="531933" y="1347500"/>
            <a:ext cx="153868" cy="5015200"/>
          </a:xfrm>
          <a:prstGeom prst="roundRect">
            <a:avLst>
              <a:gd name="adj" fmla="val 5000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bg1"/>
              </a:solidFill>
            </a:endParaRPr>
          </a:p>
        </p:txBody>
      </p:sp>
      <p:sp>
        <p:nvSpPr>
          <p:cNvPr id="5" name="Half Frame 4"/>
          <p:cNvSpPr/>
          <p:nvPr userDrawn="1"/>
        </p:nvSpPr>
        <p:spPr>
          <a:xfrm rot="5400000">
            <a:off x="3057177" y="1276653"/>
            <a:ext cx="685849" cy="685148"/>
          </a:xfrm>
          <a:prstGeom prst="halfFrame">
            <a:avLst>
              <a:gd name="adj1" fmla="val 23728"/>
              <a:gd name="adj2" fmla="val 24642"/>
            </a:avLst>
          </a:prstGeom>
          <a:solidFill>
            <a:schemeClr val="bg1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644E8BB-F13A-4AE0-889E-633DE4143787}"/>
              </a:ext>
            </a:extLst>
          </p:cNvPr>
          <p:cNvSpPr txBox="1"/>
          <p:nvPr userDrawn="1"/>
        </p:nvSpPr>
        <p:spPr>
          <a:xfrm>
            <a:off x="711704" y="1637214"/>
            <a:ext cx="2232248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 can Resize without losing quality</a:t>
            </a:r>
            <a:endParaRPr lang="ko-KR" altLang="en-US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2CE2B8B-ED32-491A-95B2-D28904BC432C}"/>
              </a:ext>
            </a:extLst>
          </p:cNvPr>
          <p:cNvSpPr txBox="1"/>
          <p:nvPr userDrawn="1"/>
        </p:nvSpPr>
        <p:spPr>
          <a:xfrm>
            <a:off x="711704" y="2127463"/>
            <a:ext cx="2232248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 can Change Fill Color &amp;</a:t>
            </a:r>
          </a:p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ine Color</a:t>
            </a:r>
            <a:endParaRPr lang="ko-KR" altLang="en-US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62A52DF-2523-4479-BFA3-B5ACE9887E1C}"/>
              </a:ext>
            </a:extLst>
          </p:cNvPr>
          <p:cNvSpPr txBox="1"/>
          <p:nvPr userDrawn="1"/>
        </p:nvSpPr>
        <p:spPr>
          <a:xfrm>
            <a:off x="721229" y="5808438"/>
            <a:ext cx="2232000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freeppt7.com</a:t>
            </a:r>
            <a:endParaRPr lang="ko-KR" altLang="en-US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BAAC314F-E96A-4408-95DE-A70E9ED054AF}"/>
              </a:ext>
            </a:extLst>
          </p:cNvPr>
          <p:cNvSpPr txBox="1"/>
          <p:nvPr userDrawn="1"/>
        </p:nvSpPr>
        <p:spPr>
          <a:xfrm>
            <a:off x="721229" y="4450324"/>
            <a:ext cx="2717296" cy="138499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2800" b="1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FREE </a:t>
            </a:r>
          </a:p>
          <a:p>
            <a:r>
              <a:rPr lang="en-US" altLang="ko-KR" sz="2800" b="1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PPT TEMPLATES</a:t>
            </a:r>
          </a:p>
        </p:txBody>
      </p:sp>
    </p:spTree>
    <p:extLst>
      <p:ext uri="{BB962C8B-B14F-4D97-AF65-F5344CB8AC3E}">
        <p14:creationId xmlns:p14="http://schemas.microsoft.com/office/powerpoint/2010/main" val="22356197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DB30E8C-3688-4423-8BA1-9353733FB2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CEB5F798-345D-4161-8985-38F4EA392E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94C21D3-701F-45BA-9941-27756E67D2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8C1BB4-362A-4FA9-8DB1-67ED03367B5F}" type="datetimeFigureOut">
              <a:rPr lang="zh-CN" altLang="en-US" smtClean="0"/>
              <a:t>2020/9/1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ACD6A84C-15C9-4808-89FB-ABC2261A69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C0D8FA99-F91B-44D2-AF46-BEABD6CD8D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A68BC-99F0-46F7-8FC8-CC50DBF267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92108355"/>
      </p:ext>
    </p:extLst>
  </p:cSld>
  <p:clrMapOvr>
    <a:masterClrMapping/>
  </p:clrMapOvr>
  <p:transition spd="slow" advClick="0" advTm="0">
    <p:comb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7AA746F-767A-4EB6-9785-49809D5BC8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F03D88C4-1C31-4440-902B-C3CAECD19E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1B988CA2-A5F0-4BAA-BD04-493091F3A2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8C1BB4-362A-4FA9-8DB1-67ED03367B5F}" type="datetimeFigureOut">
              <a:rPr lang="zh-CN" altLang="en-US" smtClean="0"/>
              <a:t>2020/9/1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772057D3-ED9B-4949-AB4F-5C22EBD9B4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23CFA0C-17FF-44A0-B95B-A0A42ECDF5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A68BC-99F0-46F7-8FC8-CC50DBF267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00844197"/>
      </p:ext>
    </p:extLst>
  </p:cSld>
  <p:clrMapOvr>
    <a:masterClrMapping/>
  </p:clrMapOvr>
  <p:transition spd="slow" advClick="0" advTm="0">
    <p:comb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A0253A2-7246-4000-BBE5-74CD6E9B0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CD9F10CC-A678-41FF-B910-5D8CBACD9D2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572FDB5E-1D8C-4777-8BAA-4E87A1C7049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7C5EEC61-1A6D-4106-8173-8EA768A446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8C1BB4-362A-4FA9-8DB1-67ED03367B5F}" type="datetimeFigureOut">
              <a:rPr lang="zh-CN" altLang="en-US" smtClean="0"/>
              <a:t>2020/9/15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847B5362-D05F-47BF-865F-06BFB93CD0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CB0ED683-F6A8-486C-9335-EE0A711FB9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A68BC-99F0-46F7-8FC8-CC50DBF267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72972735"/>
      </p:ext>
    </p:extLst>
  </p:cSld>
  <p:clrMapOvr>
    <a:masterClrMapping/>
  </p:clrMapOvr>
  <p:transition spd="slow" advClick="0" advTm="0">
    <p:comb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2AF0EAD-1DBF-4B90-A988-E59FB6DE01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69F823B2-199A-4F9B-90E5-AAE0DA4A71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698D05C2-C2A9-45AB-96FF-3741CB8999B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F4561BCF-7A13-4AAC-A2EF-D24AB1A13E7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EBA8D4A6-DAE7-46C1-AADC-36385DDAEAD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D5D1820A-BBFA-43AF-9F6B-98A097BA7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8C1BB4-362A-4FA9-8DB1-67ED03367B5F}" type="datetimeFigureOut">
              <a:rPr lang="zh-CN" altLang="en-US" smtClean="0"/>
              <a:t>2020/9/15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A23C08DB-1A4D-4916-8CF7-EFB651E429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CC8DA110-1894-497F-92BB-F2006504B4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A68BC-99F0-46F7-8FC8-CC50DBF267E9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11" name="矩形 10"/>
          <p:cNvSpPr/>
          <p:nvPr userDrawn="1"/>
        </p:nvSpPr>
        <p:spPr>
          <a:xfrm>
            <a:off x="8325228" y="4392776"/>
            <a:ext cx="775136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模板下载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moban/          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行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模板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hangye/ </a:t>
            </a:r>
          </a:p>
          <a:p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节日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模板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jieri/          PPT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素材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sucai/</a:t>
            </a:r>
          </a:p>
          <a:p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背景图片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beijing/        PPT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图表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tubiao/      </a:t>
            </a:r>
          </a:p>
          <a:p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精美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下载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xiazai/         PPT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教程： 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powerpoint/      </a:t>
            </a:r>
          </a:p>
          <a:p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课件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kejian/             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字体下载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ziti/</a:t>
            </a:r>
          </a:p>
          <a:p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工作总结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xiazai/zongjie/ 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工作计划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xiazai/jihua/</a:t>
            </a:r>
          </a:p>
          <a:p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商务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模板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moban/shangwu/  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个人简历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xiazai/jianli/  </a:t>
            </a:r>
          </a:p>
          <a:p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毕业答辩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xiazai/dabian/  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工作汇报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PPT</a:t>
            </a:r>
            <a:r>
              <a:rPr lang="zh-CN" altLang="en-US" sz="100" dirty="0">
                <a:solidFill>
                  <a:prstClr val="white"/>
                </a:solidFill>
                <a:latin typeface="Calibri"/>
                <a:ea typeface="宋体"/>
              </a:rPr>
              <a:t>：</a:t>
            </a:r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www.1ppt.com/xiazai/huibao/    </a:t>
            </a:r>
          </a:p>
          <a:p>
            <a:r>
              <a:rPr lang="en-US" altLang="zh-CN" sz="100" dirty="0">
                <a:solidFill>
                  <a:prstClr val="white"/>
                </a:solidFill>
                <a:latin typeface="Calibri"/>
                <a:ea typeface="宋体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16887826"/>
      </p:ext>
    </p:extLst>
  </p:cSld>
  <p:clrMapOvr>
    <a:masterClrMapping/>
  </p:clrMapOvr>
  <p:transition spd="slow" advClick="0" advTm="0">
    <p:comb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17AD8AD-C1A3-4B59-B0F9-98C2DB5A48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172A0638-BD93-41A2-A95E-8F30223ADB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8C1BB4-362A-4FA9-8DB1-67ED03367B5F}" type="datetimeFigureOut">
              <a:rPr lang="zh-CN" altLang="en-US" smtClean="0"/>
              <a:t>2020/9/1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22DAEA7A-1C9A-40B7-9051-96A559B493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A109A3E8-54B0-4742-A3C3-7863BFEEF6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A68BC-99F0-46F7-8FC8-CC50DBF267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6705476"/>
      </p:ext>
    </p:extLst>
  </p:cSld>
  <p:clrMapOvr>
    <a:masterClrMapping/>
  </p:clrMapOvr>
  <p:transition spd="slow" advClick="0" advTm="0">
    <p:comb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740F0FBC-4A3E-451D-9DCF-F7A5E4BC67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8C1BB4-362A-4FA9-8DB1-67ED03367B5F}" type="datetimeFigureOut">
              <a:rPr lang="zh-CN" altLang="en-US" smtClean="0"/>
              <a:t>2020/9/15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29570197-FA96-46EF-BBAF-BABAC0A0A6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10E03EA-6DCD-45FF-A2CD-07A7CBB2C6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A68BC-99F0-46F7-8FC8-CC50DBF267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95141208"/>
      </p:ext>
    </p:extLst>
  </p:cSld>
  <p:clrMapOvr>
    <a:masterClrMapping/>
  </p:clrMapOvr>
  <p:transition spd="slow" advClick="0" advTm="0">
    <p:comb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F3EA933-38FB-4E95-A113-EA50929237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8600D57B-7DD6-4130-B481-F645AB1C75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20CDC4E7-4C9A-480C-BE85-110253D00CE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9BAB418D-F73B-493E-98D8-07DCEB48FC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8C1BB4-362A-4FA9-8DB1-67ED03367B5F}" type="datetimeFigureOut">
              <a:rPr lang="zh-CN" altLang="en-US" smtClean="0"/>
              <a:t>2020/9/15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236F2EF3-2177-45FB-9E8E-B4F9EF2A26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9999E1A9-A17A-42D1-A6EE-256169024C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A68BC-99F0-46F7-8FC8-CC50DBF267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38233103"/>
      </p:ext>
    </p:extLst>
  </p:cSld>
  <p:clrMapOvr>
    <a:masterClrMapping/>
  </p:clrMapOvr>
  <p:transition spd="slow" advClick="0" advTm="0">
    <p:comb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460D1A9-6505-46B5-8FC4-5F2A96072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FB0A8384-EF42-49C7-8B72-47CAC940D60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BF41794D-17D9-4743-AF97-AE0528BA9DF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69D3E264-E40A-4D58-96A1-82ECE62A53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8C1BB4-362A-4FA9-8DB1-67ED03367B5F}" type="datetimeFigureOut">
              <a:rPr lang="zh-CN" altLang="en-US" smtClean="0"/>
              <a:t>2020/9/15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E271EC6F-D819-4E4A-BA56-03A95BF982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1058CC60-3B58-4FEF-BDDE-12351A8BF9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A68BC-99F0-46F7-8FC8-CC50DBF267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17135327"/>
      </p:ext>
    </p:extLst>
  </p:cSld>
  <p:clrMapOvr>
    <a:masterClrMapping/>
  </p:clrMapOvr>
  <p:transition spd="slow" advClick="0" advTm="0">
    <p:comb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2043C670-1FE1-4AC4-990A-97B10D12BA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557C0A71-7D3E-4B34-A627-8CDC308ECF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3E601AC-2103-4D25-BF42-7089F74348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8C1BB4-362A-4FA9-8DB1-67ED03367B5F}" type="datetimeFigureOut">
              <a:rPr lang="zh-CN" altLang="en-US" smtClean="0"/>
              <a:t>2020/9/15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A57B1BC-5512-4476-B28B-7AA7E05E43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8CA7CD38-6541-44CE-A201-EF6C1356E2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8A68BC-99F0-46F7-8FC8-CC50DBF267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828182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6" r:id="rId12"/>
    <p:sldLayoutId id="2147483667" r:id="rId13"/>
  </p:sldLayoutIdLst>
  <p:transition spd="slow" advClick="0" advTm="0">
    <p:comb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7" Type="http://schemas.openxmlformats.org/officeDocument/2006/relationships/image" Target="../media/image12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jpeg"/><Relationship Id="rId5" Type="http://schemas.openxmlformats.org/officeDocument/2006/relationships/image" Target="../media/image10.jpeg"/><Relationship Id="rId4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image" Target="../media/image1.jpg"/><Relationship Id="rId7" Type="http://schemas.openxmlformats.org/officeDocument/2006/relationships/image" Target="../media/image15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jpeg"/><Relationship Id="rId5" Type="http://schemas.openxmlformats.org/officeDocument/2006/relationships/image" Target="../media/image13.png"/><Relationship Id="rId4" Type="http://schemas.openxmlformats.org/officeDocument/2006/relationships/image" Target="../media/image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4.xml"/><Relationship Id="rId7" Type="http://schemas.openxmlformats.org/officeDocument/2006/relationships/image" Target="../media/image1.jpg"/><Relationship Id="rId12" Type="http://schemas.openxmlformats.org/officeDocument/2006/relationships/chart" Target="../charts/chart5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notesSlide" Target="../notesSlides/notesSlide16.xml"/><Relationship Id="rId11" Type="http://schemas.openxmlformats.org/officeDocument/2006/relationships/chart" Target="../charts/chart4.xml"/><Relationship Id="rId5" Type="http://schemas.openxmlformats.org/officeDocument/2006/relationships/slideLayout" Target="../slideLayouts/slideLayout2.xml"/><Relationship Id="rId10" Type="http://schemas.openxmlformats.org/officeDocument/2006/relationships/chart" Target="../charts/chart3.xml"/><Relationship Id="rId4" Type="http://schemas.openxmlformats.org/officeDocument/2006/relationships/tags" Target="../tags/tag5.xml"/><Relationship Id="rId9" Type="http://schemas.openxmlformats.org/officeDocument/2006/relationships/chart" Target="../charts/char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image" Target="../media/image1.jpg"/><Relationship Id="rId7" Type="http://schemas.openxmlformats.org/officeDocument/2006/relationships/image" Target="../media/image21.jpg"/><Relationship Id="rId12" Type="http://schemas.openxmlformats.org/officeDocument/2006/relationships/image" Target="../media/image26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jpeg"/><Relationship Id="rId11" Type="http://schemas.openxmlformats.org/officeDocument/2006/relationships/image" Target="../media/image25.jpg"/><Relationship Id="rId5" Type="http://schemas.openxmlformats.org/officeDocument/2006/relationships/image" Target="../media/image19.jpg"/><Relationship Id="rId10" Type="http://schemas.openxmlformats.org/officeDocument/2006/relationships/image" Target="../media/image24.jpeg"/><Relationship Id="rId4" Type="http://schemas.openxmlformats.org/officeDocument/2006/relationships/image" Target="../media/image5.png"/><Relationship Id="rId9" Type="http://schemas.openxmlformats.org/officeDocument/2006/relationships/image" Target="../media/image23.jp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7" Type="http://schemas.openxmlformats.org/officeDocument/2006/relationships/image" Target="../media/image29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image" Target="../media/image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.jpe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7" Type="http://schemas.openxmlformats.org/officeDocument/2006/relationships/image" Target="../media/image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jpeg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.xml"/><Relationship Id="rId4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>
            <a:extLst>
              <a:ext uri="{FF2B5EF4-FFF2-40B4-BE49-F238E27FC236}">
                <a16:creationId xmlns:a16="http://schemas.microsoft.com/office/drawing/2014/main" id="{7D541785-68AC-43A3-ADD5-CCB806485B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-26596"/>
            <a:ext cx="12202211" cy="6858000"/>
          </a:xfrm>
          <a:prstGeom prst="rect">
            <a:avLst/>
          </a:prstGeom>
          <a:ln>
            <a:noFill/>
          </a:ln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A9DCD6AC-468D-411F-ADD1-9E043CD9455B}"/>
              </a:ext>
            </a:extLst>
          </p:cNvPr>
          <p:cNvSpPr/>
          <p:nvPr/>
        </p:nvSpPr>
        <p:spPr>
          <a:xfrm rot="10800000">
            <a:off x="0" y="1156816"/>
            <a:ext cx="12192000" cy="4224472"/>
          </a:xfrm>
          <a:prstGeom prst="rect">
            <a:avLst/>
          </a:prstGeom>
          <a:solidFill>
            <a:srgbClr val="D00000"/>
          </a:solidFill>
          <a:ln>
            <a:noFill/>
          </a:ln>
          <a:effectLst>
            <a:outerShdw blurRad="114300" dist="38100" dir="2700000" sx="101000" sy="101000" algn="tl" rotWithShape="0">
              <a:prstClr val="black">
                <a:alpha val="3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72F61383-65C9-44C3-881B-04BD16F071A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566968" y="2244348"/>
            <a:ext cx="5567832" cy="365947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ED240C3B-6885-4E67-ADE0-A4AEF74A8D0B}"/>
              </a:ext>
            </a:extLst>
          </p:cNvPr>
          <p:cNvSpPr/>
          <p:nvPr/>
        </p:nvSpPr>
        <p:spPr>
          <a:xfrm rot="10800000">
            <a:off x="3119669" y="1664229"/>
            <a:ext cx="7488832" cy="345638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38100" dir="2700000" sx="101000" sy="101000" algn="tl" rotWithShape="0">
              <a:prstClr val="black">
                <a:alpha val="3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97E6C958-D7B9-4AC5-80A6-C246E03A2DF4}"/>
              </a:ext>
            </a:extLst>
          </p:cNvPr>
          <p:cNvSpPr txBox="1"/>
          <p:nvPr/>
        </p:nvSpPr>
        <p:spPr>
          <a:xfrm>
            <a:off x="3776173" y="2412079"/>
            <a:ext cx="629011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40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Teaching design  </a:t>
            </a:r>
            <a:r>
              <a:rPr lang="en-US" altLang="zh-CN" sz="40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PT</a:t>
            </a:r>
            <a:endParaRPr lang="zh-CN" altLang="en-US" sz="4000" b="1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F4FDA6B7-A91D-4FED-AD35-E0B4D39D99D0}"/>
              </a:ext>
            </a:extLst>
          </p:cNvPr>
          <p:cNvSpPr txBox="1"/>
          <p:nvPr/>
        </p:nvSpPr>
        <p:spPr>
          <a:xfrm>
            <a:off x="4859284" y="4246814"/>
            <a:ext cx="39334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https://www.jpppt.com.</a:t>
            </a:r>
            <a:endParaRPr lang="zh-CN" altLang="en-US" sz="20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1B0C206A-7A1A-4555-9514-A2B12B702B07}"/>
              </a:ext>
            </a:extLst>
          </p:cNvPr>
          <p:cNvSpPr/>
          <p:nvPr/>
        </p:nvSpPr>
        <p:spPr>
          <a:xfrm>
            <a:off x="3682009" y="3229724"/>
            <a:ext cx="672991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2000" spc="4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TEACHER SAID CLASS OPEN TRAINING</a:t>
            </a:r>
            <a:endParaRPr lang="zh-CN" altLang="en-US" sz="2000" spc="4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48DCE6D0-44DD-43B7-A3F8-675165C61AF6}"/>
              </a:ext>
            </a:extLst>
          </p:cNvPr>
          <p:cNvSpPr txBox="1"/>
          <p:nvPr/>
        </p:nvSpPr>
        <p:spPr>
          <a:xfrm>
            <a:off x="2059310" y="5401379"/>
            <a:ext cx="2837635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defRPr sz="9600" spc="400">
                <a:solidFill>
                  <a:srgbClr val="617A99"/>
                </a:solidFill>
                <a:latin typeface="Agency FB" pitchFamily="34" charset="0"/>
              </a:defRPr>
            </a:lvl1pPr>
          </a:lstStyle>
          <a:p>
            <a:pPr algn="ctr"/>
            <a:r>
              <a:rPr lang="en-US" altLang="zh-CN" sz="6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ea"/>
                <a:sym typeface="+mn-lt"/>
              </a:rPr>
              <a:t>LOGO</a:t>
            </a:r>
            <a:endParaRPr lang="zh-CN" altLang="en-US" sz="6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+mn-ea"/>
              <a:sym typeface="+mn-lt"/>
            </a:endParaRPr>
          </a:p>
        </p:txBody>
      </p: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7632B317-56B4-4D0C-ABF3-61C1195B4D54}"/>
              </a:ext>
            </a:extLst>
          </p:cNvPr>
          <p:cNvCxnSpPr>
            <a:cxnSpLocks/>
          </p:cNvCxnSpPr>
          <p:nvPr/>
        </p:nvCxnSpPr>
        <p:spPr>
          <a:xfrm>
            <a:off x="4678415" y="3782876"/>
            <a:ext cx="4371335" cy="0"/>
          </a:xfrm>
          <a:prstGeom prst="line">
            <a:avLst/>
          </a:prstGeom>
          <a:ln w="12700">
            <a:solidFill>
              <a:srgbClr val="D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1284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 advClick="0" advTm="3000">
        <p:checker/>
      </p:transition>
    </mc:Choice>
    <mc:Fallback xmlns:a14="http://schemas.microsoft.com/office/drawing/2010/main" xmlns:a16="http://schemas.microsoft.com/office/drawing/2014/main" xmlns="">
      <p:transition spd="slow" advClick="0" advTm="3000">
        <p:checker/>
      </p:transition>
    </mc:Fallback>
  </mc:AlternateContent>
  <mc:AlternateContent xmlns:mc="http://schemas.openxmlformats.org/markup-compatibility/2006">
    <mc:Choice xmlns:p14="http://schemas.microsoft.com/office/powerpoint/2010/main"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2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2000">
                                          <p:cBhvr additive="base">
                                            <p:cTn id="7" dur="20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2000">
                                          <p:cBhvr additive="base">
                                            <p:cTn id="8" dur="20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grpId="0" nodeType="withEffect" p14:presetBounceEnd="52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2000">
                                          <p:cBhvr additive="base">
                                            <p:cTn id="11" dur="2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2000">
                                          <p:cBhvr additive="base">
                                            <p:cTn id="12" dur="2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2" presetClass="entr" presetSubtype="4" fill="hold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15" dur="500"/>
                                            <p:tgtEl>
                                              <p:spTgt spid="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6" presetID="14" presetClass="entr" presetSubtype="10" fill="hold" grpId="1" nodeType="withEffect">
                                      <p:stCondLst>
                                        <p:cond delay="2000"/>
                                      </p:stCondLst>
                                      <p:childTnLst>
                                        <p:set>
                                          <p:cBhvr>
                                            <p:cTn id="1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randombar(horizontal)">
                                          <p:cBhvr>
                                            <p:cTn id="18" dur="5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9" presetID="41" presetClass="entr" presetSubtype="0" fill="hold" grpId="0" nodeType="withEffect">
                                      <p:stCondLst>
                                        <p:cond delay="250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1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x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2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3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h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4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w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5" dur="500" tmFilter="0,0; .5, 1; 1, 1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6" presetID="16" presetClass="entr" presetSubtype="37" fill="hold" grpId="0" nodeType="withEffect">
                                      <p:stCondLst>
                                        <p:cond delay="300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outVertical)">
                                          <p:cBhvr>
                                            <p:cTn id="28" dur="50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9" presetID="16" presetClass="entr" presetSubtype="21" fill="hold" nodeType="withEffect">
                                      <p:stCondLst>
                                        <p:cond delay="350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inVertical)">
                                          <p:cBhvr>
                                            <p:cTn id="31" dur="5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2" presetID="9" presetClass="entr" presetSubtype="0" fill="hold" grpId="0" nodeType="withEffect">
                                      <p:stCondLst>
                                        <p:cond delay="400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dissolve">
                                          <p:cBhvr>
                                            <p:cTn id="34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" grpId="0" animBg="1"/>
          <p:bldP spid="5" grpId="0" animBg="1"/>
          <p:bldP spid="6" grpId="0"/>
          <p:bldP spid="7" grpId="0"/>
          <p:bldP spid="8" grpId="0"/>
          <p:bldP spid="9" grpId="0"/>
          <p:bldP spid="9" grpId="1"/>
        </p:bldLst>
      </p:timing>
    </mc:Choice>
    <mc:Fallback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20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20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2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2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2" presetClass="entr" presetSubtype="4" fill="hold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15" dur="500"/>
                                            <p:tgtEl>
                                              <p:spTgt spid="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6" presetID="14" presetClass="entr" presetSubtype="10" fill="hold" grpId="1" nodeType="withEffect">
                                      <p:stCondLst>
                                        <p:cond delay="2000"/>
                                      </p:stCondLst>
                                      <p:childTnLst>
                                        <p:set>
                                          <p:cBhvr>
                                            <p:cTn id="1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randombar(horizontal)">
                                          <p:cBhvr>
                                            <p:cTn id="18" dur="5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9" presetID="41" presetClass="entr" presetSubtype="0" fill="hold" grpId="0" nodeType="withEffect">
                                      <p:stCondLst>
                                        <p:cond delay="250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1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x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2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3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h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4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w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5" dur="500" tmFilter="0,0; .5, 1; 1, 1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6" presetID="16" presetClass="entr" presetSubtype="37" fill="hold" grpId="0" nodeType="withEffect">
                                      <p:stCondLst>
                                        <p:cond delay="300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outVertical)">
                                          <p:cBhvr>
                                            <p:cTn id="28" dur="50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9" presetID="16" presetClass="entr" presetSubtype="21" fill="hold" nodeType="withEffect">
                                      <p:stCondLst>
                                        <p:cond delay="350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inVertical)">
                                          <p:cBhvr>
                                            <p:cTn id="31" dur="5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2" presetID="9" presetClass="entr" presetSubtype="0" fill="hold" grpId="0" nodeType="withEffect">
                                      <p:stCondLst>
                                        <p:cond delay="400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dissolve">
                                          <p:cBhvr>
                                            <p:cTn id="34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" grpId="0" animBg="1"/>
          <p:bldP spid="5" grpId="0" animBg="1"/>
          <p:bldP spid="6" grpId="0"/>
          <p:bldP spid="7" grpId="0"/>
          <p:bldP spid="8" grpId="0"/>
          <p:bldP spid="9" grpId="0"/>
          <p:bldP spid="9" grpId="1"/>
        </p:bldLst>
      </p:timing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B3643088-BADE-4B2C-8D16-84C355AB00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-4294"/>
            <a:ext cx="12202211" cy="6858000"/>
          </a:xfrm>
          <a:prstGeom prst="rect">
            <a:avLst/>
          </a:prstGeom>
          <a:ln>
            <a:noFill/>
          </a:ln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87218F93-96F9-462F-BAFB-7E145859AED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 flipH="1">
            <a:off x="99171" y="-99171"/>
            <a:ext cx="1058956" cy="1257300"/>
          </a:xfrm>
          <a:prstGeom prst="rect">
            <a:avLst/>
          </a:prstGeom>
        </p:spPr>
      </p:pic>
      <p:sp>
        <p:nvSpPr>
          <p:cNvPr id="8" name="TextBox 18">
            <a:extLst>
              <a:ext uri="{FF2B5EF4-FFF2-40B4-BE49-F238E27FC236}">
                <a16:creationId xmlns:a16="http://schemas.microsoft.com/office/drawing/2014/main" id="{EC3E81A0-9853-4F50-A63A-07CECD490F96}"/>
              </a:ext>
            </a:extLst>
          </p:cNvPr>
          <p:cNvSpPr txBox="1"/>
          <p:nvPr/>
        </p:nvSpPr>
        <p:spPr>
          <a:xfrm>
            <a:off x="1367227" y="80984"/>
            <a:ext cx="21935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spc="4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ART TWO.</a:t>
            </a:r>
            <a:endParaRPr lang="zh-CN" altLang="en-US" sz="2400" b="1" spc="4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grpSp>
        <p:nvGrpSpPr>
          <p:cNvPr id="6" name="Group 3">
            <a:extLst>
              <a:ext uri="{FF2B5EF4-FFF2-40B4-BE49-F238E27FC236}">
                <a16:creationId xmlns:a16="http://schemas.microsoft.com/office/drawing/2014/main" id="{62C82E73-FCFF-4775-B729-46F46D1AE5C2}"/>
              </a:ext>
            </a:extLst>
          </p:cNvPr>
          <p:cNvGrpSpPr/>
          <p:nvPr/>
        </p:nvGrpSpPr>
        <p:grpSpPr>
          <a:xfrm>
            <a:off x="1257300" y="3662775"/>
            <a:ext cx="1499696" cy="396309"/>
            <a:chOff x="1424694" y="3437117"/>
            <a:chExt cx="1499779" cy="396331"/>
          </a:xfrm>
          <a:solidFill>
            <a:srgbClr val="D00000"/>
          </a:solidFill>
        </p:grpSpPr>
        <p:sp>
          <p:nvSpPr>
            <p:cNvPr id="10" name="Round Same Side Corner Rectangle 4">
              <a:extLst>
                <a:ext uri="{FF2B5EF4-FFF2-40B4-BE49-F238E27FC236}">
                  <a16:creationId xmlns:a16="http://schemas.microsoft.com/office/drawing/2014/main" id="{F276FAE3-A862-416F-9640-EFCEA0D1A518}"/>
                </a:ext>
              </a:extLst>
            </p:cNvPr>
            <p:cNvSpPr/>
            <p:nvPr/>
          </p:nvSpPr>
          <p:spPr>
            <a:xfrm rot="16200000">
              <a:off x="2049734" y="2958708"/>
              <a:ext cx="249700" cy="1499779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en-GB" sz="1399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11" name="Oval 13">
              <a:extLst>
                <a:ext uri="{FF2B5EF4-FFF2-40B4-BE49-F238E27FC236}">
                  <a16:creationId xmlns:a16="http://schemas.microsoft.com/office/drawing/2014/main" id="{2A67F90B-2FFF-44AC-BF9E-811DB340688C}"/>
                </a:ext>
              </a:extLst>
            </p:cNvPr>
            <p:cNvSpPr/>
            <p:nvPr/>
          </p:nvSpPr>
          <p:spPr>
            <a:xfrm>
              <a:off x="2014338" y="3437117"/>
              <a:ext cx="320492" cy="32049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en-GB" sz="1399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12" name="Group 10">
            <a:extLst>
              <a:ext uri="{FF2B5EF4-FFF2-40B4-BE49-F238E27FC236}">
                <a16:creationId xmlns:a16="http://schemas.microsoft.com/office/drawing/2014/main" id="{C0C0B0B2-9D24-4634-9CE1-D510E1DB0CB2}"/>
              </a:ext>
            </a:extLst>
          </p:cNvPr>
          <p:cNvGrpSpPr/>
          <p:nvPr/>
        </p:nvGrpSpPr>
        <p:grpSpPr>
          <a:xfrm>
            <a:off x="2825781" y="3809397"/>
            <a:ext cx="1499696" cy="385307"/>
            <a:chOff x="2993261" y="3583747"/>
            <a:chExt cx="1499779" cy="385328"/>
          </a:xfrm>
          <a:solidFill>
            <a:srgbClr val="F57B26"/>
          </a:solidFill>
        </p:grpSpPr>
        <p:sp>
          <p:nvSpPr>
            <p:cNvPr id="13" name="Round Same Side Corner Rectangle 6">
              <a:extLst>
                <a:ext uri="{FF2B5EF4-FFF2-40B4-BE49-F238E27FC236}">
                  <a16:creationId xmlns:a16="http://schemas.microsoft.com/office/drawing/2014/main" id="{36A669C6-A05C-4C60-BDF2-CBAD1D5DC293}"/>
                </a:ext>
              </a:extLst>
            </p:cNvPr>
            <p:cNvSpPr/>
            <p:nvPr/>
          </p:nvSpPr>
          <p:spPr>
            <a:xfrm rot="5400000" flipH="1">
              <a:off x="3618301" y="2958707"/>
              <a:ext cx="249700" cy="1499779"/>
            </a:xfrm>
            <a:prstGeom prst="round2Same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en-GB" sz="1399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14" name="Oval 14">
              <a:extLst>
                <a:ext uri="{FF2B5EF4-FFF2-40B4-BE49-F238E27FC236}">
                  <a16:creationId xmlns:a16="http://schemas.microsoft.com/office/drawing/2014/main" id="{12349B30-E2F2-41C8-84F9-C809144D05EF}"/>
                </a:ext>
              </a:extLst>
            </p:cNvPr>
            <p:cNvSpPr/>
            <p:nvPr/>
          </p:nvSpPr>
          <p:spPr>
            <a:xfrm>
              <a:off x="3582905" y="3648583"/>
              <a:ext cx="320492" cy="32049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en-GB" sz="1399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15" name="Group 11">
            <a:extLst>
              <a:ext uri="{FF2B5EF4-FFF2-40B4-BE49-F238E27FC236}">
                <a16:creationId xmlns:a16="http://schemas.microsoft.com/office/drawing/2014/main" id="{85F123CE-F581-46AF-8985-18F718C7EB18}"/>
              </a:ext>
            </a:extLst>
          </p:cNvPr>
          <p:cNvGrpSpPr/>
          <p:nvPr/>
        </p:nvGrpSpPr>
        <p:grpSpPr>
          <a:xfrm>
            <a:off x="4394261" y="3662774"/>
            <a:ext cx="1499696" cy="396308"/>
            <a:chOff x="4561827" y="3437117"/>
            <a:chExt cx="1499779" cy="396330"/>
          </a:xfrm>
          <a:solidFill>
            <a:srgbClr val="6FCEFE"/>
          </a:solidFill>
        </p:grpSpPr>
        <p:sp>
          <p:nvSpPr>
            <p:cNvPr id="16" name="Round Same Side Corner Rectangle 7">
              <a:extLst>
                <a:ext uri="{FF2B5EF4-FFF2-40B4-BE49-F238E27FC236}">
                  <a16:creationId xmlns:a16="http://schemas.microsoft.com/office/drawing/2014/main" id="{849CD5BE-66BF-4BB7-9156-7F81233FD613}"/>
                </a:ext>
              </a:extLst>
            </p:cNvPr>
            <p:cNvSpPr/>
            <p:nvPr/>
          </p:nvSpPr>
          <p:spPr>
            <a:xfrm rot="5400000" flipH="1">
              <a:off x="5186867" y="2958707"/>
              <a:ext cx="249700" cy="1499779"/>
            </a:xfrm>
            <a:prstGeom prst="round2Same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en-GB" sz="1399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17" name="Oval 15">
              <a:extLst>
                <a:ext uri="{FF2B5EF4-FFF2-40B4-BE49-F238E27FC236}">
                  <a16:creationId xmlns:a16="http://schemas.microsoft.com/office/drawing/2014/main" id="{566B01CB-C364-4C6A-A546-F3C85FD4F938}"/>
                </a:ext>
              </a:extLst>
            </p:cNvPr>
            <p:cNvSpPr/>
            <p:nvPr/>
          </p:nvSpPr>
          <p:spPr>
            <a:xfrm>
              <a:off x="5220257" y="3437117"/>
              <a:ext cx="320492" cy="32049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en-GB" sz="1399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18" name="Group 12">
            <a:extLst>
              <a:ext uri="{FF2B5EF4-FFF2-40B4-BE49-F238E27FC236}">
                <a16:creationId xmlns:a16="http://schemas.microsoft.com/office/drawing/2014/main" id="{7A02DCFD-8FEF-46A6-9E14-276D991255BF}"/>
              </a:ext>
            </a:extLst>
          </p:cNvPr>
          <p:cNvGrpSpPr/>
          <p:nvPr/>
        </p:nvGrpSpPr>
        <p:grpSpPr>
          <a:xfrm>
            <a:off x="5962743" y="3809397"/>
            <a:ext cx="1499696" cy="385307"/>
            <a:chOff x="6130393" y="3583747"/>
            <a:chExt cx="1499779" cy="385328"/>
          </a:xfrm>
          <a:solidFill>
            <a:srgbClr val="60A757"/>
          </a:solidFill>
        </p:grpSpPr>
        <p:sp>
          <p:nvSpPr>
            <p:cNvPr id="19" name="Round Same Side Corner Rectangle 8">
              <a:extLst>
                <a:ext uri="{FF2B5EF4-FFF2-40B4-BE49-F238E27FC236}">
                  <a16:creationId xmlns:a16="http://schemas.microsoft.com/office/drawing/2014/main" id="{F936C61F-C05B-4F72-A17F-7F2B9F82E547}"/>
                </a:ext>
              </a:extLst>
            </p:cNvPr>
            <p:cNvSpPr/>
            <p:nvPr/>
          </p:nvSpPr>
          <p:spPr>
            <a:xfrm rot="5400000" flipH="1">
              <a:off x="6755433" y="2958707"/>
              <a:ext cx="249700" cy="1499779"/>
            </a:xfrm>
            <a:prstGeom prst="round2Same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en-GB" sz="1399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20" name="Oval 16">
              <a:extLst>
                <a:ext uri="{FF2B5EF4-FFF2-40B4-BE49-F238E27FC236}">
                  <a16:creationId xmlns:a16="http://schemas.microsoft.com/office/drawing/2014/main" id="{D05C45CC-4D33-42DC-AE57-0396293D72D1}"/>
                </a:ext>
              </a:extLst>
            </p:cNvPr>
            <p:cNvSpPr/>
            <p:nvPr/>
          </p:nvSpPr>
          <p:spPr>
            <a:xfrm>
              <a:off x="6720037" y="3648583"/>
              <a:ext cx="320492" cy="32049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en-GB" sz="1399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21" name="Group 35">
            <a:extLst>
              <a:ext uri="{FF2B5EF4-FFF2-40B4-BE49-F238E27FC236}">
                <a16:creationId xmlns:a16="http://schemas.microsoft.com/office/drawing/2014/main" id="{EE64C7E8-BBA8-4D04-B5DF-D7C891A3D5E8}"/>
              </a:ext>
            </a:extLst>
          </p:cNvPr>
          <p:cNvGrpSpPr/>
          <p:nvPr/>
        </p:nvGrpSpPr>
        <p:grpSpPr>
          <a:xfrm>
            <a:off x="9099703" y="3809396"/>
            <a:ext cx="1499696" cy="385306"/>
            <a:chOff x="9267526" y="3583748"/>
            <a:chExt cx="1499779" cy="385327"/>
          </a:xfrm>
          <a:solidFill>
            <a:srgbClr val="6FCEFE"/>
          </a:solidFill>
        </p:grpSpPr>
        <p:sp>
          <p:nvSpPr>
            <p:cNvPr id="22" name="Round Same Side Corner Rectangle 5">
              <a:extLst>
                <a:ext uri="{FF2B5EF4-FFF2-40B4-BE49-F238E27FC236}">
                  <a16:creationId xmlns:a16="http://schemas.microsoft.com/office/drawing/2014/main" id="{B7564168-317A-4C06-B81C-773B157752E1}"/>
                </a:ext>
              </a:extLst>
            </p:cNvPr>
            <p:cNvSpPr/>
            <p:nvPr/>
          </p:nvSpPr>
          <p:spPr>
            <a:xfrm rot="5400000" flipH="1">
              <a:off x="9892566" y="2958708"/>
              <a:ext cx="249700" cy="1499779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en-GB" sz="1399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23" name="Oval 17">
              <a:extLst>
                <a:ext uri="{FF2B5EF4-FFF2-40B4-BE49-F238E27FC236}">
                  <a16:creationId xmlns:a16="http://schemas.microsoft.com/office/drawing/2014/main" id="{20513562-3198-48B0-A756-4B2D28953DC4}"/>
                </a:ext>
              </a:extLst>
            </p:cNvPr>
            <p:cNvSpPr/>
            <p:nvPr/>
          </p:nvSpPr>
          <p:spPr>
            <a:xfrm>
              <a:off x="9857169" y="3648583"/>
              <a:ext cx="320492" cy="32049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en-GB" sz="1399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24" name="Group 19">
            <a:extLst>
              <a:ext uri="{FF2B5EF4-FFF2-40B4-BE49-F238E27FC236}">
                <a16:creationId xmlns:a16="http://schemas.microsoft.com/office/drawing/2014/main" id="{FD7708EA-BEB2-4C60-8246-CEE054496857}"/>
              </a:ext>
            </a:extLst>
          </p:cNvPr>
          <p:cNvGrpSpPr/>
          <p:nvPr/>
        </p:nvGrpSpPr>
        <p:grpSpPr>
          <a:xfrm>
            <a:off x="7531223" y="3662775"/>
            <a:ext cx="1499696" cy="396309"/>
            <a:chOff x="7698960" y="3437117"/>
            <a:chExt cx="1499779" cy="396331"/>
          </a:xfrm>
          <a:solidFill>
            <a:srgbClr val="D00000"/>
          </a:solidFill>
        </p:grpSpPr>
        <p:sp>
          <p:nvSpPr>
            <p:cNvPr id="25" name="Round Same Side Corner Rectangle 9">
              <a:extLst>
                <a:ext uri="{FF2B5EF4-FFF2-40B4-BE49-F238E27FC236}">
                  <a16:creationId xmlns:a16="http://schemas.microsoft.com/office/drawing/2014/main" id="{8F044E78-F6D5-4501-810A-6F506FD62F17}"/>
                </a:ext>
              </a:extLst>
            </p:cNvPr>
            <p:cNvSpPr/>
            <p:nvPr/>
          </p:nvSpPr>
          <p:spPr>
            <a:xfrm rot="5400000" flipH="1">
              <a:off x="8324000" y="2958708"/>
              <a:ext cx="249700" cy="1499779"/>
            </a:xfrm>
            <a:prstGeom prst="round2SameRect">
              <a:avLst>
                <a:gd name="adj1" fmla="val 0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en-GB" sz="1399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26" name="Oval 18">
              <a:extLst>
                <a:ext uri="{FF2B5EF4-FFF2-40B4-BE49-F238E27FC236}">
                  <a16:creationId xmlns:a16="http://schemas.microsoft.com/office/drawing/2014/main" id="{5251D9CA-7BB8-4B2A-A0A2-6D48BD371CA4}"/>
                </a:ext>
              </a:extLst>
            </p:cNvPr>
            <p:cNvSpPr/>
            <p:nvPr/>
          </p:nvSpPr>
          <p:spPr>
            <a:xfrm>
              <a:off x="8357389" y="3437117"/>
              <a:ext cx="320492" cy="32049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30000"/>
                </a:lnSpc>
              </a:pPr>
              <a:endParaRPr lang="en-GB" sz="1399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27" name="Group 20">
            <a:extLst>
              <a:ext uri="{FF2B5EF4-FFF2-40B4-BE49-F238E27FC236}">
                <a16:creationId xmlns:a16="http://schemas.microsoft.com/office/drawing/2014/main" id="{6C02377C-CC8B-4719-8A9A-845E1060544E}"/>
              </a:ext>
            </a:extLst>
          </p:cNvPr>
          <p:cNvGrpSpPr/>
          <p:nvPr/>
        </p:nvGrpSpPr>
        <p:grpSpPr>
          <a:xfrm>
            <a:off x="9617391" y="4280368"/>
            <a:ext cx="464319" cy="465112"/>
            <a:chOff x="9145588" y="4435475"/>
            <a:chExt cx="464344" cy="465138"/>
          </a:xfrm>
          <a:solidFill>
            <a:srgbClr val="6FCEFE"/>
          </a:solidFill>
        </p:grpSpPr>
        <p:sp>
          <p:nvSpPr>
            <p:cNvPr id="28" name="AutoShape 7">
              <a:extLst>
                <a:ext uri="{FF2B5EF4-FFF2-40B4-BE49-F238E27FC236}">
                  <a16:creationId xmlns:a16="http://schemas.microsoft.com/office/drawing/2014/main" id="{F0F97CB7-E052-4B0C-A0FB-2F897B7808F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45588" y="4435475"/>
              <a:ext cx="464344" cy="465138"/>
            </a:xfrm>
            <a:custGeom>
              <a:avLst/>
              <a:gdLst>
                <a:gd name="T0" fmla="+- 0 10800 1271"/>
                <a:gd name="T1" fmla="*/ T0 w 19058"/>
                <a:gd name="T2" fmla="+- 0 10799 1270"/>
                <a:gd name="T3" fmla="*/ 10799 h 19059"/>
                <a:gd name="T4" fmla="+- 0 10800 1271"/>
                <a:gd name="T5" fmla="*/ T4 w 19058"/>
                <a:gd name="T6" fmla="+- 0 10799 1270"/>
                <a:gd name="T7" fmla="*/ 10799 h 19059"/>
                <a:gd name="T8" fmla="+- 0 10800 1271"/>
                <a:gd name="T9" fmla="*/ T8 w 19058"/>
                <a:gd name="T10" fmla="+- 0 10799 1270"/>
                <a:gd name="T11" fmla="*/ 10799 h 19059"/>
                <a:gd name="T12" fmla="+- 0 10800 1271"/>
                <a:gd name="T13" fmla="*/ T12 w 19058"/>
                <a:gd name="T14" fmla="+- 0 10799 1270"/>
                <a:gd name="T15" fmla="*/ 10799 h 19059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19058" h="19059">
                  <a:moveTo>
                    <a:pt x="6430" y="17268"/>
                  </a:moveTo>
                  <a:cubicBezTo>
                    <a:pt x="2162" y="15559"/>
                    <a:pt x="82" y="10698"/>
                    <a:pt x="1790" y="6431"/>
                  </a:cubicBezTo>
                  <a:cubicBezTo>
                    <a:pt x="3499" y="2164"/>
                    <a:pt x="8360" y="81"/>
                    <a:pt x="12627" y="1791"/>
                  </a:cubicBezTo>
                  <a:cubicBezTo>
                    <a:pt x="16894" y="3499"/>
                    <a:pt x="18975" y="8361"/>
                    <a:pt x="17267" y="12628"/>
                  </a:cubicBezTo>
                  <a:cubicBezTo>
                    <a:pt x="15558" y="16895"/>
                    <a:pt x="10696" y="18976"/>
                    <a:pt x="6430" y="17268"/>
                  </a:cubicBezTo>
                  <a:moveTo>
                    <a:pt x="13070" y="685"/>
                  </a:moveTo>
                  <a:cubicBezTo>
                    <a:pt x="8186" y="-1270"/>
                    <a:pt x="2641" y="1103"/>
                    <a:pt x="685" y="5987"/>
                  </a:cubicBezTo>
                  <a:cubicBezTo>
                    <a:pt x="-1271" y="10872"/>
                    <a:pt x="1103" y="16418"/>
                    <a:pt x="5987" y="18373"/>
                  </a:cubicBezTo>
                  <a:cubicBezTo>
                    <a:pt x="10871" y="20330"/>
                    <a:pt x="16416" y="17955"/>
                    <a:pt x="18373" y="13071"/>
                  </a:cubicBezTo>
                  <a:cubicBezTo>
                    <a:pt x="20329" y="8186"/>
                    <a:pt x="17954" y="2641"/>
                    <a:pt x="13070" y="685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399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29" name="AutoShape 8">
              <a:extLst>
                <a:ext uri="{FF2B5EF4-FFF2-40B4-BE49-F238E27FC236}">
                  <a16:creationId xmlns:a16="http://schemas.microsoft.com/office/drawing/2014/main" id="{7784E618-42E5-4A0F-A158-33AE3EAC7FC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8788" y="4638675"/>
              <a:ext cx="57944" cy="57944"/>
            </a:xfrm>
            <a:custGeom>
              <a:avLst/>
              <a:gdLst>
                <a:gd name="T0" fmla="+- 0 10801 1272"/>
                <a:gd name="T1" fmla="*/ T0 w 19059"/>
                <a:gd name="T2" fmla="+- 0 10800 1272"/>
                <a:gd name="T3" fmla="*/ 10800 h 19056"/>
                <a:gd name="T4" fmla="+- 0 10801 1272"/>
                <a:gd name="T5" fmla="*/ T4 w 19059"/>
                <a:gd name="T6" fmla="+- 0 10800 1272"/>
                <a:gd name="T7" fmla="*/ 10800 h 19056"/>
                <a:gd name="T8" fmla="+- 0 10801 1272"/>
                <a:gd name="T9" fmla="*/ T8 w 19059"/>
                <a:gd name="T10" fmla="+- 0 10800 1272"/>
                <a:gd name="T11" fmla="*/ 10800 h 19056"/>
                <a:gd name="T12" fmla="+- 0 10801 1272"/>
                <a:gd name="T13" fmla="*/ T12 w 19059"/>
                <a:gd name="T14" fmla="+- 0 10800 1272"/>
                <a:gd name="T15" fmla="*/ 10800 h 19056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19059" h="19056">
                  <a:moveTo>
                    <a:pt x="7753" y="13951"/>
                  </a:moveTo>
                  <a:cubicBezTo>
                    <a:pt x="5315" y="12969"/>
                    <a:pt x="4129" y="10197"/>
                    <a:pt x="5101" y="7755"/>
                  </a:cubicBezTo>
                  <a:cubicBezTo>
                    <a:pt x="6083" y="5323"/>
                    <a:pt x="8860" y="4132"/>
                    <a:pt x="11298" y="5104"/>
                  </a:cubicBezTo>
                  <a:cubicBezTo>
                    <a:pt x="13735" y="6081"/>
                    <a:pt x="14926" y="8858"/>
                    <a:pt x="13949" y="11300"/>
                  </a:cubicBezTo>
                  <a:cubicBezTo>
                    <a:pt x="12972" y="13737"/>
                    <a:pt x="10195" y="14923"/>
                    <a:pt x="7753" y="13951"/>
                  </a:cubicBezTo>
                  <a:moveTo>
                    <a:pt x="13070" y="686"/>
                  </a:moveTo>
                  <a:cubicBezTo>
                    <a:pt x="8190" y="-1272"/>
                    <a:pt x="2640" y="1104"/>
                    <a:pt x="686" y="5988"/>
                  </a:cubicBezTo>
                  <a:cubicBezTo>
                    <a:pt x="-1272" y="10872"/>
                    <a:pt x="1105" y="16416"/>
                    <a:pt x="5985" y="18369"/>
                  </a:cubicBezTo>
                  <a:cubicBezTo>
                    <a:pt x="10870" y="20328"/>
                    <a:pt x="16415" y="17951"/>
                    <a:pt x="18374" y="13072"/>
                  </a:cubicBezTo>
                  <a:cubicBezTo>
                    <a:pt x="20328" y="8188"/>
                    <a:pt x="17960" y="2644"/>
                    <a:pt x="13070" y="686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399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30" name="AutoShape 9">
              <a:extLst>
                <a:ext uri="{FF2B5EF4-FFF2-40B4-BE49-F238E27FC236}">
                  <a16:creationId xmlns:a16="http://schemas.microsoft.com/office/drawing/2014/main" id="{B50C670F-AFBD-4EFF-8587-A4CAA3272F84}"/>
                </a:ext>
              </a:extLst>
            </p:cNvPr>
            <p:cNvSpPr>
              <a:spLocks/>
            </p:cNvSpPr>
            <p:nvPr/>
          </p:nvSpPr>
          <p:spPr bwMode="auto">
            <a:xfrm>
              <a:off x="9290050" y="4580732"/>
              <a:ext cx="174625" cy="174625"/>
            </a:xfrm>
            <a:custGeom>
              <a:avLst/>
              <a:gdLst>
                <a:gd name="T0" fmla="+- 0 10800 1271"/>
                <a:gd name="T1" fmla="*/ T0 w 19059"/>
                <a:gd name="T2" fmla="+- 0 10800 1271"/>
                <a:gd name="T3" fmla="*/ 10800 h 19058"/>
                <a:gd name="T4" fmla="+- 0 10800 1271"/>
                <a:gd name="T5" fmla="*/ T4 w 19059"/>
                <a:gd name="T6" fmla="+- 0 10800 1271"/>
                <a:gd name="T7" fmla="*/ 10800 h 19058"/>
                <a:gd name="T8" fmla="+- 0 10800 1271"/>
                <a:gd name="T9" fmla="*/ T8 w 19059"/>
                <a:gd name="T10" fmla="+- 0 10800 1271"/>
                <a:gd name="T11" fmla="*/ 10800 h 19058"/>
                <a:gd name="T12" fmla="+- 0 10800 1271"/>
                <a:gd name="T13" fmla="*/ T12 w 19059"/>
                <a:gd name="T14" fmla="+- 0 10800 1271"/>
                <a:gd name="T15" fmla="*/ 10800 h 19058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19059" h="19058">
                  <a:moveTo>
                    <a:pt x="7169" y="15424"/>
                  </a:moveTo>
                  <a:cubicBezTo>
                    <a:pt x="3916" y="14123"/>
                    <a:pt x="2331" y="10417"/>
                    <a:pt x="3632" y="7167"/>
                  </a:cubicBezTo>
                  <a:cubicBezTo>
                    <a:pt x="4934" y="3917"/>
                    <a:pt x="8638" y="2331"/>
                    <a:pt x="11889" y="3632"/>
                  </a:cubicBezTo>
                  <a:cubicBezTo>
                    <a:pt x="15141" y="4934"/>
                    <a:pt x="16728" y="8640"/>
                    <a:pt x="15425" y="11890"/>
                  </a:cubicBezTo>
                  <a:cubicBezTo>
                    <a:pt x="14124" y="15140"/>
                    <a:pt x="10419" y="16728"/>
                    <a:pt x="7169" y="15424"/>
                  </a:cubicBezTo>
                  <a:moveTo>
                    <a:pt x="13071" y="685"/>
                  </a:moveTo>
                  <a:cubicBezTo>
                    <a:pt x="8186" y="-1271"/>
                    <a:pt x="2639" y="1104"/>
                    <a:pt x="686" y="5987"/>
                  </a:cubicBezTo>
                  <a:cubicBezTo>
                    <a:pt x="-1271" y="10871"/>
                    <a:pt x="1104" y="16416"/>
                    <a:pt x="5987" y="18372"/>
                  </a:cubicBezTo>
                  <a:cubicBezTo>
                    <a:pt x="10874" y="20329"/>
                    <a:pt x="16418" y="17955"/>
                    <a:pt x="18375" y="13070"/>
                  </a:cubicBezTo>
                  <a:cubicBezTo>
                    <a:pt x="20328" y="8186"/>
                    <a:pt x="17956" y="2641"/>
                    <a:pt x="13071" y="685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399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31" name="AutoShape 10">
              <a:extLst>
                <a:ext uri="{FF2B5EF4-FFF2-40B4-BE49-F238E27FC236}">
                  <a16:creationId xmlns:a16="http://schemas.microsoft.com/office/drawing/2014/main" id="{046CC838-F400-4243-91EC-730146ABD35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06732" y="4696619"/>
              <a:ext cx="72231" cy="74613"/>
            </a:xfrm>
            <a:custGeom>
              <a:avLst/>
              <a:gdLst>
                <a:gd name="T0" fmla="+- 0 10804 288"/>
                <a:gd name="T1" fmla="*/ T0 w 21033"/>
                <a:gd name="T2" fmla="+- 0 10798 277"/>
                <a:gd name="T3" fmla="*/ 10798 h 21043"/>
                <a:gd name="T4" fmla="+- 0 10804 288"/>
                <a:gd name="T5" fmla="*/ T4 w 21033"/>
                <a:gd name="T6" fmla="+- 0 10798 277"/>
                <a:gd name="T7" fmla="*/ 10798 h 21043"/>
                <a:gd name="T8" fmla="+- 0 10804 288"/>
                <a:gd name="T9" fmla="*/ T8 w 21033"/>
                <a:gd name="T10" fmla="+- 0 10798 277"/>
                <a:gd name="T11" fmla="*/ 10798 h 21043"/>
                <a:gd name="T12" fmla="+- 0 10804 288"/>
                <a:gd name="T13" fmla="*/ T12 w 21033"/>
                <a:gd name="T14" fmla="+- 0 10798 277"/>
                <a:gd name="T15" fmla="*/ 10798 h 21043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1033" h="21043">
                  <a:moveTo>
                    <a:pt x="20881" y="2825"/>
                  </a:moveTo>
                  <a:cubicBezTo>
                    <a:pt x="21312" y="1771"/>
                    <a:pt x="20787" y="572"/>
                    <a:pt x="19713" y="149"/>
                  </a:cubicBezTo>
                  <a:cubicBezTo>
                    <a:pt x="18636" y="-277"/>
                    <a:pt x="17414" y="238"/>
                    <a:pt x="16984" y="1296"/>
                  </a:cubicBezTo>
                  <a:lnTo>
                    <a:pt x="16980" y="1292"/>
                  </a:lnTo>
                  <a:cubicBezTo>
                    <a:pt x="13964" y="8692"/>
                    <a:pt x="8182" y="14184"/>
                    <a:pt x="1269" y="17089"/>
                  </a:cubicBezTo>
                  <a:cubicBezTo>
                    <a:pt x="207" y="17536"/>
                    <a:pt x="-288" y="18747"/>
                    <a:pt x="170" y="19789"/>
                  </a:cubicBezTo>
                  <a:cubicBezTo>
                    <a:pt x="629" y="20840"/>
                    <a:pt x="1863" y="21323"/>
                    <a:pt x="2924" y="20876"/>
                  </a:cubicBezTo>
                  <a:cubicBezTo>
                    <a:pt x="2961" y="20860"/>
                    <a:pt x="2982" y="20828"/>
                    <a:pt x="3014" y="20815"/>
                  </a:cubicBezTo>
                  <a:cubicBezTo>
                    <a:pt x="10874" y="17480"/>
                    <a:pt x="17451" y="11227"/>
                    <a:pt x="20877" y="2825"/>
                  </a:cubicBezTo>
                  <a:cubicBezTo>
                    <a:pt x="20877" y="2825"/>
                    <a:pt x="20881" y="2825"/>
                    <a:pt x="20881" y="2825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399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32" name="AutoShape 11">
              <a:extLst>
                <a:ext uri="{FF2B5EF4-FFF2-40B4-BE49-F238E27FC236}">
                  <a16:creationId xmlns:a16="http://schemas.microsoft.com/office/drawing/2014/main" id="{4A898132-2AC1-44C1-AFE5-2BCBE4D8D9F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5307" y="4725988"/>
              <a:ext cx="103981" cy="106363"/>
            </a:xfrm>
            <a:custGeom>
              <a:avLst/>
              <a:gdLst>
                <a:gd name="T0" fmla="+- 0 10803 203"/>
                <a:gd name="T1" fmla="*/ T0 w 21201"/>
                <a:gd name="T2" fmla="+- 0 10798 194"/>
                <a:gd name="T3" fmla="*/ 10798 h 21209"/>
                <a:gd name="T4" fmla="+- 0 10803 203"/>
                <a:gd name="T5" fmla="*/ T4 w 21201"/>
                <a:gd name="T6" fmla="+- 0 10798 194"/>
                <a:gd name="T7" fmla="*/ 10798 h 21209"/>
                <a:gd name="T8" fmla="+- 0 10803 203"/>
                <a:gd name="T9" fmla="*/ T8 w 21201"/>
                <a:gd name="T10" fmla="+- 0 10798 194"/>
                <a:gd name="T11" fmla="*/ 10798 h 21209"/>
                <a:gd name="T12" fmla="+- 0 10803 203"/>
                <a:gd name="T13" fmla="*/ T12 w 21201"/>
                <a:gd name="T14" fmla="+- 0 10798 194"/>
                <a:gd name="T15" fmla="*/ 10798 h 21209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1201" h="21209">
                  <a:moveTo>
                    <a:pt x="20267" y="104"/>
                  </a:moveTo>
                  <a:cubicBezTo>
                    <a:pt x="19508" y="-194"/>
                    <a:pt x="18645" y="169"/>
                    <a:pt x="18339" y="912"/>
                  </a:cubicBezTo>
                  <a:cubicBezTo>
                    <a:pt x="14991" y="9110"/>
                    <a:pt x="8568" y="15198"/>
                    <a:pt x="894" y="18420"/>
                  </a:cubicBezTo>
                  <a:cubicBezTo>
                    <a:pt x="144" y="18735"/>
                    <a:pt x="-203" y="19589"/>
                    <a:pt x="121" y="20327"/>
                  </a:cubicBezTo>
                  <a:cubicBezTo>
                    <a:pt x="442" y="21068"/>
                    <a:pt x="1314" y="21406"/>
                    <a:pt x="2067" y="21090"/>
                  </a:cubicBezTo>
                  <a:cubicBezTo>
                    <a:pt x="2102" y="21073"/>
                    <a:pt x="2125" y="21042"/>
                    <a:pt x="2159" y="21025"/>
                  </a:cubicBezTo>
                  <a:cubicBezTo>
                    <a:pt x="10491" y="17500"/>
                    <a:pt x="17461" y="10881"/>
                    <a:pt x="21095" y="1994"/>
                  </a:cubicBezTo>
                  <a:cubicBezTo>
                    <a:pt x="21397" y="1250"/>
                    <a:pt x="21026" y="404"/>
                    <a:pt x="20267" y="10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399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33" name="AutoShape 12">
              <a:extLst>
                <a:ext uri="{FF2B5EF4-FFF2-40B4-BE49-F238E27FC236}">
                  <a16:creationId xmlns:a16="http://schemas.microsoft.com/office/drawing/2014/main" id="{54CB6100-7F2D-44A2-BDF0-DE401152099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21019" y="4711700"/>
              <a:ext cx="88106" cy="89694"/>
            </a:xfrm>
            <a:custGeom>
              <a:avLst/>
              <a:gdLst>
                <a:gd name="T0" fmla="+- 0 10802 238"/>
                <a:gd name="T1" fmla="*/ T0 w 21128"/>
                <a:gd name="T2" fmla="+- 0 10797 227"/>
                <a:gd name="T3" fmla="*/ 10797 h 21141"/>
                <a:gd name="T4" fmla="+- 0 10802 238"/>
                <a:gd name="T5" fmla="*/ T4 w 21128"/>
                <a:gd name="T6" fmla="+- 0 10797 227"/>
                <a:gd name="T7" fmla="*/ 10797 h 21141"/>
                <a:gd name="T8" fmla="+- 0 10802 238"/>
                <a:gd name="T9" fmla="*/ T8 w 21128"/>
                <a:gd name="T10" fmla="+- 0 10797 227"/>
                <a:gd name="T11" fmla="*/ 10797 h 21141"/>
                <a:gd name="T12" fmla="+- 0 10802 238"/>
                <a:gd name="T13" fmla="*/ T12 w 21128"/>
                <a:gd name="T14" fmla="+- 0 10797 227"/>
                <a:gd name="T15" fmla="*/ 10797 h 21141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1128" h="21141">
                  <a:moveTo>
                    <a:pt x="20035" y="122"/>
                  </a:moveTo>
                  <a:cubicBezTo>
                    <a:pt x="19142" y="-227"/>
                    <a:pt x="18134" y="195"/>
                    <a:pt x="17778" y="1071"/>
                  </a:cubicBezTo>
                  <a:cubicBezTo>
                    <a:pt x="14571" y="8936"/>
                    <a:pt x="8412" y="14778"/>
                    <a:pt x="1051" y="17867"/>
                  </a:cubicBezTo>
                  <a:lnTo>
                    <a:pt x="1054" y="17867"/>
                  </a:lnTo>
                  <a:cubicBezTo>
                    <a:pt x="172" y="18240"/>
                    <a:pt x="-238" y="19242"/>
                    <a:pt x="142" y="20108"/>
                  </a:cubicBezTo>
                  <a:cubicBezTo>
                    <a:pt x="522" y="20973"/>
                    <a:pt x="1543" y="21372"/>
                    <a:pt x="2425" y="21003"/>
                  </a:cubicBezTo>
                  <a:cubicBezTo>
                    <a:pt x="2459" y="20986"/>
                    <a:pt x="2476" y="20956"/>
                    <a:pt x="2514" y="20936"/>
                  </a:cubicBezTo>
                  <a:cubicBezTo>
                    <a:pt x="10651" y="17491"/>
                    <a:pt x="17459" y="11027"/>
                    <a:pt x="21002" y="2339"/>
                  </a:cubicBezTo>
                  <a:cubicBezTo>
                    <a:pt x="21361" y="1463"/>
                    <a:pt x="20927" y="472"/>
                    <a:pt x="20035" y="122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399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34" name="AutoShape 13">
              <a:extLst>
                <a:ext uri="{FF2B5EF4-FFF2-40B4-BE49-F238E27FC236}">
                  <a16:creationId xmlns:a16="http://schemas.microsoft.com/office/drawing/2014/main" id="{3AA65348-7004-448A-912F-A97B4A2C00F5}"/>
                </a:ext>
              </a:extLst>
            </p:cNvPr>
            <p:cNvSpPr>
              <a:spLocks/>
            </p:cNvSpPr>
            <p:nvPr/>
          </p:nvSpPr>
          <p:spPr bwMode="auto">
            <a:xfrm>
              <a:off x="9275763" y="4566444"/>
              <a:ext cx="73025" cy="73819"/>
            </a:xfrm>
            <a:custGeom>
              <a:avLst/>
              <a:gdLst>
                <a:gd name="T0" fmla="+- 0 10797 278"/>
                <a:gd name="T1" fmla="*/ T0 w 21039"/>
                <a:gd name="T2" fmla="+- 0 10803 281"/>
                <a:gd name="T3" fmla="*/ 10803 h 21044"/>
                <a:gd name="T4" fmla="+- 0 10797 278"/>
                <a:gd name="T5" fmla="*/ T4 w 21039"/>
                <a:gd name="T6" fmla="+- 0 10803 281"/>
                <a:gd name="T7" fmla="*/ 10803 h 21044"/>
                <a:gd name="T8" fmla="+- 0 10797 278"/>
                <a:gd name="T9" fmla="*/ T8 w 21039"/>
                <a:gd name="T10" fmla="+- 0 10803 281"/>
                <a:gd name="T11" fmla="*/ 10803 h 21044"/>
                <a:gd name="T12" fmla="+- 0 10797 278"/>
                <a:gd name="T13" fmla="*/ T12 w 21039"/>
                <a:gd name="T14" fmla="+- 0 10803 281"/>
                <a:gd name="T15" fmla="*/ 10803 h 21044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1039" h="21044">
                  <a:moveTo>
                    <a:pt x="20871" y="1248"/>
                  </a:moveTo>
                  <a:cubicBezTo>
                    <a:pt x="20411" y="197"/>
                    <a:pt x="19177" y="-281"/>
                    <a:pt x="18112" y="169"/>
                  </a:cubicBezTo>
                  <a:cubicBezTo>
                    <a:pt x="18075" y="181"/>
                    <a:pt x="18050" y="214"/>
                    <a:pt x="18021" y="226"/>
                  </a:cubicBezTo>
                  <a:cubicBezTo>
                    <a:pt x="10159" y="3562"/>
                    <a:pt x="3583" y="9820"/>
                    <a:pt x="152" y="18220"/>
                  </a:cubicBezTo>
                  <a:lnTo>
                    <a:pt x="148" y="18220"/>
                  </a:lnTo>
                  <a:cubicBezTo>
                    <a:pt x="-278" y="19278"/>
                    <a:pt x="242" y="20473"/>
                    <a:pt x="1320" y="20896"/>
                  </a:cubicBezTo>
                  <a:cubicBezTo>
                    <a:pt x="2398" y="21318"/>
                    <a:pt x="3620" y="20803"/>
                    <a:pt x="4046" y="19749"/>
                  </a:cubicBezTo>
                  <a:lnTo>
                    <a:pt x="4051" y="19749"/>
                  </a:lnTo>
                  <a:cubicBezTo>
                    <a:pt x="7068" y="12356"/>
                    <a:pt x="12856" y="6858"/>
                    <a:pt x="19764" y="3956"/>
                  </a:cubicBezTo>
                  <a:cubicBezTo>
                    <a:pt x="20830" y="3506"/>
                    <a:pt x="21322" y="2298"/>
                    <a:pt x="20871" y="124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399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35" name="AutoShape 14">
              <a:extLst>
                <a:ext uri="{FF2B5EF4-FFF2-40B4-BE49-F238E27FC236}">
                  <a16:creationId xmlns:a16="http://schemas.microsoft.com/office/drawing/2014/main" id="{2FB1165F-2E4B-4F97-8E51-D314037DD0E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17819" y="4508500"/>
              <a:ext cx="103981" cy="105569"/>
            </a:xfrm>
            <a:custGeom>
              <a:avLst/>
              <a:gdLst>
                <a:gd name="T0" fmla="+- 0 10797 198"/>
                <a:gd name="T1" fmla="*/ T0 w 21199"/>
                <a:gd name="T2" fmla="+- 0 10802 198"/>
                <a:gd name="T3" fmla="*/ 10802 h 21208"/>
                <a:gd name="T4" fmla="+- 0 10797 198"/>
                <a:gd name="T5" fmla="*/ T4 w 21199"/>
                <a:gd name="T6" fmla="+- 0 10802 198"/>
                <a:gd name="T7" fmla="*/ 10802 h 21208"/>
                <a:gd name="T8" fmla="+- 0 10797 198"/>
                <a:gd name="T9" fmla="*/ T8 w 21199"/>
                <a:gd name="T10" fmla="+- 0 10802 198"/>
                <a:gd name="T11" fmla="*/ 10802 h 21208"/>
                <a:gd name="T12" fmla="+- 0 10797 198"/>
                <a:gd name="T13" fmla="*/ T12 w 21199"/>
                <a:gd name="T14" fmla="+- 0 10802 198"/>
                <a:gd name="T15" fmla="*/ 10802 h 21208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1199" h="21208">
                  <a:moveTo>
                    <a:pt x="21077" y="880"/>
                  </a:moveTo>
                  <a:cubicBezTo>
                    <a:pt x="20753" y="142"/>
                    <a:pt x="19881" y="-198"/>
                    <a:pt x="19129" y="117"/>
                  </a:cubicBezTo>
                  <a:cubicBezTo>
                    <a:pt x="19097" y="131"/>
                    <a:pt x="19071" y="162"/>
                    <a:pt x="19039" y="179"/>
                  </a:cubicBezTo>
                  <a:cubicBezTo>
                    <a:pt x="10706" y="3707"/>
                    <a:pt x="3739" y="10322"/>
                    <a:pt x="106" y="19208"/>
                  </a:cubicBezTo>
                  <a:cubicBezTo>
                    <a:pt x="-198" y="19957"/>
                    <a:pt x="172" y="20803"/>
                    <a:pt x="934" y="21101"/>
                  </a:cubicBezTo>
                  <a:cubicBezTo>
                    <a:pt x="1689" y="21401"/>
                    <a:pt x="2552" y="21041"/>
                    <a:pt x="2859" y="20292"/>
                  </a:cubicBezTo>
                  <a:cubicBezTo>
                    <a:pt x="6206" y="12096"/>
                    <a:pt x="12625" y="6008"/>
                    <a:pt x="20301" y="2787"/>
                  </a:cubicBezTo>
                  <a:cubicBezTo>
                    <a:pt x="21051" y="2469"/>
                    <a:pt x="21402" y="1618"/>
                    <a:pt x="21077" y="88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399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36" name="AutoShape 15">
              <a:extLst>
                <a:ext uri="{FF2B5EF4-FFF2-40B4-BE49-F238E27FC236}">
                  <a16:creationId xmlns:a16="http://schemas.microsoft.com/office/drawing/2014/main" id="{D5FD537D-8B1F-4D75-AAEF-E4FDF0015B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47188" y="4537075"/>
              <a:ext cx="88107" cy="90488"/>
            </a:xfrm>
            <a:custGeom>
              <a:avLst/>
              <a:gdLst>
                <a:gd name="T0" fmla="+- 0 10796 232"/>
                <a:gd name="T1" fmla="*/ T0 w 21129"/>
                <a:gd name="T2" fmla="+- 0 10804 234"/>
                <a:gd name="T3" fmla="*/ 10804 h 21141"/>
                <a:gd name="T4" fmla="+- 0 10796 232"/>
                <a:gd name="T5" fmla="*/ T4 w 21129"/>
                <a:gd name="T6" fmla="+- 0 10804 234"/>
                <a:gd name="T7" fmla="*/ 10804 h 21141"/>
                <a:gd name="T8" fmla="+- 0 10796 232"/>
                <a:gd name="T9" fmla="*/ T8 w 21129"/>
                <a:gd name="T10" fmla="+- 0 10804 234"/>
                <a:gd name="T11" fmla="*/ 10804 h 21141"/>
                <a:gd name="T12" fmla="+- 0 10796 232"/>
                <a:gd name="T13" fmla="*/ T12 w 21129"/>
                <a:gd name="T14" fmla="+- 0 10804 234"/>
                <a:gd name="T15" fmla="*/ 10804 h 21141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1129" h="21141">
                  <a:moveTo>
                    <a:pt x="20075" y="3267"/>
                  </a:moveTo>
                  <a:cubicBezTo>
                    <a:pt x="20953" y="2898"/>
                    <a:pt x="21368" y="1899"/>
                    <a:pt x="20987" y="1030"/>
                  </a:cubicBezTo>
                  <a:cubicBezTo>
                    <a:pt x="20611" y="168"/>
                    <a:pt x="19589" y="-234"/>
                    <a:pt x="18707" y="138"/>
                  </a:cubicBezTo>
                  <a:cubicBezTo>
                    <a:pt x="18670" y="152"/>
                    <a:pt x="18649" y="185"/>
                    <a:pt x="18615" y="198"/>
                  </a:cubicBezTo>
                  <a:cubicBezTo>
                    <a:pt x="10481" y="3647"/>
                    <a:pt x="3673" y="10118"/>
                    <a:pt x="124" y="18802"/>
                  </a:cubicBezTo>
                  <a:cubicBezTo>
                    <a:pt x="-232" y="19678"/>
                    <a:pt x="205" y="20666"/>
                    <a:pt x="1094" y="21019"/>
                  </a:cubicBezTo>
                  <a:cubicBezTo>
                    <a:pt x="1983" y="21366"/>
                    <a:pt x="2991" y="20946"/>
                    <a:pt x="3354" y="20071"/>
                  </a:cubicBezTo>
                  <a:cubicBezTo>
                    <a:pt x="6561" y="12205"/>
                    <a:pt x="12717" y="6360"/>
                    <a:pt x="20075" y="3274"/>
                  </a:cubicBezTo>
                  <a:cubicBezTo>
                    <a:pt x="20075" y="3274"/>
                    <a:pt x="20075" y="3267"/>
                    <a:pt x="20075" y="3267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399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37" name="Group 30">
            <a:extLst>
              <a:ext uri="{FF2B5EF4-FFF2-40B4-BE49-F238E27FC236}">
                <a16:creationId xmlns:a16="http://schemas.microsoft.com/office/drawing/2014/main" id="{EDF09CFD-809B-40A5-A70B-BDB0945B932E}"/>
              </a:ext>
            </a:extLst>
          </p:cNvPr>
          <p:cNvGrpSpPr/>
          <p:nvPr/>
        </p:nvGrpSpPr>
        <p:grpSpPr>
          <a:xfrm>
            <a:off x="8117694" y="3127929"/>
            <a:ext cx="464319" cy="464319"/>
            <a:chOff x="7287419" y="2577307"/>
            <a:chExt cx="464344" cy="464344"/>
          </a:xfrm>
          <a:solidFill>
            <a:srgbClr val="D00000"/>
          </a:solidFill>
        </p:grpSpPr>
        <p:sp>
          <p:nvSpPr>
            <p:cNvPr id="38" name="AutoShape 56">
              <a:extLst>
                <a:ext uri="{FF2B5EF4-FFF2-40B4-BE49-F238E27FC236}">
                  <a16:creationId xmlns:a16="http://schemas.microsoft.com/office/drawing/2014/main" id="{6B6D4729-C53B-459A-897C-AAEFA04DDB1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7419" y="2577307"/>
              <a:ext cx="145256" cy="464344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6988" y="7316"/>
                  </a:moveTo>
                  <a:cubicBezTo>
                    <a:pt x="16954" y="7352"/>
                    <a:pt x="16923" y="7387"/>
                    <a:pt x="16883" y="7423"/>
                  </a:cubicBezTo>
                  <a:cubicBezTo>
                    <a:pt x="16677" y="7601"/>
                    <a:pt x="16414" y="7770"/>
                    <a:pt x="16066" y="7920"/>
                  </a:cubicBezTo>
                  <a:cubicBezTo>
                    <a:pt x="16057" y="7924"/>
                    <a:pt x="16044" y="7927"/>
                    <a:pt x="16038" y="7931"/>
                  </a:cubicBezTo>
                  <a:cubicBezTo>
                    <a:pt x="15662" y="8092"/>
                    <a:pt x="15214" y="8234"/>
                    <a:pt x="14705" y="8354"/>
                  </a:cubicBezTo>
                  <a:cubicBezTo>
                    <a:pt x="14697" y="8357"/>
                    <a:pt x="14692" y="8358"/>
                    <a:pt x="14686" y="8359"/>
                  </a:cubicBezTo>
                  <a:cubicBezTo>
                    <a:pt x="14163" y="8482"/>
                    <a:pt x="13584" y="8581"/>
                    <a:pt x="12960" y="8649"/>
                  </a:cubicBezTo>
                  <a:cubicBezTo>
                    <a:pt x="12279" y="8726"/>
                    <a:pt x="11560" y="8774"/>
                    <a:pt x="10800" y="8774"/>
                  </a:cubicBezTo>
                  <a:cubicBezTo>
                    <a:pt x="10037" y="8774"/>
                    <a:pt x="9318" y="8726"/>
                    <a:pt x="8640" y="8649"/>
                  </a:cubicBezTo>
                  <a:cubicBezTo>
                    <a:pt x="8016" y="8581"/>
                    <a:pt x="7435" y="8482"/>
                    <a:pt x="6914" y="8359"/>
                  </a:cubicBezTo>
                  <a:cubicBezTo>
                    <a:pt x="6908" y="8358"/>
                    <a:pt x="6901" y="8357"/>
                    <a:pt x="6893" y="8354"/>
                  </a:cubicBezTo>
                  <a:cubicBezTo>
                    <a:pt x="6385" y="8234"/>
                    <a:pt x="5937" y="8092"/>
                    <a:pt x="5562" y="7931"/>
                  </a:cubicBezTo>
                  <a:cubicBezTo>
                    <a:pt x="5553" y="7927"/>
                    <a:pt x="5541" y="7924"/>
                    <a:pt x="5531" y="7920"/>
                  </a:cubicBezTo>
                  <a:cubicBezTo>
                    <a:pt x="5184" y="7770"/>
                    <a:pt x="4921" y="7601"/>
                    <a:pt x="4715" y="7423"/>
                  </a:cubicBezTo>
                  <a:cubicBezTo>
                    <a:pt x="4676" y="7387"/>
                    <a:pt x="4644" y="7352"/>
                    <a:pt x="4612" y="7316"/>
                  </a:cubicBezTo>
                  <a:cubicBezTo>
                    <a:pt x="4437" y="7136"/>
                    <a:pt x="4320" y="6947"/>
                    <a:pt x="4320" y="6750"/>
                  </a:cubicBezTo>
                  <a:cubicBezTo>
                    <a:pt x="4320" y="6550"/>
                    <a:pt x="4437" y="6362"/>
                    <a:pt x="4612" y="6181"/>
                  </a:cubicBezTo>
                  <a:cubicBezTo>
                    <a:pt x="4644" y="6146"/>
                    <a:pt x="4676" y="6110"/>
                    <a:pt x="4715" y="6076"/>
                  </a:cubicBezTo>
                  <a:cubicBezTo>
                    <a:pt x="4921" y="5898"/>
                    <a:pt x="5184" y="5729"/>
                    <a:pt x="5531" y="5577"/>
                  </a:cubicBezTo>
                  <a:cubicBezTo>
                    <a:pt x="5541" y="5574"/>
                    <a:pt x="5553" y="5571"/>
                    <a:pt x="5562" y="5567"/>
                  </a:cubicBezTo>
                  <a:cubicBezTo>
                    <a:pt x="5937" y="5407"/>
                    <a:pt x="6385" y="5264"/>
                    <a:pt x="6893" y="5144"/>
                  </a:cubicBezTo>
                  <a:cubicBezTo>
                    <a:pt x="6901" y="5142"/>
                    <a:pt x="6908" y="5140"/>
                    <a:pt x="6914" y="5138"/>
                  </a:cubicBezTo>
                  <a:cubicBezTo>
                    <a:pt x="7435" y="5017"/>
                    <a:pt x="8016" y="4918"/>
                    <a:pt x="8640" y="4848"/>
                  </a:cubicBezTo>
                  <a:cubicBezTo>
                    <a:pt x="9318" y="4773"/>
                    <a:pt x="10037" y="4725"/>
                    <a:pt x="10800" y="4725"/>
                  </a:cubicBezTo>
                  <a:cubicBezTo>
                    <a:pt x="11560" y="4725"/>
                    <a:pt x="12279" y="4773"/>
                    <a:pt x="12960" y="4848"/>
                  </a:cubicBezTo>
                  <a:cubicBezTo>
                    <a:pt x="13584" y="4918"/>
                    <a:pt x="14163" y="5017"/>
                    <a:pt x="14686" y="5138"/>
                  </a:cubicBezTo>
                  <a:cubicBezTo>
                    <a:pt x="14692" y="5140"/>
                    <a:pt x="14697" y="5142"/>
                    <a:pt x="14705" y="5144"/>
                  </a:cubicBezTo>
                  <a:cubicBezTo>
                    <a:pt x="15214" y="5264"/>
                    <a:pt x="15662" y="5407"/>
                    <a:pt x="16038" y="5567"/>
                  </a:cubicBezTo>
                  <a:cubicBezTo>
                    <a:pt x="16044" y="5571"/>
                    <a:pt x="16057" y="5574"/>
                    <a:pt x="16066" y="5577"/>
                  </a:cubicBezTo>
                  <a:cubicBezTo>
                    <a:pt x="16414" y="5729"/>
                    <a:pt x="16677" y="5898"/>
                    <a:pt x="16883" y="6076"/>
                  </a:cubicBezTo>
                  <a:cubicBezTo>
                    <a:pt x="16923" y="6110"/>
                    <a:pt x="16954" y="6146"/>
                    <a:pt x="16988" y="6181"/>
                  </a:cubicBezTo>
                  <a:cubicBezTo>
                    <a:pt x="17161" y="6362"/>
                    <a:pt x="17280" y="6550"/>
                    <a:pt x="17280" y="6750"/>
                  </a:cubicBezTo>
                  <a:cubicBezTo>
                    <a:pt x="17280" y="6947"/>
                    <a:pt x="17161" y="7136"/>
                    <a:pt x="16988" y="7316"/>
                  </a:cubicBezTo>
                  <a:moveTo>
                    <a:pt x="12960" y="19575"/>
                  </a:moveTo>
                  <a:cubicBezTo>
                    <a:pt x="12960" y="19948"/>
                    <a:pt x="11992" y="20249"/>
                    <a:pt x="10800" y="20249"/>
                  </a:cubicBezTo>
                  <a:cubicBezTo>
                    <a:pt x="9606" y="20249"/>
                    <a:pt x="8640" y="19948"/>
                    <a:pt x="8640" y="19575"/>
                  </a:cubicBezTo>
                  <a:lnTo>
                    <a:pt x="8640" y="10056"/>
                  </a:lnTo>
                  <a:cubicBezTo>
                    <a:pt x="9338" y="10101"/>
                    <a:pt x="10059" y="10124"/>
                    <a:pt x="10800" y="10124"/>
                  </a:cubicBezTo>
                  <a:cubicBezTo>
                    <a:pt x="11541" y="10124"/>
                    <a:pt x="12262" y="10101"/>
                    <a:pt x="12960" y="10056"/>
                  </a:cubicBezTo>
                  <a:cubicBezTo>
                    <a:pt x="12960" y="10056"/>
                    <a:pt x="12960" y="19575"/>
                    <a:pt x="12960" y="19575"/>
                  </a:cubicBezTo>
                  <a:close/>
                  <a:moveTo>
                    <a:pt x="8640" y="2025"/>
                  </a:moveTo>
                  <a:cubicBezTo>
                    <a:pt x="8640" y="1651"/>
                    <a:pt x="9606" y="1350"/>
                    <a:pt x="10800" y="1350"/>
                  </a:cubicBezTo>
                  <a:cubicBezTo>
                    <a:pt x="11992" y="1350"/>
                    <a:pt x="12960" y="1651"/>
                    <a:pt x="12960" y="2025"/>
                  </a:cubicBezTo>
                  <a:lnTo>
                    <a:pt x="12960" y="3442"/>
                  </a:lnTo>
                  <a:cubicBezTo>
                    <a:pt x="12262" y="3398"/>
                    <a:pt x="11541" y="3375"/>
                    <a:pt x="10800" y="3375"/>
                  </a:cubicBezTo>
                  <a:cubicBezTo>
                    <a:pt x="10059" y="3375"/>
                    <a:pt x="9338" y="3398"/>
                    <a:pt x="8640" y="3442"/>
                  </a:cubicBezTo>
                  <a:cubicBezTo>
                    <a:pt x="8640" y="3442"/>
                    <a:pt x="8640" y="2025"/>
                    <a:pt x="8640" y="2025"/>
                  </a:cubicBezTo>
                  <a:close/>
                  <a:moveTo>
                    <a:pt x="17280" y="4064"/>
                  </a:moveTo>
                  <a:lnTo>
                    <a:pt x="17280" y="2025"/>
                  </a:lnTo>
                  <a:cubicBezTo>
                    <a:pt x="17280" y="908"/>
                    <a:pt x="14373" y="0"/>
                    <a:pt x="10800" y="0"/>
                  </a:cubicBezTo>
                  <a:cubicBezTo>
                    <a:pt x="7225" y="0"/>
                    <a:pt x="4320" y="908"/>
                    <a:pt x="4320" y="2025"/>
                  </a:cubicBezTo>
                  <a:lnTo>
                    <a:pt x="4320" y="4064"/>
                  </a:lnTo>
                  <a:cubicBezTo>
                    <a:pt x="1710" y="4681"/>
                    <a:pt x="0" y="5649"/>
                    <a:pt x="0" y="6750"/>
                  </a:cubicBezTo>
                  <a:cubicBezTo>
                    <a:pt x="0" y="7850"/>
                    <a:pt x="1710" y="8818"/>
                    <a:pt x="4320" y="9434"/>
                  </a:cubicBezTo>
                  <a:lnTo>
                    <a:pt x="4320" y="19575"/>
                  </a:lnTo>
                  <a:cubicBezTo>
                    <a:pt x="4320" y="20691"/>
                    <a:pt x="7225" y="21599"/>
                    <a:pt x="10800" y="21599"/>
                  </a:cubicBezTo>
                  <a:cubicBezTo>
                    <a:pt x="14373" y="21599"/>
                    <a:pt x="17280" y="20691"/>
                    <a:pt x="17280" y="19575"/>
                  </a:cubicBezTo>
                  <a:lnTo>
                    <a:pt x="17280" y="9434"/>
                  </a:lnTo>
                  <a:cubicBezTo>
                    <a:pt x="19889" y="8818"/>
                    <a:pt x="21600" y="7850"/>
                    <a:pt x="21600" y="6750"/>
                  </a:cubicBezTo>
                  <a:cubicBezTo>
                    <a:pt x="21600" y="5649"/>
                    <a:pt x="19889" y="4681"/>
                    <a:pt x="17280" y="406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20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+mn-ea"/>
                <a:sym typeface="+mn-lt"/>
              </a:endParaRPr>
            </a:p>
          </p:txBody>
        </p:sp>
        <p:sp>
          <p:nvSpPr>
            <p:cNvPr id="39" name="AutoShape 57">
              <a:extLst>
                <a:ext uri="{FF2B5EF4-FFF2-40B4-BE49-F238E27FC236}">
                  <a16:creationId xmlns:a16="http://schemas.microsoft.com/office/drawing/2014/main" id="{36EF0724-1020-46DD-A7E2-3FA07924EE5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06507" y="2577307"/>
              <a:ext cx="145256" cy="464344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6988" y="7316"/>
                  </a:moveTo>
                  <a:cubicBezTo>
                    <a:pt x="16954" y="7352"/>
                    <a:pt x="16923" y="7387"/>
                    <a:pt x="16883" y="7423"/>
                  </a:cubicBezTo>
                  <a:cubicBezTo>
                    <a:pt x="16677" y="7601"/>
                    <a:pt x="16414" y="7770"/>
                    <a:pt x="16066" y="7920"/>
                  </a:cubicBezTo>
                  <a:cubicBezTo>
                    <a:pt x="16057" y="7924"/>
                    <a:pt x="16044" y="7927"/>
                    <a:pt x="16038" y="7931"/>
                  </a:cubicBezTo>
                  <a:cubicBezTo>
                    <a:pt x="15662" y="8092"/>
                    <a:pt x="15214" y="8234"/>
                    <a:pt x="14705" y="8354"/>
                  </a:cubicBezTo>
                  <a:cubicBezTo>
                    <a:pt x="14697" y="8357"/>
                    <a:pt x="14692" y="8358"/>
                    <a:pt x="14686" y="8359"/>
                  </a:cubicBezTo>
                  <a:cubicBezTo>
                    <a:pt x="14163" y="8482"/>
                    <a:pt x="13584" y="8581"/>
                    <a:pt x="12960" y="8649"/>
                  </a:cubicBezTo>
                  <a:cubicBezTo>
                    <a:pt x="12279" y="8726"/>
                    <a:pt x="11560" y="8774"/>
                    <a:pt x="10800" y="8774"/>
                  </a:cubicBezTo>
                  <a:cubicBezTo>
                    <a:pt x="10037" y="8774"/>
                    <a:pt x="9318" y="8726"/>
                    <a:pt x="8640" y="8649"/>
                  </a:cubicBezTo>
                  <a:cubicBezTo>
                    <a:pt x="8016" y="8581"/>
                    <a:pt x="7435" y="8482"/>
                    <a:pt x="6914" y="8359"/>
                  </a:cubicBezTo>
                  <a:cubicBezTo>
                    <a:pt x="6908" y="8358"/>
                    <a:pt x="6901" y="8357"/>
                    <a:pt x="6893" y="8354"/>
                  </a:cubicBezTo>
                  <a:cubicBezTo>
                    <a:pt x="6385" y="8234"/>
                    <a:pt x="5937" y="8092"/>
                    <a:pt x="5562" y="7931"/>
                  </a:cubicBezTo>
                  <a:cubicBezTo>
                    <a:pt x="5553" y="7927"/>
                    <a:pt x="5541" y="7924"/>
                    <a:pt x="5531" y="7920"/>
                  </a:cubicBezTo>
                  <a:cubicBezTo>
                    <a:pt x="5184" y="7770"/>
                    <a:pt x="4921" y="7601"/>
                    <a:pt x="4715" y="7423"/>
                  </a:cubicBezTo>
                  <a:cubicBezTo>
                    <a:pt x="4676" y="7387"/>
                    <a:pt x="4644" y="7352"/>
                    <a:pt x="4612" y="7316"/>
                  </a:cubicBezTo>
                  <a:cubicBezTo>
                    <a:pt x="4437" y="7136"/>
                    <a:pt x="4320" y="6947"/>
                    <a:pt x="4320" y="6750"/>
                  </a:cubicBezTo>
                  <a:cubicBezTo>
                    <a:pt x="4320" y="6550"/>
                    <a:pt x="4437" y="6362"/>
                    <a:pt x="4612" y="6181"/>
                  </a:cubicBezTo>
                  <a:cubicBezTo>
                    <a:pt x="4644" y="6146"/>
                    <a:pt x="4676" y="6110"/>
                    <a:pt x="4715" y="6076"/>
                  </a:cubicBezTo>
                  <a:cubicBezTo>
                    <a:pt x="4921" y="5898"/>
                    <a:pt x="5184" y="5729"/>
                    <a:pt x="5531" y="5577"/>
                  </a:cubicBezTo>
                  <a:cubicBezTo>
                    <a:pt x="5541" y="5574"/>
                    <a:pt x="5553" y="5571"/>
                    <a:pt x="5562" y="5567"/>
                  </a:cubicBezTo>
                  <a:cubicBezTo>
                    <a:pt x="5937" y="5407"/>
                    <a:pt x="6385" y="5264"/>
                    <a:pt x="6893" y="5144"/>
                  </a:cubicBezTo>
                  <a:cubicBezTo>
                    <a:pt x="6901" y="5142"/>
                    <a:pt x="6908" y="5140"/>
                    <a:pt x="6914" y="5138"/>
                  </a:cubicBezTo>
                  <a:cubicBezTo>
                    <a:pt x="7435" y="5017"/>
                    <a:pt x="8016" y="4918"/>
                    <a:pt x="8640" y="4848"/>
                  </a:cubicBezTo>
                  <a:cubicBezTo>
                    <a:pt x="9318" y="4773"/>
                    <a:pt x="10037" y="4725"/>
                    <a:pt x="10800" y="4725"/>
                  </a:cubicBezTo>
                  <a:cubicBezTo>
                    <a:pt x="11560" y="4725"/>
                    <a:pt x="12279" y="4773"/>
                    <a:pt x="12960" y="4848"/>
                  </a:cubicBezTo>
                  <a:cubicBezTo>
                    <a:pt x="13584" y="4918"/>
                    <a:pt x="14163" y="5017"/>
                    <a:pt x="14686" y="5138"/>
                  </a:cubicBezTo>
                  <a:cubicBezTo>
                    <a:pt x="14692" y="5140"/>
                    <a:pt x="14697" y="5142"/>
                    <a:pt x="14705" y="5144"/>
                  </a:cubicBezTo>
                  <a:cubicBezTo>
                    <a:pt x="15214" y="5264"/>
                    <a:pt x="15662" y="5407"/>
                    <a:pt x="16038" y="5567"/>
                  </a:cubicBezTo>
                  <a:cubicBezTo>
                    <a:pt x="16044" y="5571"/>
                    <a:pt x="16057" y="5574"/>
                    <a:pt x="16066" y="5577"/>
                  </a:cubicBezTo>
                  <a:cubicBezTo>
                    <a:pt x="16414" y="5729"/>
                    <a:pt x="16677" y="5898"/>
                    <a:pt x="16883" y="6076"/>
                  </a:cubicBezTo>
                  <a:cubicBezTo>
                    <a:pt x="16923" y="6110"/>
                    <a:pt x="16954" y="6146"/>
                    <a:pt x="16988" y="6181"/>
                  </a:cubicBezTo>
                  <a:cubicBezTo>
                    <a:pt x="17161" y="6362"/>
                    <a:pt x="17280" y="6550"/>
                    <a:pt x="17280" y="6750"/>
                  </a:cubicBezTo>
                  <a:cubicBezTo>
                    <a:pt x="17280" y="6947"/>
                    <a:pt x="17161" y="7136"/>
                    <a:pt x="16988" y="7316"/>
                  </a:cubicBezTo>
                  <a:moveTo>
                    <a:pt x="12960" y="19575"/>
                  </a:moveTo>
                  <a:cubicBezTo>
                    <a:pt x="12960" y="19948"/>
                    <a:pt x="11992" y="20249"/>
                    <a:pt x="10800" y="20249"/>
                  </a:cubicBezTo>
                  <a:cubicBezTo>
                    <a:pt x="9606" y="20249"/>
                    <a:pt x="8640" y="19948"/>
                    <a:pt x="8640" y="19575"/>
                  </a:cubicBezTo>
                  <a:lnTo>
                    <a:pt x="8640" y="10056"/>
                  </a:lnTo>
                  <a:cubicBezTo>
                    <a:pt x="9338" y="10101"/>
                    <a:pt x="10059" y="10124"/>
                    <a:pt x="10800" y="10124"/>
                  </a:cubicBezTo>
                  <a:cubicBezTo>
                    <a:pt x="11541" y="10124"/>
                    <a:pt x="12262" y="10101"/>
                    <a:pt x="12960" y="10056"/>
                  </a:cubicBezTo>
                  <a:cubicBezTo>
                    <a:pt x="12960" y="10056"/>
                    <a:pt x="12960" y="19575"/>
                    <a:pt x="12960" y="19575"/>
                  </a:cubicBezTo>
                  <a:close/>
                  <a:moveTo>
                    <a:pt x="8640" y="2025"/>
                  </a:moveTo>
                  <a:cubicBezTo>
                    <a:pt x="8640" y="1651"/>
                    <a:pt x="9606" y="1350"/>
                    <a:pt x="10800" y="1350"/>
                  </a:cubicBezTo>
                  <a:cubicBezTo>
                    <a:pt x="11992" y="1350"/>
                    <a:pt x="12960" y="1651"/>
                    <a:pt x="12960" y="2025"/>
                  </a:cubicBezTo>
                  <a:lnTo>
                    <a:pt x="12960" y="3442"/>
                  </a:lnTo>
                  <a:cubicBezTo>
                    <a:pt x="12262" y="3398"/>
                    <a:pt x="11541" y="3375"/>
                    <a:pt x="10800" y="3375"/>
                  </a:cubicBezTo>
                  <a:cubicBezTo>
                    <a:pt x="10059" y="3375"/>
                    <a:pt x="9338" y="3398"/>
                    <a:pt x="8640" y="3442"/>
                  </a:cubicBezTo>
                  <a:cubicBezTo>
                    <a:pt x="8640" y="3442"/>
                    <a:pt x="8640" y="2025"/>
                    <a:pt x="8640" y="2025"/>
                  </a:cubicBezTo>
                  <a:close/>
                  <a:moveTo>
                    <a:pt x="17280" y="4064"/>
                  </a:moveTo>
                  <a:lnTo>
                    <a:pt x="17280" y="2025"/>
                  </a:lnTo>
                  <a:cubicBezTo>
                    <a:pt x="17280" y="908"/>
                    <a:pt x="14373" y="0"/>
                    <a:pt x="10800" y="0"/>
                  </a:cubicBezTo>
                  <a:cubicBezTo>
                    <a:pt x="7225" y="0"/>
                    <a:pt x="4320" y="908"/>
                    <a:pt x="4320" y="2025"/>
                  </a:cubicBezTo>
                  <a:lnTo>
                    <a:pt x="4320" y="4064"/>
                  </a:lnTo>
                  <a:cubicBezTo>
                    <a:pt x="1710" y="4681"/>
                    <a:pt x="0" y="5649"/>
                    <a:pt x="0" y="6750"/>
                  </a:cubicBezTo>
                  <a:cubicBezTo>
                    <a:pt x="0" y="7850"/>
                    <a:pt x="1710" y="8818"/>
                    <a:pt x="4320" y="9434"/>
                  </a:cubicBezTo>
                  <a:lnTo>
                    <a:pt x="4320" y="19575"/>
                  </a:lnTo>
                  <a:cubicBezTo>
                    <a:pt x="4320" y="20691"/>
                    <a:pt x="7225" y="21599"/>
                    <a:pt x="10800" y="21599"/>
                  </a:cubicBezTo>
                  <a:cubicBezTo>
                    <a:pt x="14373" y="21599"/>
                    <a:pt x="17280" y="20691"/>
                    <a:pt x="17280" y="19575"/>
                  </a:cubicBezTo>
                  <a:lnTo>
                    <a:pt x="17280" y="9434"/>
                  </a:lnTo>
                  <a:cubicBezTo>
                    <a:pt x="19889" y="8818"/>
                    <a:pt x="21600" y="7850"/>
                    <a:pt x="21600" y="6750"/>
                  </a:cubicBezTo>
                  <a:cubicBezTo>
                    <a:pt x="21600" y="5649"/>
                    <a:pt x="19889" y="4681"/>
                    <a:pt x="17280" y="406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20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+mn-ea"/>
                <a:sym typeface="+mn-lt"/>
              </a:endParaRPr>
            </a:p>
          </p:txBody>
        </p:sp>
        <p:sp>
          <p:nvSpPr>
            <p:cNvPr id="40" name="AutoShape 58">
              <a:extLst>
                <a:ext uri="{FF2B5EF4-FFF2-40B4-BE49-F238E27FC236}">
                  <a16:creationId xmlns:a16="http://schemas.microsoft.com/office/drawing/2014/main" id="{FFAA3DD0-A19C-49B3-B0A5-2C5AD6A3E3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446963" y="2577307"/>
              <a:ext cx="145257" cy="464344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6988" y="15416"/>
                  </a:moveTo>
                  <a:cubicBezTo>
                    <a:pt x="16954" y="15452"/>
                    <a:pt x="16923" y="15487"/>
                    <a:pt x="16883" y="15523"/>
                  </a:cubicBezTo>
                  <a:cubicBezTo>
                    <a:pt x="16677" y="15701"/>
                    <a:pt x="16414" y="15870"/>
                    <a:pt x="16066" y="16020"/>
                  </a:cubicBezTo>
                  <a:cubicBezTo>
                    <a:pt x="16057" y="16024"/>
                    <a:pt x="16044" y="16027"/>
                    <a:pt x="16038" y="16031"/>
                  </a:cubicBezTo>
                  <a:cubicBezTo>
                    <a:pt x="15662" y="16192"/>
                    <a:pt x="15214" y="16334"/>
                    <a:pt x="14705" y="16454"/>
                  </a:cubicBezTo>
                  <a:cubicBezTo>
                    <a:pt x="14697" y="16457"/>
                    <a:pt x="14692" y="16458"/>
                    <a:pt x="14686" y="16459"/>
                  </a:cubicBezTo>
                  <a:cubicBezTo>
                    <a:pt x="14163" y="16582"/>
                    <a:pt x="13584" y="16681"/>
                    <a:pt x="12960" y="16749"/>
                  </a:cubicBezTo>
                  <a:cubicBezTo>
                    <a:pt x="12279" y="16826"/>
                    <a:pt x="11560" y="16875"/>
                    <a:pt x="10800" y="16875"/>
                  </a:cubicBezTo>
                  <a:cubicBezTo>
                    <a:pt x="10037" y="16875"/>
                    <a:pt x="9318" y="16826"/>
                    <a:pt x="8640" y="16749"/>
                  </a:cubicBezTo>
                  <a:cubicBezTo>
                    <a:pt x="8016" y="16681"/>
                    <a:pt x="7435" y="16582"/>
                    <a:pt x="6914" y="16459"/>
                  </a:cubicBezTo>
                  <a:cubicBezTo>
                    <a:pt x="6908" y="16458"/>
                    <a:pt x="6901" y="16457"/>
                    <a:pt x="6893" y="16454"/>
                  </a:cubicBezTo>
                  <a:cubicBezTo>
                    <a:pt x="6385" y="16334"/>
                    <a:pt x="5937" y="16192"/>
                    <a:pt x="5562" y="16031"/>
                  </a:cubicBezTo>
                  <a:cubicBezTo>
                    <a:pt x="5553" y="16027"/>
                    <a:pt x="5541" y="16024"/>
                    <a:pt x="5531" y="16020"/>
                  </a:cubicBezTo>
                  <a:cubicBezTo>
                    <a:pt x="5184" y="15870"/>
                    <a:pt x="4921" y="15701"/>
                    <a:pt x="4715" y="15523"/>
                  </a:cubicBezTo>
                  <a:cubicBezTo>
                    <a:pt x="4676" y="15487"/>
                    <a:pt x="4644" y="15452"/>
                    <a:pt x="4612" y="15416"/>
                  </a:cubicBezTo>
                  <a:cubicBezTo>
                    <a:pt x="4437" y="15236"/>
                    <a:pt x="4320" y="15047"/>
                    <a:pt x="4320" y="14850"/>
                  </a:cubicBezTo>
                  <a:cubicBezTo>
                    <a:pt x="4320" y="14650"/>
                    <a:pt x="4437" y="14462"/>
                    <a:pt x="4612" y="14281"/>
                  </a:cubicBezTo>
                  <a:cubicBezTo>
                    <a:pt x="4644" y="14246"/>
                    <a:pt x="4676" y="14210"/>
                    <a:pt x="4715" y="14176"/>
                  </a:cubicBezTo>
                  <a:cubicBezTo>
                    <a:pt x="4921" y="13998"/>
                    <a:pt x="5184" y="13829"/>
                    <a:pt x="5531" y="13677"/>
                  </a:cubicBezTo>
                  <a:cubicBezTo>
                    <a:pt x="5541" y="13674"/>
                    <a:pt x="5553" y="13671"/>
                    <a:pt x="5562" y="13667"/>
                  </a:cubicBezTo>
                  <a:cubicBezTo>
                    <a:pt x="5937" y="13507"/>
                    <a:pt x="6385" y="13364"/>
                    <a:pt x="6893" y="13244"/>
                  </a:cubicBezTo>
                  <a:cubicBezTo>
                    <a:pt x="6901" y="13242"/>
                    <a:pt x="6908" y="13240"/>
                    <a:pt x="6914" y="13238"/>
                  </a:cubicBezTo>
                  <a:cubicBezTo>
                    <a:pt x="7435" y="13117"/>
                    <a:pt x="8016" y="13018"/>
                    <a:pt x="8640" y="12948"/>
                  </a:cubicBezTo>
                  <a:cubicBezTo>
                    <a:pt x="9318" y="12873"/>
                    <a:pt x="10037" y="12825"/>
                    <a:pt x="10800" y="12825"/>
                  </a:cubicBezTo>
                  <a:cubicBezTo>
                    <a:pt x="11560" y="12825"/>
                    <a:pt x="12279" y="12873"/>
                    <a:pt x="12960" y="12948"/>
                  </a:cubicBezTo>
                  <a:cubicBezTo>
                    <a:pt x="13584" y="13018"/>
                    <a:pt x="14163" y="13117"/>
                    <a:pt x="14686" y="13238"/>
                  </a:cubicBezTo>
                  <a:cubicBezTo>
                    <a:pt x="14692" y="13240"/>
                    <a:pt x="14697" y="13242"/>
                    <a:pt x="14705" y="13244"/>
                  </a:cubicBezTo>
                  <a:cubicBezTo>
                    <a:pt x="15214" y="13364"/>
                    <a:pt x="15662" y="13507"/>
                    <a:pt x="16038" y="13667"/>
                  </a:cubicBezTo>
                  <a:cubicBezTo>
                    <a:pt x="16044" y="13671"/>
                    <a:pt x="16057" y="13674"/>
                    <a:pt x="16066" y="13677"/>
                  </a:cubicBezTo>
                  <a:cubicBezTo>
                    <a:pt x="16414" y="13829"/>
                    <a:pt x="16677" y="13998"/>
                    <a:pt x="16883" y="14176"/>
                  </a:cubicBezTo>
                  <a:cubicBezTo>
                    <a:pt x="16923" y="14210"/>
                    <a:pt x="16954" y="14246"/>
                    <a:pt x="16988" y="14281"/>
                  </a:cubicBezTo>
                  <a:cubicBezTo>
                    <a:pt x="17161" y="14462"/>
                    <a:pt x="17280" y="14650"/>
                    <a:pt x="17280" y="14850"/>
                  </a:cubicBezTo>
                  <a:cubicBezTo>
                    <a:pt x="17280" y="15047"/>
                    <a:pt x="17161" y="15236"/>
                    <a:pt x="16988" y="15416"/>
                  </a:cubicBezTo>
                  <a:moveTo>
                    <a:pt x="12960" y="19575"/>
                  </a:moveTo>
                  <a:cubicBezTo>
                    <a:pt x="12960" y="19948"/>
                    <a:pt x="11992" y="20249"/>
                    <a:pt x="10800" y="20249"/>
                  </a:cubicBezTo>
                  <a:cubicBezTo>
                    <a:pt x="9606" y="20249"/>
                    <a:pt x="8640" y="19948"/>
                    <a:pt x="8640" y="19575"/>
                  </a:cubicBezTo>
                  <a:lnTo>
                    <a:pt x="8640" y="18156"/>
                  </a:lnTo>
                  <a:cubicBezTo>
                    <a:pt x="9338" y="18201"/>
                    <a:pt x="10059" y="18225"/>
                    <a:pt x="10800" y="18225"/>
                  </a:cubicBezTo>
                  <a:cubicBezTo>
                    <a:pt x="11541" y="18225"/>
                    <a:pt x="12262" y="18201"/>
                    <a:pt x="12960" y="18156"/>
                  </a:cubicBezTo>
                  <a:cubicBezTo>
                    <a:pt x="12960" y="18156"/>
                    <a:pt x="12960" y="19575"/>
                    <a:pt x="12960" y="19575"/>
                  </a:cubicBezTo>
                  <a:close/>
                  <a:moveTo>
                    <a:pt x="8640" y="2025"/>
                  </a:moveTo>
                  <a:cubicBezTo>
                    <a:pt x="8640" y="1651"/>
                    <a:pt x="9606" y="1350"/>
                    <a:pt x="10800" y="1350"/>
                  </a:cubicBezTo>
                  <a:cubicBezTo>
                    <a:pt x="11992" y="1350"/>
                    <a:pt x="12960" y="1651"/>
                    <a:pt x="12960" y="2025"/>
                  </a:cubicBezTo>
                  <a:lnTo>
                    <a:pt x="12960" y="11542"/>
                  </a:lnTo>
                  <a:cubicBezTo>
                    <a:pt x="12262" y="11498"/>
                    <a:pt x="11541" y="11475"/>
                    <a:pt x="10800" y="11475"/>
                  </a:cubicBezTo>
                  <a:cubicBezTo>
                    <a:pt x="10059" y="11475"/>
                    <a:pt x="9338" y="11498"/>
                    <a:pt x="8640" y="11542"/>
                  </a:cubicBezTo>
                  <a:cubicBezTo>
                    <a:pt x="8640" y="11542"/>
                    <a:pt x="8640" y="2025"/>
                    <a:pt x="8640" y="2025"/>
                  </a:cubicBezTo>
                  <a:close/>
                  <a:moveTo>
                    <a:pt x="17280" y="12164"/>
                  </a:moveTo>
                  <a:lnTo>
                    <a:pt x="17280" y="2025"/>
                  </a:lnTo>
                  <a:cubicBezTo>
                    <a:pt x="17280" y="908"/>
                    <a:pt x="14373" y="0"/>
                    <a:pt x="10800" y="0"/>
                  </a:cubicBezTo>
                  <a:cubicBezTo>
                    <a:pt x="7225" y="0"/>
                    <a:pt x="4320" y="908"/>
                    <a:pt x="4320" y="2025"/>
                  </a:cubicBezTo>
                  <a:lnTo>
                    <a:pt x="4320" y="12164"/>
                  </a:lnTo>
                  <a:cubicBezTo>
                    <a:pt x="1710" y="12781"/>
                    <a:pt x="0" y="13749"/>
                    <a:pt x="0" y="14850"/>
                  </a:cubicBezTo>
                  <a:cubicBezTo>
                    <a:pt x="0" y="15950"/>
                    <a:pt x="1710" y="16918"/>
                    <a:pt x="4320" y="17534"/>
                  </a:cubicBezTo>
                  <a:lnTo>
                    <a:pt x="4320" y="19575"/>
                  </a:lnTo>
                  <a:cubicBezTo>
                    <a:pt x="4320" y="20691"/>
                    <a:pt x="7225" y="21599"/>
                    <a:pt x="10800" y="21599"/>
                  </a:cubicBezTo>
                  <a:cubicBezTo>
                    <a:pt x="14373" y="21599"/>
                    <a:pt x="17280" y="20691"/>
                    <a:pt x="17280" y="19575"/>
                  </a:cubicBezTo>
                  <a:lnTo>
                    <a:pt x="17280" y="17534"/>
                  </a:lnTo>
                  <a:cubicBezTo>
                    <a:pt x="19889" y="16918"/>
                    <a:pt x="21600" y="15950"/>
                    <a:pt x="21600" y="14850"/>
                  </a:cubicBezTo>
                  <a:cubicBezTo>
                    <a:pt x="21600" y="13749"/>
                    <a:pt x="19889" y="12781"/>
                    <a:pt x="17280" y="1216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20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+mn-ea"/>
                <a:sym typeface="+mn-lt"/>
              </a:endParaRPr>
            </a:p>
          </p:txBody>
        </p:sp>
      </p:grpSp>
      <p:sp>
        <p:nvSpPr>
          <p:cNvPr id="41" name="AutoShape 59">
            <a:extLst>
              <a:ext uri="{FF2B5EF4-FFF2-40B4-BE49-F238E27FC236}">
                <a16:creationId xmlns:a16="http://schemas.microsoft.com/office/drawing/2014/main" id="{0F1966E5-FC17-44EB-B29D-CFB05C2DCAFE}"/>
              </a:ext>
            </a:extLst>
          </p:cNvPr>
          <p:cNvSpPr>
            <a:spLocks/>
          </p:cNvSpPr>
          <p:nvPr/>
        </p:nvSpPr>
        <p:spPr bwMode="auto">
          <a:xfrm>
            <a:off x="3270755" y="4270944"/>
            <a:ext cx="465112" cy="464319"/>
          </a:xfrm>
          <a:custGeom>
            <a:avLst/>
            <a:gdLst>
              <a:gd name="T0" fmla="+- 0 10794 23"/>
              <a:gd name="T1" fmla="*/ T0 w 21543"/>
              <a:gd name="T2" fmla="*/ 10800 h 21600"/>
              <a:gd name="T3" fmla="+- 0 10794 23"/>
              <a:gd name="T4" fmla="*/ T3 w 21543"/>
              <a:gd name="T5" fmla="*/ 10800 h 21600"/>
              <a:gd name="T6" fmla="+- 0 10794 23"/>
              <a:gd name="T7" fmla="*/ T6 w 21543"/>
              <a:gd name="T8" fmla="*/ 10800 h 21600"/>
              <a:gd name="T9" fmla="+- 0 10794 23"/>
              <a:gd name="T10" fmla="*/ T9 w 21543"/>
              <a:gd name="T11" fmla="*/ 10800 h 21600"/>
            </a:gdLst>
            <a:ahLst/>
            <a:cxnLst>
              <a:cxn ang="0">
                <a:pos x="T1" y="T2"/>
              </a:cxn>
              <a:cxn ang="0">
                <a:pos x="T4" y="T5"/>
              </a:cxn>
              <a:cxn ang="0">
                <a:pos x="T7" y="T8"/>
              </a:cxn>
              <a:cxn ang="0">
                <a:pos x="T10" y="T11"/>
              </a:cxn>
            </a:cxnLst>
            <a:rect l="0" t="0" r="r" b="b"/>
            <a:pathLst>
              <a:path w="21543" h="21600">
                <a:moveTo>
                  <a:pt x="16976" y="19986"/>
                </a:moveTo>
                <a:lnTo>
                  <a:pt x="11226" y="17680"/>
                </a:lnTo>
                <a:cubicBezTo>
                  <a:pt x="11088" y="17626"/>
                  <a:pt x="10946" y="17608"/>
                  <a:pt x="10806" y="17600"/>
                </a:cubicBezTo>
                <a:lnTo>
                  <a:pt x="19660" y="3837"/>
                </a:lnTo>
                <a:cubicBezTo>
                  <a:pt x="19660" y="3837"/>
                  <a:pt x="16976" y="19986"/>
                  <a:pt x="16976" y="19986"/>
                </a:cubicBezTo>
                <a:close/>
                <a:moveTo>
                  <a:pt x="6859" y="16244"/>
                </a:moveTo>
                <a:cubicBezTo>
                  <a:pt x="6858" y="16242"/>
                  <a:pt x="6855" y="16240"/>
                  <a:pt x="6854" y="16238"/>
                </a:cubicBezTo>
                <a:lnTo>
                  <a:pt x="19606" y="2552"/>
                </a:lnTo>
                <a:lnTo>
                  <a:pt x="8735" y="19536"/>
                </a:lnTo>
                <a:cubicBezTo>
                  <a:pt x="8735" y="19536"/>
                  <a:pt x="6859" y="16244"/>
                  <a:pt x="6859" y="16244"/>
                </a:cubicBezTo>
                <a:close/>
                <a:moveTo>
                  <a:pt x="2111" y="14024"/>
                </a:moveTo>
                <a:lnTo>
                  <a:pt x="17712" y="3595"/>
                </a:lnTo>
                <a:lnTo>
                  <a:pt x="6369" y="15770"/>
                </a:lnTo>
                <a:cubicBezTo>
                  <a:pt x="6309" y="15734"/>
                  <a:pt x="6256" y="15687"/>
                  <a:pt x="6190" y="15660"/>
                </a:cubicBezTo>
                <a:cubicBezTo>
                  <a:pt x="6190" y="15660"/>
                  <a:pt x="2111" y="14024"/>
                  <a:pt x="2111" y="14024"/>
                </a:cubicBezTo>
                <a:close/>
                <a:moveTo>
                  <a:pt x="21234" y="108"/>
                </a:moveTo>
                <a:cubicBezTo>
                  <a:pt x="21123" y="35"/>
                  <a:pt x="20996" y="0"/>
                  <a:pt x="20868" y="0"/>
                </a:cubicBezTo>
                <a:cubicBezTo>
                  <a:pt x="20738" y="0"/>
                  <a:pt x="20608" y="36"/>
                  <a:pt x="20495" y="113"/>
                </a:cubicBezTo>
                <a:lnTo>
                  <a:pt x="299" y="13613"/>
                </a:lnTo>
                <a:cubicBezTo>
                  <a:pt x="91" y="13751"/>
                  <a:pt x="-23" y="13995"/>
                  <a:pt x="3" y="14244"/>
                </a:cubicBezTo>
                <a:cubicBezTo>
                  <a:pt x="28" y="14494"/>
                  <a:pt x="190" y="14708"/>
                  <a:pt x="422" y="14801"/>
                </a:cubicBezTo>
                <a:lnTo>
                  <a:pt x="5689" y="16914"/>
                </a:lnTo>
                <a:lnTo>
                  <a:pt x="8166" y="21259"/>
                </a:lnTo>
                <a:cubicBezTo>
                  <a:pt x="8284" y="21468"/>
                  <a:pt x="8505" y="21597"/>
                  <a:pt x="8743" y="21599"/>
                </a:cubicBezTo>
                <a:lnTo>
                  <a:pt x="8751" y="21599"/>
                </a:lnTo>
                <a:cubicBezTo>
                  <a:pt x="8987" y="21599"/>
                  <a:pt x="9206" y="21474"/>
                  <a:pt x="9328" y="21271"/>
                </a:cubicBezTo>
                <a:lnTo>
                  <a:pt x="10726" y="18934"/>
                </a:lnTo>
                <a:lnTo>
                  <a:pt x="17253" y="21551"/>
                </a:lnTo>
                <a:cubicBezTo>
                  <a:pt x="17332" y="21584"/>
                  <a:pt x="17418" y="21599"/>
                  <a:pt x="17502" y="21599"/>
                </a:cubicBezTo>
                <a:cubicBezTo>
                  <a:pt x="17617" y="21599"/>
                  <a:pt x="17731" y="21571"/>
                  <a:pt x="17832" y="21512"/>
                </a:cubicBezTo>
                <a:cubicBezTo>
                  <a:pt x="18010" y="21412"/>
                  <a:pt x="18133" y="21238"/>
                  <a:pt x="18167" y="21035"/>
                </a:cubicBezTo>
                <a:lnTo>
                  <a:pt x="21533" y="785"/>
                </a:lnTo>
                <a:cubicBezTo>
                  <a:pt x="21576" y="520"/>
                  <a:pt x="21459" y="254"/>
                  <a:pt x="21234" y="108"/>
                </a:cubicBezTo>
              </a:path>
            </a:pathLst>
          </a:custGeom>
          <a:solidFill>
            <a:srgbClr val="F57B2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19049" tIns="19049" rIns="19049" bIns="19049" anchor="ctr"/>
          <a:lstStyle/>
          <a:p>
            <a:pPr algn="ctr" defTabSz="228570" hangingPunct="0">
              <a:lnSpc>
                <a:spcPct val="130000"/>
              </a:lnSpc>
            </a:pPr>
            <a:endParaRPr lang="en-US" sz="1399">
              <a:solidFill>
                <a:schemeClr val="tx1">
                  <a:lumMod val="50000"/>
                  <a:lumOff val="50000"/>
                </a:schemeClr>
              </a:solidFill>
              <a:cs typeface="+mn-ea"/>
              <a:sym typeface="+mn-lt"/>
            </a:endParaRPr>
          </a:p>
        </p:txBody>
      </p:sp>
      <p:grpSp>
        <p:nvGrpSpPr>
          <p:cNvPr id="42" name="Group 38">
            <a:extLst>
              <a:ext uri="{FF2B5EF4-FFF2-40B4-BE49-F238E27FC236}">
                <a16:creationId xmlns:a16="http://schemas.microsoft.com/office/drawing/2014/main" id="{3F60FB29-B481-4BFD-869A-155F95A1C0E3}"/>
              </a:ext>
            </a:extLst>
          </p:cNvPr>
          <p:cNvGrpSpPr/>
          <p:nvPr/>
        </p:nvGrpSpPr>
        <p:grpSpPr>
          <a:xfrm>
            <a:off x="4980335" y="3121497"/>
            <a:ext cx="465112" cy="391298"/>
            <a:chOff x="5368132" y="2625725"/>
            <a:chExt cx="465138" cy="391319"/>
          </a:xfrm>
          <a:solidFill>
            <a:srgbClr val="6FCEFE"/>
          </a:solidFill>
        </p:grpSpPr>
        <p:sp>
          <p:nvSpPr>
            <p:cNvPr id="43" name="AutoShape 120">
              <a:extLst>
                <a:ext uri="{FF2B5EF4-FFF2-40B4-BE49-F238E27FC236}">
                  <a16:creationId xmlns:a16="http://schemas.microsoft.com/office/drawing/2014/main" id="{342D9397-DB36-41B0-A5B8-973272FFD0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4813" y="2727325"/>
              <a:ext cx="231775" cy="231775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6948" y="16070"/>
                  </a:moveTo>
                  <a:cubicBezTo>
                    <a:pt x="14037" y="19468"/>
                    <a:pt x="8925" y="19859"/>
                    <a:pt x="5529" y="16948"/>
                  </a:cubicBezTo>
                  <a:cubicBezTo>
                    <a:pt x="2130" y="14038"/>
                    <a:pt x="1740" y="8924"/>
                    <a:pt x="4651" y="5527"/>
                  </a:cubicBezTo>
                  <a:cubicBezTo>
                    <a:pt x="7559" y="2131"/>
                    <a:pt x="12674" y="1740"/>
                    <a:pt x="16070" y="4650"/>
                  </a:cubicBezTo>
                  <a:cubicBezTo>
                    <a:pt x="19466" y="7560"/>
                    <a:pt x="19859" y="12673"/>
                    <a:pt x="16948" y="16070"/>
                  </a:cubicBezTo>
                  <a:moveTo>
                    <a:pt x="10800" y="0"/>
                  </a:moveTo>
                  <a:cubicBezTo>
                    <a:pt x="4833" y="0"/>
                    <a:pt x="0" y="4834"/>
                    <a:pt x="0" y="10800"/>
                  </a:cubicBezTo>
                  <a:cubicBezTo>
                    <a:pt x="0" y="16765"/>
                    <a:pt x="4833" y="21599"/>
                    <a:pt x="10800" y="21599"/>
                  </a:cubicBezTo>
                  <a:cubicBezTo>
                    <a:pt x="16764" y="21599"/>
                    <a:pt x="21600" y="16765"/>
                    <a:pt x="21600" y="10800"/>
                  </a:cubicBezTo>
                  <a:cubicBezTo>
                    <a:pt x="21600" y="4834"/>
                    <a:pt x="16764" y="0"/>
                    <a:pt x="10800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20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+mn-ea"/>
                <a:sym typeface="+mn-lt"/>
              </a:endParaRPr>
            </a:p>
          </p:txBody>
        </p:sp>
        <p:sp>
          <p:nvSpPr>
            <p:cNvPr id="44" name="AutoShape 121">
              <a:extLst>
                <a:ext uri="{FF2B5EF4-FFF2-40B4-BE49-F238E27FC236}">
                  <a16:creationId xmlns:a16="http://schemas.microsoft.com/office/drawing/2014/main" id="{9289CA15-75A0-4817-846A-3B82B8978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2757" y="2785269"/>
              <a:ext cx="65088" cy="65088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9200" y="0"/>
                  </a:moveTo>
                  <a:cubicBezTo>
                    <a:pt x="8596" y="0"/>
                    <a:pt x="0" y="8596"/>
                    <a:pt x="0" y="19195"/>
                  </a:cubicBezTo>
                  <a:lnTo>
                    <a:pt x="0" y="19199"/>
                  </a:lnTo>
                  <a:cubicBezTo>
                    <a:pt x="0" y="20524"/>
                    <a:pt x="1068" y="21599"/>
                    <a:pt x="2400" y="21599"/>
                  </a:cubicBezTo>
                  <a:cubicBezTo>
                    <a:pt x="3721" y="21599"/>
                    <a:pt x="4800" y="20524"/>
                    <a:pt x="4800" y="19199"/>
                  </a:cubicBezTo>
                  <a:lnTo>
                    <a:pt x="4800" y="19195"/>
                  </a:lnTo>
                  <a:cubicBezTo>
                    <a:pt x="4800" y="11247"/>
                    <a:pt x="11240" y="4799"/>
                    <a:pt x="19200" y="4799"/>
                  </a:cubicBezTo>
                  <a:cubicBezTo>
                    <a:pt x="20521" y="4799"/>
                    <a:pt x="21600" y="3724"/>
                    <a:pt x="21600" y="2399"/>
                  </a:cubicBezTo>
                  <a:cubicBezTo>
                    <a:pt x="21600" y="1075"/>
                    <a:pt x="20521" y="0"/>
                    <a:pt x="19200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20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+mn-ea"/>
                <a:sym typeface="+mn-lt"/>
              </a:endParaRPr>
            </a:p>
          </p:txBody>
        </p:sp>
        <p:sp>
          <p:nvSpPr>
            <p:cNvPr id="45" name="AutoShape 122">
              <a:extLst>
                <a:ext uri="{FF2B5EF4-FFF2-40B4-BE49-F238E27FC236}">
                  <a16:creationId xmlns:a16="http://schemas.microsoft.com/office/drawing/2014/main" id="{CD1BDA76-F5A9-499E-A1EF-1C079CE02F3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8132" y="2625725"/>
              <a:ext cx="465138" cy="391319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20249" y="19199"/>
                  </a:moveTo>
                  <a:cubicBezTo>
                    <a:pt x="20249" y="19642"/>
                    <a:pt x="19948" y="19999"/>
                    <a:pt x="19575" y="19999"/>
                  </a:cubicBezTo>
                  <a:lnTo>
                    <a:pt x="2024" y="19999"/>
                  </a:lnTo>
                  <a:cubicBezTo>
                    <a:pt x="1651" y="19999"/>
                    <a:pt x="1349" y="19642"/>
                    <a:pt x="1349" y="19199"/>
                  </a:cubicBezTo>
                  <a:lnTo>
                    <a:pt x="1349" y="7200"/>
                  </a:lnTo>
                  <a:cubicBezTo>
                    <a:pt x="1349" y="6809"/>
                    <a:pt x="1588" y="6475"/>
                    <a:pt x="1914" y="6411"/>
                  </a:cubicBezTo>
                  <a:lnTo>
                    <a:pt x="5588" y="5684"/>
                  </a:lnTo>
                  <a:lnTo>
                    <a:pt x="6797" y="2103"/>
                  </a:lnTo>
                  <a:cubicBezTo>
                    <a:pt x="6900" y="1799"/>
                    <a:pt x="7148" y="1600"/>
                    <a:pt x="7424" y="1600"/>
                  </a:cubicBezTo>
                  <a:lnTo>
                    <a:pt x="14174" y="1600"/>
                  </a:lnTo>
                  <a:cubicBezTo>
                    <a:pt x="14450" y="1600"/>
                    <a:pt x="14698" y="1799"/>
                    <a:pt x="14801" y="2103"/>
                  </a:cubicBezTo>
                  <a:lnTo>
                    <a:pt x="16010" y="5684"/>
                  </a:lnTo>
                  <a:lnTo>
                    <a:pt x="19685" y="6411"/>
                  </a:lnTo>
                  <a:cubicBezTo>
                    <a:pt x="20011" y="6475"/>
                    <a:pt x="20249" y="6809"/>
                    <a:pt x="20249" y="7200"/>
                  </a:cubicBezTo>
                  <a:cubicBezTo>
                    <a:pt x="20249" y="7200"/>
                    <a:pt x="20249" y="19199"/>
                    <a:pt x="20249" y="19199"/>
                  </a:cubicBezTo>
                  <a:close/>
                  <a:moveTo>
                    <a:pt x="19907" y="4832"/>
                  </a:moveTo>
                  <a:lnTo>
                    <a:pt x="16981" y="4254"/>
                  </a:lnTo>
                  <a:lnTo>
                    <a:pt x="16054" y="1507"/>
                  </a:lnTo>
                  <a:cubicBezTo>
                    <a:pt x="15745" y="591"/>
                    <a:pt x="15006" y="0"/>
                    <a:pt x="14174" y="0"/>
                  </a:cubicBezTo>
                  <a:lnTo>
                    <a:pt x="7424" y="0"/>
                  </a:lnTo>
                  <a:cubicBezTo>
                    <a:pt x="6593" y="0"/>
                    <a:pt x="5854" y="591"/>
                    <a:pt x="5543" y="1509"/>
                  </a:cubicBezTo>
                  <a:lnTo>
                    <a:pt x="4618" y="4254"/>
                  </a:lnTo>
                  <a:lnTo>
                    <a:pt x="1692" y="4832"/>
                  </a:lnTo>
                  <a:cubicBezTo>
                    <a:pt x="711" y="5025"/>
                    <a:pt x="0" y="6020"/>
                    <a:pt x="0" y="7200"/>
                  </a:cubicBezTo>
                  <a:lnTo>
                    <a:pt x="0" y="19199"/>
                  </a:lnTo>
                  <a:cubicBezTo>
                    <a:pt x="0" y="20523"/>
                    <a:pt x="908" y="21600"/>
                    <a:pt x="2024" y="21600"/>
                  </a:cubicBezTo>
                  <a:lnTo>
                    <a:pt x="19575" y="21600"/>
                  </a:lnTo>
                  <a:cubicBezTo>
                    <a:pt x="20691" y="21600"/>
                    <a:pt x="21600" y="20523"/>
                    <a:pt x="21600" y="19199"/>
                  </a:cubicBezTo>
                  <a:lnTo>
                    <a:pt x="21600" y="7200"/>
                  </a:lnTo>
                  <a:cubicBezTo>
                    <a:pt x="21600" y="6020"/>
                    <a:pt x="20888" y="5025"/>
                    <a:pt x="19907" y="4832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20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+mn-ea"/>
                <a:sym typeface="+mn-lt"/>
              </a:endParaRPr>
            </a:p>
          </p:txBody>
        </p:sp>
      </p:grpSp>
      <p:grpSp>
        <p:nvGrpSpPr>
          <p:cNvPr id="46" name="Group 42">
            <a:extLst>
              <a:ext uri="{FF2B5EF4-FFF2-40B4-BE49-F238E27FC236}">
                <a16:creationId xmlns:a16="http://schemas.microsoft.com/office/drawing/2014/main" id="{3D585BB4-0519-45B8-ADCA-9280F7FF098F}"/>
              </a:ext>
            </a:extLst>
          </p:cNvPr>
          <p:cNvGrpSpPr/>
          <p:nvPr/>
        </p:nvGrpSpPr>
        <p:grpSpPr>
          <a:xfrm>
            <a:off x="1774990" y="3127534"/>
            <a:ext cx="464319" cy="362725"/>
            <a:chOff x="2581275" y="1710532"/>
            <a:chExt cx="464344" cy="362744"/>
          </a:xfrm>
          <a:solidFill>
            <a:srgbClr val="D00000"/>
          </a:solidFill>
        </p:grpSpPr>
        <p:sp>
          <p:nvSpPr>
            <p:cNvPr id="47" name="AutoShape 140">
              <a:extLst>
                <a:ext uri="{FF2B5EF4-FFF2-40B4-BE49-F238E27FC236}">
                  <a16:creationId xmlns:a16="http://schemas.microsoft.com/office/drawing/2014/main" id="{0062142B-6BD3-4EA9-9D95-136989D27AA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9219" y="1768475"/>
              <a:ext cx="290513" cy="235744"/>
            </a:xfrm>
            <a:custGeom>
              <a:avLst/>
              <a:gdLst>
                <a:gd name="T0" fmla="+- 0 10800 376"/>
                <a:gd name="T1" fmla="*/ T0 w 20848"/>
                <a:gd name="T2" fmla="*/ 10800 h 21600"/>
                <a:gd name="T3" fmla="+- 0 10800 376"/>
                <a:gd name="T4" fmla="*/ T3 w 20848"/>
                <a:gd name="T5" fmla="*/ 10800 h 21600"/>
                <a:gd name="T6" fmla="+- 0 10800 376"/>
                <a:gd name="T7" fmla="*/ T6 w 20848"/>
                <a:gd name="T8" fmla="*/ 10800 h 21600"/>
                <a:gd name="T9" fmla="+- 0 10800 376"/>
                <a:gd name="T10" fmla="*/ T9 w 20848"/>
                <a:gd name="T11" fmla="*/ 10800 h 21600"/>
              </a:gdLst>
              <a:ahLst/>
              <a:cxnLst>
                <a:cxn ang="0">
                  <a:pos x="T1" y="T2"/>
                </a:cxn>
                <a:cxn ang="0">
                  <a:pos x="T4" y="T5"/>
                </a:cxn>
                <a:cxn ang="0">
                  <a:pos x="T7" y="T8"/>
                </a:cxn>
                <a:cxn ang="0">
                  <a:pos x="T10" y="T11"/>
                </a:cxn>
              </a:cxnLst>
              <a:rect l="0" t="0" r="r" b="b"/>
              <a:pathLst>
                <a:path w="20848" h="21600">
                  <a:moveTo>
                    <a:pt x="18728" y="19178"/>
                  </a:moveTo>
                  <a:cubicBezTo>
                    <a:pt x="13191" y="20631"/>
                    <a:pt x="7654" y="20631"/>
                    <a:pt x="2118" y="19178"/>
                  </a:cubicBezTo>
                  <a:cubicBezTo>
                    <a:pt x="678" y="13592"/>
                    <a:pt x="678" y="8008"/>
                    <a:pt x="2118" y="2421"/>
                  </a:cubicBezTo>
                  <a:cubicBezTo>
                    <a:pt x="7654" y="968"/>
                    <a:pt x="13191" y="968"/>
                    <a:pt x="18728" y="2421"/>
                  </a:cubicBezTo>
                  <a:cubicBezTo>
                    <a:pt x="20168" y="8008"/>
                    <a:pt x="20168" y="13592"/>
                    <a:pt x="18728" y="19178"/>
                  </a:cubicBezTo>
                  <a:moveTo>
                    <a:pt x="18938" y="1116"/>
                  </a:moveTo>
                  <a:cubicBezTo>
                    <a:pt x="16114" y="375"/>
                    <a:pt x="13249" y="0"/>
                    <a:pt x="10423" y="0"/>
                  </a:cubicBezTo>
                  <a:cubicBezTo>
                    <a:pt x="7597" y="0"/>
                    <a:pt x="4732" y="375"/>
                    <a:pt x="1908" y="1116"/>
                  </a:cubicBezTo>
                  <a:cubicBezTo>
                    <a:pt x="1543" y="1213"/>
                    <a:pt x="1244" y="1552"/>
                    <a:pt x="1127" y="2004"/>
                  </a:cubicBezTo>
                  <a:cubicBezTo>
                    <a:pt x="-376" y="7841"/>
                    <a:pt x="-376" y="13759"/>
                    <a:pt x="1127" y="19593"/>
                  </a:cubicBezTo>
                  <a:cubicBezTo>
                    <a:pt x="1244" y="20047"/>
                    <a:pt x="1543" y="20386"/>
                    <a:pt x="1908" y="20482"/>
                  </a:cubicBezTo>
                  <a:cubicBezTo>
                    <a:pt x="4732" y="21224"/>
                    <a:pt x="7597" y="21600"/>
                    <a:pt x="10423" y="21600"/>
                  </a:cubicBezTo>
                  <a:cubicBezTo>
                    <a:pt x="13249" y="21600"/>
                    <a:pt x="16114" y="21224"/>
                    <a:pt x="18938" y="20482"/>
                  </a:cubicBezTo>
                  <a:cubicBezTo>
                    <a:pt x="19303" y="20386"/>
                    <a:pt x="19602" y="20047"/>
                    <a:pt x="19719" y="19593"/>
                  </a:cubicBezTo>
                  <a:cubicBezTo>
                    <a:pt x="21223" y="13759"/>
                    <a:pt x="21223" y="7841"/>
                    <a:pt x="19719" y="2004"/>
                  </a:cubicBezTo>
                  <a:cubicBezTo>
                    <a:pt x="19602" y="1552"/>
                    <a:pt x="19303" y="1213"/>
                    <a:pt x="18938" y="1116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20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+mn-ea"/>
                <a:sym typeface="+mn-lt"/>
              </a:endParaRPr>
            </a:p>
          </p:txBody>
        </p:sp>
        <p:sp>
          <p:nvSpPr>
            <p:cNvPr id="48" name="AutoShape 141">
              <a:extLst>
                <a:ext uri="{FF2B5EF4-FFF2-40B4-BE49-F238E27FC236}">
                  <a16:creationId xmlns:a16="http://schemas.microsoft.com/office/drawing/2014/main" id="{21546AE4-07C8-4617-BE24-D65C05BE5E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1275" y="1710532"/>
              <a:ext cx="464344" cy="362744"/>
            </a:xfrm>
            <a:custGeom>
              <a:avLst/>
              <a:gdLst>
                <a:gd name="T0" fmla="+- 0 10800 252"/>
                <a:gd name="T1" fmla="*/ T0 w 21096"/>
                <a:gd name="T2" fmla="*/ 10800 h 21600"/>
                <a:gd name="T3" fmla="+- 0 10800 252"/>
                <a:gd name="T4" fmla="*/ T3 w 21096"/>
                <a:gd name="T5" fmla="*/ 10800 h 21600"/>
                <a:gd name="T6" fmla="+- 0 10800 252"/>
                <a:gd name="T7" fmla="*/ T6 w 21096"/>
                <a:gd name="T8" fmla="*/ 10800 h 21600"/>
                <a:gd name="T9" fmla="+- 0 10800 252"/>
                <a:gd name="T10" fmla="*/ T9 w 21096"/>
                <a:gd name="T11" fmla="*/ 10800 h 21600"/>
              </a:gdLst>
              <a:ahLst/>
              <a:cxnLst>
                <a:cxn ang="0">
                  <a:pos x="T1" y="T2"/>
                </a:cxn>
                <a:cxn ang="0">
                  <a:pos x="T4" y="T5"/>
                </a:cxn>
                <a:cxn ang="0">
                  <a:pos x="T7" y="T8"/>
                </a:cxn>
                <a:cxn ang="0">
                  <a:pos x="T10" y="T11"/>
                </a:cxn>
              </a:cxnLst>
              <a:rect l="0" t="0" r="r" b="b"/>
              <a:pathLst>
                <a:path w="21096" h="21600">
                  <a:moveTo>
                    <a:pt x="19056" y="18331"/>
                  </a:moveTo>
                  <a:cubicBezTo>
                    <a:pt x="13383" y="19233"/>
                    <a:pt x="7711" y="19233"/>
                    <a:pt x="2038" y="18331"/>
                  </a:cubicBezTo>
                  <a:cubicBezTo>
                    <a:pt x="1074" y="13022"/>
                    <a:pt x="1074" y="7713"/>
                    <a:pt x="2038" y="2404"/>
                  </a:cubicBezTo>
                  <a:cubicBezTo>
                    <a:pt x="7711" y="1502"/>
                    <a:pt x="13383" y="1502"/>
                    <a:pt x="19056" y="2404"/>
                  </a:cubicBezTo>
                  <a:cubicBezTo>
                    <a:pt x="20021" y="7713"/>
                    <a:pt x="20021" y="13022"/>
                    <a:pt x="19056" y="18331"/>
                  </a:cubicBezTo>
                  <a:moveTo>
                    <a:pt x="20338" y="2005"/>
                  </a:moveTo>
                  <a:cubicBezTo>
                    <a:pt x="20211" y="1301"/>
                    <a:pt x="19762" y="776"/>
                    <a:pt x="19215" y="689"/>
                  </a:cubicBezTo>
                  <a:cubicBezTo>
                    <a:pt x="16339" y="232"/>
                    <a:pt x="13423" y="0"/>
                    <a:pt x="10547" y="0"/>
                  </a:cubicBezTo>
                  <a:cubicBezTo>
                    <a:pt x="7671" y="0"/>
                    <a:pt x="4755" y="232"/>
                    <a:pt x="1879" y="689"/>
                  </a:cubicBezTo>
                  <a:cubicBezTo>
                    <a:pt x="1332" y="776"/>
                    <a:pt x="883" y="1301"/>
                    <a:pt x="756" y="2005"/>
                  </a:cubicBezTo>
                  <a:cubicBezTo>
                    <a:pt x="-252" y="7553"/>
                    <a:pt x="-252" y="13181"/>
                    <a:pt x="756" y="18731"/>
                  </a:cubicBezTo>
                  <a:cubicBezTo>
                    <a:pt x="883" y="19434"/>
                    <a:pt x="1332" y="19959"/>
                    <a:pt x="1879" y="20046"/>
                  </a:cubicBezTo>
                  <a:cubicBezTo>
                    <a:pt x="3265" y="20266"/>
                    <a:pt x="4660" y="20429"/>
                    <a:pt x="6055" y="20544"/>
                  </a:cubicBezTo>
                  <a:cubicBezTo>
                    <a:pt x="5979" y="20606"/>
                    <a:pt x="5931" y="20670"/>
                    <a:pt x="5931" y="20735"/>
                  </a:cubicBezTo>
                  <a:cubicBezTo>
                    <a:pt x="5931" y="21213"/>
                    <a:pt x="7997" y="21599"/>
                    <a:pt x="10547" y="21599"/>
                  </a:cubicBezTo>
                  <a:cubicBezTo>
                    <a:pt x="13097" y="21599"/>
                    <a:pt x="15164" y="21213"/>
                    <a:pt x="15164" y="20735"/>
                  </a:cubicBezTo>
                  <a:cubicBezTo>
                    <a:pt x="15164" y="20670"/>
                    <a:pt x="15115" y="20606"/>
                    <a:pt x="15040" y="20544"/>
                  </a:cubicBezTo>
                  <a:cubicBezTo>
                    <a:pt x="16434" y="20429"/>
                    <a:pt x="17830" y="20266"/>
                    <a:pt x="19215" y="20046"/>
                  </a:cubicBezTo>
                  <a:cubicBezTo>
                    <a:pt x="19762" y="19959"/>
                    <a:pt x="20211" y="19434"/>
                    <a:pt x="20338" y="18731"/>
                  </a:cubicBezTo>
                  <a:cubicBezTo>
                    <a:pt x="21347" y="13181"/>
                    <a:pt x="21347" y="7553"/>
                    <a:pt x="20338" y="2005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20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+mn-ea"/>
                <a:sym typeface="+mn-lt"/>
              </a:endParaRPr>
            </a:p>
          </p:txBody>
        </p:sp>
        <p:sp>
          <p:nvSpPr>
            <p:cNvPr id="49" name="AutoShape 142">
              <a:extLst>
                <a:ext uri="{FF2B5EF4-FFF2-40B4-BE49-F238E27FC236}">
                  <a16:creationId xmlns:a16="http://schemas.microsoft.com/office/drawing/2014/main" id="{6862A26F-48AE-4D5E-8F58-8728FCE77C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4019" y="1783557"/>
              <a:ext cx="43656" cy="42863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0800" y="7200"/>
                  </a:moveTo>
                  <a:cubicBezTo>
                    <a:pt x="12779" y="7200"/>
                    <a:pt x="14399" y="8820"/>
                    <a:pt x="14399" y="10800"/>
                  </a:cubicBezTo>
                  <a:cubicBezTo>
                    <a:pt x="14399" y="12779"/>
                    <a:pt x="12779" y="14400"/>
                    <a:pt x="10800" y="14400"/>
                  </a:cubicBezTo>
                  <a:cubicBezTo>
                    <a:pt x="8820" y="14400"/>
                    <a:pt x="7199" y="12779"/>
                    <a:pt x="7199" y="10800"/>
                  </a:cubicBezTo>
                  <a:cubicBezTo>
                    <a:pt x="7199" y="8820"/>
                    <a:pt x="8820" y="7200"/>
                    <a:pt x="10800" y="7200"/>
                  </a:cubicBezTo>
                  <a:moveTo>
                    <a:pt x="10800" y="21599"/>
                  </a:moveTo>
                  <a:cubicBezTo>
                    <a:pt x="16762" y="21599"/>
                    <a:pt x="21600" y="16762"/>
                    <a:pt x="21600" y="10800"/>
                  </a:cubicBezTo>
                  <a:cubicBezTo>
                    <a:pt x="21600" y="4837"/>
                    <a:pt x="16762" y="0"/>
                    <a:pt x="10800" y="0"/>
                  </a:cubicBezTo>
                  <a:cubicBezTo>
                    <a:pt x="4837" y="0"/>
                    <a:pt x="0" y="4837"/>
                    <a:pt x="0" y="10800"/>
                  </a:cubicBezTo>
                  <a:cubicBezTo>
                    <a:pt x="0" y="16762"/>
                    <a:pt x="4837" y="21599"/>
                    <a:pt x="10800" y="21599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20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+mn-ea"/>
                <a:sym typeface="+mn-lt"/>
              </a:endParaRPr>
            </a:p>
          </p:txBody>
        </p:sp>
        <p:sp>
          <p:nvSpPr>
            <p:cNvPr id="50" name="AutoShape 143">
              <a:extLst>
                <a:ext uri="{FF2B5EF4-FFF2-40B4-BE49-F238E27FC236}">
                  <a16:creationId xmlns:a16="http://schemas.microsoft.com/office/drawing/2014/main" id="{6B1F820F-4C28-487C-A314-8E06C7943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9732" y="1971675"/>
              <a:ext cx="57944" cy="15082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8899" y="0"/>
                  </a:moveTo>
                  <a:lnTo>
                    <a:pt x="2699" y="0"/>
                  </a:lnTo>
                  <a:cubicBezTo>
                    <a:pt x="1210" y="0"/>
                    <a:pt x="0" y="4841"/>
                    <a:pt x="0" y="10800"/>
                  </a:cubicBezTo>
                  <a:cubicBezTo>
                    <a:pt x="0" y="16758"/>
                    <a:pt x="1210" y="21599"/>
                    <a:pt x="2699" y="21599"/>
                  </a:cubicBezTo>
                  <a:lnTo>
                    <a:pt x="18899" y="21599"/>
                  </a:lnTo>
                  <a:cubicBezTo>
                    <a:pt x="20389" y="21599"/>
                    <a:pt x="21600" y="16758"/>
                    <a:pt x="21600" y="10800"/>
                  </a:cubicBezTo>
                  <a:cubicBezTo>
                    <a:pt x="21600" y="4841"/>
                    <a:pt x="20389" y="0"/>
                    <a:pt x="18899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20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+mn-ea"/>
                <a:sym typeface="+mn-lt"/>
              </a:endParaRPr>
            </a:p>
          </p:txBody>
        </p:sp>
        <p:sp>
          <p:nvSpPr>
            <p:cNvPr id="51" name="AutoShape 144">
              <a:extLst>
                <a:ext uri="{FF2B5EF4-FFF2-40B4-BE49-F238E27FC236}">
                  <a16:creationId xmlns:a16="http://schemas.microsoft.com/office/drawing/2014/main" id="{BD8AF61D-103D-4700-AF54-94DDF076DAF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4019" y="1928019"/>
              <a:ext cx="58738" cy="15081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8899" y="0"/>
                  </a:moveTo>
                  <a:lnTo>
                    <a:pt x="2699" y="0"/>
                  </a:lnTo>
                  <a:cubicBezTo>
                    <a:pt x="1210" y="0"/>
                    <a:pt x="0" y="4841"/>
                    <a:pt x="0" y="10800"/>
                  </a:cubicBezTo>
                  <a:cubicBezTo>
                    <a:pt x="0" y="16758"/>
                    <a:pt x="1210" y="21599"/>
                    <a:pt x="2699" y="21599"/>
                  </a:cubicBezTo>
                  <a:lnTo>
                    <a:pt x="18899" y="21599"/>
                  </a:lnTo>
                  <a:cubicBezTo>
                    <a:pt x="20389" y="21599"/>
                    <a:pt x="21600" y="16758"/>
                    <a:pt x="21600" y="10800"/>
                  </a:cubicBezTo>
                  <a:cubicBezTo>
                    <a:pt x="21600" y="4841"/>
                    <a:pt x="20389" y="0"/>
                    <a:pt x="18899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20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+mn-ea"/>
                <a:sym typeface="+mn-lt"/>
              </a:endParaRPr>
            </a:p>
          </p:txBody>
        </p:sp>
        <p:sp>
          <p:nvSpPr>
            <p:cNvPr id="52" name="AutoShape 145">
              <a:extLst>
                <a:ext uri="{FF2B5EF4-FFF2-40B4-BE49-F238E27FC236}">
                  <a16:creationId xmlns:a16="http://schemas.microsoft.com/office/drawing/2014/main" id="{238D2B53-2D7A-4D29-8D9B-3930B9EA4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4019" y="1885157"/>
              <a:ext cx="58738" cy="14288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8899" y="0"/>
                  </a:moveTo>
                  <a:lnTo>
                    <a:pt x="2699" y="0"/>
                  </a:lnTo>
                  <a:cubicBezTo>
                    <a:pt x="1210" y="0"/>
                    <a:pt x="0" y="4841"/>
                    <a:pt x="0" y="10800"/>
                  </a:cubicBezTo>
                  <a:cubicBezTo>
                    <a:pt x="0" y="16758"/>
                    <a:pt x="1210" y="21599"/>
                    <a:pt x="2699" y="21599"/>
                  </a:cubicBezTo>
                  <a:lnTo>
                    <a:pt x="18899" y="21599"/>
                  </a:lnTo>
                  <a:cubicBezTo>
                    <a:pt x="20389" y="21599"/>
                    <a:pt x="21600" y="16758"/>
                    <a:pt x="21600" y="10800"/>
                  </a:cubicBezTo>
                  <a:cubicBezTo>
                    <a:pt x="21600" y="4841"/>
                    <a:pt x="20389" y="0"/>
                    <a:pt x="18899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20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+mn-ea"/>
                <a:sym typeface="+mn-lt"/>
              </a:endParaRPr>
            </a:p>
          </p:txBody>
        </p:sp>
        <p:sp>
          <p:nvSpPr>
            <p:cNvPr id="53" name="AutoShape 146">
              <a:extLst>
                <a:ext uri="{FF2B5EF4-FFF2-40B4-BE49-F238E27FC236}">
                  <a16:creationId xmlns:a16="http://schemas.microsoft.com/office/drawing/2014/main" id="{B4D3FCF1-0665-40E7-80B3-B37B97F93A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7957" y="1826419"/>
              <a:ext cx="86519" cy="61119"/>
            </a:xfrm>
            <a:custGeom>
              <a:avLst/>
              <a:gdLst>
                <a:gd name="T0" fmla="+- 0 10822 44"/>
                <a:gd name="T1" fmla="*/ T0 w 21556"/>
                <a:gd name="T2" fmla="+- 0 10826 53"/>
                <a:gd name="T3" fmla="*/ 10826 h 21547"/>
                <a:gd name="T4" fmla="+- 0 10822 44"/>
                <a:gd name="T5" fmla="*/ T4 w 21556"/>
                <a:gd name="T6" fmla="+- 0 10826 53"/>
                <a:gd name="T7" fmla="*/ 10826 h 21547"/>
                <a:gd name="T8" fmla="+- 0 10822 44"/>
                <a:gd name="T9" fmla="*/ T8 w 21556"/>
                <a:gd name="T10" fmla="+- 0 10826 53"/>
                <a:gd name="T11" fmla="*/ 10826 h 21547"/>
                <a:gd name="T12" fmla="+- 0 10822 44"/>
                <a:gd name="T13" fmla="*/ T12 w 21556"/>
                <a:gd name="T14" fmla="+- 0 10826 53"/>
                <a:gd name="T15" fmla="*/ 10826 h 21547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1556" h="21547">
                  <a:moveTo>
                    <a:pt x="19751" y="2"/>
                  </a:moveTo>
                  <a:lnTo>
                    <a:pt x="3200" y="1845"/>
                  </a:lnTo>
                  <a:cubicBezTo>
                    <a:pt x="2215" y="2010"/>
                    <a:pt x="1272" y="3284"/>
                    <a:pt x="1106" y="4676"/>
                  </a:cubicBezTo>
                  <a:lnTo>
                    <a:pt x="1" y="18986"/>
                  </a:lnTo>
                  <a:cubicBezTo>
                    <a:pt x="-44" y="20398"/>
                    <a:pt x="724" y="21547"/>
                    <a:pt x="1712" y="21547"/>
                  </a:cubicBezTo>
                  <a:cubicBezTo>
                    <a:pt x="2698" y="21547"/>
                    <a:pt x="3542" y="20398"/>
                    <a:pt x="3582" y="18978"/>
                  </a:cubicBezTo>
                  <a:lnTo>
                    <a:pt x="4185" y="9251"/>
                  </a:lnTo>
                  <a:cubicBezTo>
                    <a:pt x="4319" y="7849"/>
                    <a:pt x="5235" y="6592"/>
                    <a:pt x="6220" y="6447"/>
                  </a:cubicBezTo>
                  <a:lnTo>
                    <a:pt x="19751" y="5128"/>
                  </a:lnTo>
                  <a:cubicBezTo>
                    <a:pt x="20743" y="5078"/>
                    <a:pt x="21556" y="3884"/>
                    <a:pt x="21556" y="2467"/>
                  </a:cubicBezTo>
                  <a:cubicBezTo>
                    <a:pt x="21556" y="1055"/>
                    <a:pt x="20743" y="-53"/>
                    <a:pt x="19751" y="2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20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+mn-ea"/>
                <a:sym typeface="+mn-lt"/>
              </a:endParaRPr>
            </a:p>
          </p:txBody>
        </p:sp>
      </p:grpSp>
      <p:grpSp>
        <p:nvGrpSpPr>
          <p:cNvPr id="54" name="Group 52">
            <a:extLst>
              <a:ext uri="{FF2B5EF4-FFF2-40B4-BE49-F238E27FC236}">
                <a16:creationId xmlns:a16="http://schemas.microsoft.com/office/drawing/2014/main" id="{2AD418A8-DA11-4220-A3E1-0F1B5455EFC8}"/>
              </a:ext>
            </a:extLst>
          </p:cNvPr>
          <p:cNvGrpSpPr/>
          <p:nvPr/>
        </p:nvGrpSpPr>
        <p:grpSpPr>
          <a:xfrm>
            <a:off x="6553757" y="4270941"/>
            <a:ext cx="319071" cy="465112"/>
            <a:chOff x="5441157" y="4440238"/>
            <a:chExt cx="319088" cy="465138"/>
          </a:xfrm>
          <a:solidFill>
            <a:srgbClr val="60A757"/>
          </a:solidFill>
        </p:grpSpPr>
        <p:sp>
          <p:nvSpPr>
            <p:cNvPr id="55" name="AutoShape 97">
              <a:extLst>
                <a:ext uri="{FF2B5EF4-FFF2-40B4-BE49-F238E27FC236}">
                  <a16:creationId xmlns:a16="http://schemas.microsoft.com/office/drawing/2014/main" id="{2C84CF52-DABA-447C-94F3-F87B83B203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1157" y="4440238"/>
              <a:ext cx="319088" cy="465138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9636" y="3374"/>
                  </a:moveTo>
                  <a:lnTo>
                    <a:pt x="1963" y="3375"/>
                  </a:lnTo>
                  <a:lnTo>
                    <a:pt x="1963" y="2025"/>
                  </a:lnTo>
                  <a:cubicBezTo>
                    <a:pt x="1963" y="1653"/>
                    <a:pt x="2402" y="1350"/>
                    <a:pt x="2945" y="1350"/>
                  </a:cubicBezTo>
                  <a:lnTo>
                    <a:pt x="18654" y="1349"/>
                  </a:lnTo>
                  <a:cubicBezTo>
                    <a:pt x="19195" y="1349"/>
                    <a:pt x="19636" y="1652"/>
                    <a:pt x="19636" y="2024"/>
                  </a:cubicBezTo>
                  <a:cubicBezTo>
                    <a:pt x="19636" y="2024"/>
                    <a:pt x="19636" y="3374"/>
                    <a:pt x="19636" y="3374"/>
                  </a:cubicBezTo>
                  <a:close/>
                  <a:moveTo>
                    <a:pt x="19636" y="17546"/>
                  </a:moveTo>
                  <a:lnTo>
                    <a:pt x="1963" y="17547"/>
                  </a:lnTo>
                  <a:lnTo>
                    <a:pt x="1963" y="4050"/>
                  </a:lnTo>
                  <a:lnTo>
                    <a:pt x="19636" y="4049"/>
                  </a:lnTo>
                  <a:cubicBezTo>
                    <a:pt x="19636" y="4049"/>
                    <a:pt x="19636" y="17546"/>
                    <a:pt x="19636" y="17546"/>
                  </a:cubicBezTo>
                  <a:close/>
                  <a:moveTo>
                    <a:pt x="19636" y="19574"/>
                  </a:moveTo>
                  <a:cubicBezTo>
                    <a:pt x="19636" y="19946"/>
                    <a:pt x="19195" y="20249"/>
                    <a:pt x="18654" y="20249"/>
                  </a:cubicBezTo>
                  <a:lnTo>
                    <a:pt x="2945" y="20250"/>
                  </a:lnTo>
                  <a:cubicBezTo>
                    <a:pt x="2402" y="20250"/>
                    <a:pt x="1963" y="19947"/>
                    <a:pt x="1963" y="19575"/>
                  </a:cubicBezTo>
                  <a:lnTo>
                    <a:pt x="1963" y="18222"/>
                  </a:lnTo>
                  <a:lnTo>
                    <a:pt x="19636" y="18221"/>
                  </a:lnTo>
                  <a:cubicBezTo>
                    <a:pt x="19636" y="18221"/>
                    <a:pt x="19636" y="19574"/>
                    <a:pt x="19636" y="19574"/>
                  </a:cubicBezTo>
                  <a:close/>
                  <a:moveTo>
                    <a:pt x="18654" y="0"/>
                  </a:moveTo>
                  <a:lnTo>
                    <a:pt x="2945" y="0"/>
                  </a:lnTo>
                  <a:cubicBezTo>
                    <a:pt x="1317" y="0"/>
                    <a:pt x="0" y="907"/>
                    <a:pt x="0" y="2025"/>
                  </a:cubicBezTo>
                  <a:lnTo>
                    <a:pt x="0" y="19575"/>
                  </a:lnTo>
                  <a:cubicBezTo>
                    <a:pt x="0" y="20693"/>
                    <a:pt x="1317" y="21600"/>
                    <a:pt x="2945" y="21600"/>
                  </a:cubicBezTo>
                  <a:lnTo>
                    <a:pt x="18654" y="21599"/>
                  </a:lnTo>
                  <a:cubicBezTo>
                    <a:pt x="20280" y="21599"/>
                    <a:pt x="21600" y="20693"/>
                    <a:pt x="21600" y="19574"/>
                  </a:cubicBezTo>
                  <a:lnTo>
                    <a:pt x="21600" y="2024"/>
                  </a:lnTo>
                  <a:cubicBezTo>
                    <a:pt x="21600" y="906"/>
                    <a:pt x="20280" y="0"/>
                    <a:pt x="18654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20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+mn-ea"/>
                <a:sym typeface="+mn-lt"/>
              </a:endParaRPr>
            </a:p>
          </p:txBody>
        </p:sp>
        <p:sp>
          <p:nvSpPr>
            <p:cNvPr id="56" name="AutoShape 98">
              <a:extLst>
                <a:ext uri="{FF2B5EF4-FFF2-40B4-BE49-F238E27FC236}">
                  <a16:creationId xmlns:a16="http://schemas.microsoft.com/office/drawing/2014/main" id="{C58007C4-C14A-47F9-A435-4BCC947939E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1332" y="4483894"/>
              <a:ext cx="58738" cy="14288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21600" y="10800"/>
                  </a:moveTo>
                  <a:cubicBezTo>
                    <a:pt x="21600" y="16758"/>
                    <a:pt x="20387" y="21599"/>
                    <a:pt x="18899" y="21599"/>
                  </a:cubicBezTo>
                  <a:lnTo>
                    <a:pt x="2699" y="21599"/>
                  </a:lnTo>
                  <a:cubicBezTo>
                    <a:pt x="1202" y="21599"/>
                    <a:pt x="0" y="16758"/>
                    <a:pt x="0" y="10800"/>
                  </a:cubicBezTo>
                  <a:cubicBezTo>
                    <a:pt x="0" y="4841"/>
                    <a:pt x="1202" y="0"/>
                    <a:pt x="2699" y="0"/>
                  </a:cubicBezTo>
                  <a:lnTo>
                    <a:pt x="18899" y="0"/>
                  </a:lnTo>
                  <a:cubicBezTo>
                    <a:pt x="20387" y="0"/>
                    <a:pt x="21600" y="4841"/>
                    <a:pt x="21600" y="1080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20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+mn-ea"/>
                <a:sym typeface="+mn-lt"/>
              </a:endParaRPr>
            </a:p>
          </p:txBody>
        </p:sp>
        <p:sp>
          <p:nvSpPr>
            <p:cNvPr id="57" name="AutoShape 99">
              <a:extLst>
                <a:ext uri="{FF2B5EF4-FFF2-40B4-BE49-F238E27FC236}">
                  <a16:creationId xmlns:a16="http://schemas.microsoft.com/office/drawing/2014/main" id="{925C71FE-A4C3-44A9-B2D9-077CF80FA09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6413" y="4847432"/>
              <a:ext cx="28575" cy="14288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21600" y="10800"/>
                  </a:moveTo>
                  <a:cubicBezTo>
                    <a:pt x="21600" y="16769"/>
                    <a:pt x="19174" y="21599"/>
                    <a:pt x="16199" y="21599"/>
                  </a:cubicBezTo>
                  <a:lnTo>
                    <a:pt x="5399" y="21599"/>
                  </a:lnTo>
                  <a:cubicBezTo>
                    <a:pt x="2404" y="21599"/>
                    <a:pt x="0" y="16769"/>
                    <a:pt x="0" y="10800"/>
                  </a:cubicBezTo>
                  <a:cubicBezTo>
                    <a:pt x="0" y="4830"/>
                    <a:pt x="2404" y="0"/>
                    <a:pt x="5399" y="0"/>
                  </a:cubicBezTo>
                  <a:lnTo>
                    <a:pt x="16199" y="0"/>
                  </a:lnTo>
                  <a:cubicBezTo>
                    <a:pt x="19174" y="0"/>
                    <a:pt x="21600" y="4830"/>
                    <a:pt x="21600" y="1080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19049" tIns="19049" rIns="19049" bIns="19049" anchor="ctr"/>
            <a:lstStyle/>
            <a:p>
              <a:pPr algn="ctr" defTabSz="228570" hangingPunct="0">
                <a:lnSpc>
                  <a:spcPct val="130000"/>
                </a:lnSpc>
              </a:pPr>
              <a:endParaRPr lang="en-US" sz="120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+mn-ea"/>
                <a:sym typeface="+mn-lt"/>
              </a:endParaRPr>
            </a:p>
          </p:txBody>
        </p:sp>
      </p:grpSp>
      <p:sp>
        <p:nvSpPr>
          <p:cNvPr id="58" name="TextBox 23">
            <a:extLst>
              <a:ext uri="{FF2B5EF4-FFF2-40B4-BE49-F238E27FC236}">
                <a16:creationId xmlns:a16="http://schemas.microsoft.com/office/drawing/2014/main" id="{1FED87AA-4866-4EFD-941B-D778A3C4E1D9}"/>
              </a:ext>
            </a:extLst>
          </p:cNvPr>
          <p:cNvSpPr txBox="1"/>
          <p:nvPr/>
        </p:nvSpPr>
        <p:spPr>
          <a:xfrm>
            <a:off x="8950529" y="2319438"/>
            <a:ext cx="2281788" cy="572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000"/>
              </a:lnSpc>
            </a:pPr>
            <a:r>
              <a:rPr lang="zh-CN" altLang="en-US" sz="105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Enter a specific description here to note the beauty of the layout.</a:t>
            </a:r>
          </a:p>
        </p:txBody>
      </p:sp>
      <p:sp>
        <p:nvSpPr>
          <p:cNvPr id="59" name="TextBox 24">
            <a:extLst>
              <a:ext uri="{FF2B5EF4-FFF2-40B4-BE49-F238E27FC236}">
                <a16:creationId xmlns:a16="http://schemas.microsoft.com/office/drawing/2014/main" id="{BFFB579E-F059-42B9-A756-466842D6FD7F}"/>
              </a:ext>
            </a:extLst>
          </p:cNvPr>
          <p:cNvSpPr txBox="1"/>
          <p:nvPr/>
        </p:nvSpPr>
        <p:spPr>
          <a:xfrm>
            <a:off x="8950530" y="2071688"/>
            <a:ext cx="1154483" cy="3257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517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  <a:sym typeface="+mn-lt"/>
              </a:rPr>
              <a:t>Please enter the title.</a:t>
            </a:r>
          </a:p>
        </p:txBody>
      </p:sp>
      <p:sp>
        <p:nvSpPr>
          <p:cNvPr id="60" name="TextBox 23">
            <a:extLst>
              <a:ext uri="{FF2B5EF4-FFF2-40B4-BE49-F238E27FC236}">
                <a16:creationId xmlns:a16="http://schemas.microsoft.com/office/drawing/2014/main" id="{D2A239F7-9664-4FE1-AFDB-1AFC9F78721A}"/>
              </a:ext>
            </a:extLst>
          </p:cNvPr>
          <p:cNvSpPr txBox="1"/>
          <p:nvPr/>
        </p:nvSpPr>
        <p:spPr>
          <a:xfrm>
            <a:off x="7479279" y="5022721"/>
            <a:ext cx="2281788" cy="572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000"/>
              </a:lnSpc>
            </a:pPr>
            <a:r>
              <a:rPr lang="zh-CN" altLang="en-US" sz="105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Enter a specific description here to note the beauty of the layout.</a:t>
            </a:r>
          </a:p>
        </p:txBody>
      </p:sp>
      <p:sp>
        <p:nvSpPr>
          <p:cNvPr id="61" name="TextBox 24">
            <a:extLst>
              <a:ext uri="{FF2B5EF4-FFF2-40B4-BE49-F238E27FC236}">
                <a16:creationId xmlns:a16="http://schemas.microsoft.com/office/drawing/2014/main" id="{04C56EC4-DC57-452D-8BC2-36775C545CAF}"/>
              </a:ext>
            </a:extLst>
          </p:cNvPr>
          <p:cNvSpPr txBox="1"/>
          <p:nvPr/>
        </p:nvSpPr>
        <p:spPr>
          <a:xfrm>
            <a:off x="7479281" y="4774971"/>
            <a:ext cx="1154483" cy="3257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517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  <a:sym typeface="+mn-lt"/>
              </a:rPr>
              <a:t>Please enter the title.</a:t>
            </a:r>
          </a:p>
        </p:txBody>
      </p:sp>
      <p:sp>
        <p:nvSpPr>
          <p:cNvPr id="62" name="TextBox 23">
            <a:extLst>
              <a:ext uri="{FF2B5EF4-FFF2-40B4-BE49-F238E27FC236}">
                <a16:creationId xmlns:a16="http://schemas.microsoft.com/office/drawing/2014/main" id="{D4BCCF1C-D0C1-4836-B2E2-E5FBD0965476}"/>
              </a:ext>
            </a:extLst>
          </p:cNvPr>
          <p:cNvSpPr txBox="1"/>
          <p:nvPr/>
        </p:nvSpPr>
        <p:spPr>
          <a:xfrm>
            <a:off x="5701519" y="2319438"/>
            <a:ext cx="2281788" cy="572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000"/>
              </a:lnSpc>
            </a:pPr>
            <a:r>
              <a:rPr lang="zh-CN" altLang="en-US" sz="105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Enter a specific description here to note the beauty of the layout.</a:t>
            </a:r>
          </a:p>
        </p:txBody>
      </p:sp>
      <p:sp>
        <p:nvSpPr>
          <p:cNvPr id="63" name="TextBox 24">
            <a:extLst>
              <a:ext uri="{FF2B5EF4-FFF2-40B4-BE49-F238E27FC236}">
                <a16:creationId xmlns:a16="http://schemas.microsoft.com/office/drawing/2014/main" id="{F1F7B24A-F3FB-4684-B363-99CB1F65BB48}"/>
              </a:ext>
            </a:extLst>
          </p:cNvPr>
          <p:cNvSpPr txBox="1"/>
          <p:nvPr/>
        </p:nvSpPr>
        <p:spPr>
          <a:xfrm>
            <a:off x="5701521" y="2071688"/>
            <a:ext cx="1154483" cy="3257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517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  <a:sym typeface="+mn-lt"/>
              </a:rPr>
              <a:t>Please enter the title.</a:t>
            </a:r>
          </a:p>
        </p:txBody>
      </p:sp>
      <p:sp>
        <p:nvSpPr>
          <p:cNvPr id="64" name="TextBox 23">
            <a:extLst>
              <a:ext uri="{FF2B5EF4-FFF2-40B4-BE49-F238E27FC236}">
                <a16:creationId xmlns:a16="http://schemas.microsoft.com/office/drawing/2014/main" id="{462D2877-A3D8-4B96-B68E-03FAEBF0735C}"/>
              </a:ext>
            </a:extLst>
          </p:cNvPr>
          <p:cNvSpPr txBox="1"/>
          <p:nvPr/>
        </p:nvSpPr>
        <p:spPr>
          <a:xfrm>
            <a:off x="4414174" y="5022721"/>
            <a:ext cx="2281788" cy="572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000"/>
              </a:lnSpc>
            </a:pPr>
            <a:r>
              <a:rPr lang="zh-CN" altLang="en-US" sz="105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Enter a specific description here to note the beauty of the layout.</a:t>
            </a:r>
          </a:p>
        </p:txBody>
      </p:sp>
      <p:sp>
        <p:nvSpPr>
          <p:cNvPr id="65" name="TextBox 24">
            <a:extLst>
              <a:ext uri="{FF2B5EF4-FFF2-40B4-BE49-F238E27FC236}">
                <a16:creationId xmlns:a16="http://schemas.microsoft.com/office/drawing/2014/main" id="{08388772-818B-402B-B53B-1E2FE8E5F6C7}"/>
              </a:ext>
            </a:extLst>
          </p:cNvPr>
          <p:cNvSpPr txBox="1"/>
          <p:nvPr/>
        </p:nvSpPr>
        <p:spPr>
          <a:xfrm>
            <a:off x="4414175" y="4774971"/>
            <a:ext cx="1154483" cy="3257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517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  <a:sym typeface="+mn-lt"/>
              </a:rPr>
              <a:t>Please enter the title.</a:t>
            </a:r>
          </a:p>
        </p:txBody>
      </p:sp>
      <p:sp>
        <p:nvSpPr>
          <p:cNvPr id="66" name="TextBox 23">
            <a:extLst>
              <a:ext uri="{FF2B5EF4-FFF2-40B4-BE49-F238E27FC236}">
                <a16:creationId xmlns:a16="http://schemas.microsoft.com/office/drawing/2014/main" id="{84F7581A-EB01-4AB0-A0EF-1EB81CA62EDB}"/>
              </a:ext>
            </a:extLst>
          </p:cNvPr>
          <p:cNvSpPr txBox="1"/>
          <p:nvPr/>
        </p:nvSpPr>
        <p:spPr>
          <a:xfrm>
            <a:off x="2706473" y="2319438"/>
            <a:ext cx="2281788" cy="572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000"/>
              </a:lnSpc>
            </a:pPr>
            <a:r>
              <a:rPr lang="zh-CN" altLang="en-US" sz="105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Enter a specific description here to note the beauty of the layout.</a:t>
            </a:r>
          </a:p>
        </p:txBody>
      </p:sp>
      <p:sp>
        <p:nvSpPr>
          <p:cNvPr id="67" name="TextBox 24">
            <a:extLst>
              <a:ext uri="{FF2B5EF4-FFF2-40B4-BE49-F238E27FC236}">
                <a16:creationId xmlns:a16="http://schemas.microsoft.com/office/drawing/2014/main" id="{B10371BB-89A4-4581-A93F-143BFBF71D2E}"/>
              </a:ext>
            </a:extLst>
          </p:cNvPr>
          <p:cNvSpPr txBox="1"/>
          <p:nvPr/>
        </p:nvSpPr>
        <p:spPr>
          <a:xfrm>
            <a:off x="2706474" y="2071688"/>
            <a:ext cx="1154483" cy="3257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517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  <a:sym typeface="+mn-lt"/>
              </a:rPr>
              <a:t>Please enter the title.</a:t>
            </a:r>
          </a:p>
        </p:txBody>
      </p:sp>
      <p:sp>
        <p:nvSpPr>
          <p:cNvPr id="68" name="TextBox 23">
            <a:extLst>
              <a:ext uri="{FF2B5EF4-FFF2-40B4-BE49-F238E27FC236}">
                <a16:creationId xmlns:a16="http://schemas.microsoft.com/office/drawing/2014/main" id="{5AE5FA1F-7AA3-46DD-944F-58D918441341}"/>
              </a:ext>
            </a:extLst>
          </p:cNvPr>
          <p:cNvSpPr txBox="1"/>
          <p:nvPr/>
        </p:nvSpPr>
        <p:spPr>
          <a:xfrm>
            <a:off x="1279011" y="5022721"/>
            <a:ext cx="2281788" cy="572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000"/>
              </a:lnSpc>
            </a:pPr>
            <a:r>
              <a:rPr lang="zh-CN" altLang="en-US" sz="105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Enter a specific description here to note the beauty of the layout.</a:t>
            </a:r>
          </a:p>
        </p:txBody>
      </p:sp>
      <p:sp>
        <p:nvSpPr>
          <p:cNvPr id="69" name="TextBox 24">
            <a:extLst>
              <a:ext uri="{FF2B5EF4-FFF2-40B4-BE49-F238E27FC236}">
                <a16:creationId xmlns:a16="http://schemas.microsoft.com/office/drawing/2014/main" id="{2D8AE787-DE5B-40A1-A623-2D883D74DFDB}"/>
              </a:ext>
            </a:extLst>
          </p:cNvPr>
          <p:cNvSpPr txBox="1"/>
          <p:nvPr/>
        </p:nvSpPr>
        <p:spPr>
          <a:xfrm>
            <a:off x="1279013" y="4774971"/>
            <a:ext cx="1154483" cy="3257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517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  <a:sym typeface="+mn-lt"/>
              </a:rPr>
              <a:t>Please enter the title.</a:t>
            </a:r>
          </a:p>
        </p:txBody>
      </p:sp>
      <p:sp>
        <p:nvSpPr>
          <p:cNvPr id="70" name="文本框 69">
            <a:extLst>
              <a:ext uri="{FF2B5EF4-FFF2-40B4-BE49-F238E27FC236}">
                <a16:creationId xmlns:a16="http://schemas.microsoft.com/office/drawing/2014/main" id="{4FB74B8E-13A9-4673-8CD4-528FE01F87FD}"/>
              </a:ext>
            </a:extLst>
          </p:cNvPr>
          <p:cNvSpPr txBox="1"/>
          <p:nvPr/>
        </p:nvSpPr>
        <p:spPr>
          <a:xfrm>
            <a:off x="3258258" y="120128"/>
            <a:ext cx="5372946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66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pPr>
              <a:lnSpc>
                <a:spcPts val="4000"/>
              </a:lnSpc>
            </a:pPr>
            <a:r>
              <a:rPr lang="zh-CN" altLang="en-US" sz="4000" dirty="0">
                <a:latin typeface="+mn-lt"/>
                <a:ea typeface="+mn-ea"/>
                <a:cs typeface="+mn-ea"/>
                <a:sym typeface="+mn-lt"/>
              </a:rPr>
              <a:t>Teaching analysis</a:t>
            </a:r>
          </a:p>
        </p:txBody>
      </p:sp>
    </p:spTree>
    <p:extLst>
      <p:ext uri="{BB962C8B-B14F-4D97-AF65-F5344CB8AC3E}">
        <p14:creationId xmlns:p14="http://schemas.microsoft.com/office/powerpoint/2010/main" val="3739121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 advClick="0" advTm="0">
        <p14:shred/>
      </p:transition>
    </mc:Choice>
    <mc:Fallback xmlns:a14="http://schemas.microsoft.com/office/drawing/2010/main" xmlns:a16="http://schemas.microsoft.com/office/drawing/2014/main"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500"/>
                            </p:stCondLst>
                            <p:childTnLst>
                              <p:par>
                                <p:cTn id="33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000"/>
                            </p:stCondLst>
                            <p:childTnLst>
                              <p:par>
                                <p:cTn id="38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500"/>
                            </p:stCondLst>
                            <p:childTnLst>
                              <p:par>
                                <p:cTn id="44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47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500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4000"/>
                            </p:stCondLst>
                            <p:childTnLst>
                              <p:par>
                                <p:cTn id="53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4500"/>
                            </p:stCondLst>
                            <p:childTnLst>
                              <p:par>
                                <p:cTn id="58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5000"/>
                            </p:stCondLst>
                            <p:childTnLst>
                              <p:par>
                                <p:cTn id="64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6" dur="500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6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500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71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5500"/>
                            </p:stCondLst>
                            <p:childTnLst>
                              <p:par>
                                <p:cTn id="73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6000"/>
                            </p:stCondLst>
                            <p:childTnLst>
                              <p:par>
                                <p:cTn id="78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6500"/>
                            </p:stCondLst>
                            <p:childTnLst>
                              <p:par>
                                <p:cTn id="84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6" dur="500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0" dur="500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9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7000"/>
                            </p:stCondLst>
                            <p:childTnLst>
                              <p:par>
                                <p:cTn id="93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7500"/>
                            </p:stCondLst>
                            <p:childTnLst>
                              <p:par>
                                <p:cTn id="9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0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3" fill="hold">
                            <p:stCondLst>
                              <p:cond delay="8000"/>
                            </p:stCondLst>
                            <p:childTnLst>
                              <p:par>
                                <p:cTn id="104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6" dur="500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07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0" dur="500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11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8500"/>
                            </p:stCondLst>
                            <p:childTnLst>
                              <p:par>
                                <p:cTn id="113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7" fill="hold">
                            <p:stCondLst>
                              <p:cond delay="9000"/>
                            </p:stCondLst>
                            <p:childTnLst>
                              <p:par>
                                <p:cTn id="118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0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3" fill="hold">
                            <p:stCondLst>
                              <p:cond delay="9500"/>
                            </p:stCondLst>
                            <p:childTnLst>
                              <p:par>
                                <p:cTn id="124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6" dur="500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7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0" dur="500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31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2" fill="hold">
                            <p:stCondLst>
                              <p:cond delay="10000"/>
                            </p:stCondLst>
                            <p:childTnLst>
                              <p:par>
                                <p:cTn id="133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5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6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7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8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9" dur="500" tmFilter="0,0; .5, 1; 1, 1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41" grpId="0" animBg="1"/>
      <p:bldP spid="58" grpId="0"/>
      <p:bldP spid="59" grpId="0"/>
      <p:bldP spid="60" grpId="0"/>
      <p:bldP spid="61" grpId="0"/>
      <p:bldP spid="62" grpId="0"/>
      <p:bldP spid="63" grpId="0"/>
      <p:bldP spid="64" grpId="0"/>
      <p:bldP spid="65" grpId="0"/>
      <p:bldP spid="66" grpId="0"/>
      <p:bldP spid="67" grpId="0"/>
      <p:bldP spid="68" grpId="0"/>
      <p:bldP spid="69" grpId="0"/>
      <p:bldP spid="70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B3643088-BADE-4B2C-8D16-84C355AB00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-4294"/>
            <a:ext cx="12202211" cy="6858000"/>
          </a:xfrm>
          <a:prstGeom prst="rect">
            <a:avLst/>
          </a:prstGeom>
          <a:ln>
            <a:noFill/>
          </a:ln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87218F93-96F9-462F-BAFB-7E145859AED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 flipH="1">
            <a:off x="99171" y="-99171"/>
            <a:ext cx="1058956" cy="1257300"/>
          </a:xfrm>
          <a:prstGeom prst="rect">
            <a:avLst/>
          </a:prstGeom>
        </p:spPr>
      </p:pic>
      <p:sp>
        <p:nvSpPr>
          <p:cNvPr id="8" name="TextBox 18">
            <a:extLst>
              <a:ext uri="{FF2B5EF4-FFF2-40B4-BE49-F238E27FC236}">
                <a16:creationId xmlns:a16="http://schemas.microsoft.com/office/drawing/2014/main" id="{EC3E81A0-9853-4F50-A63A-07CECD490F96}"/>
              </a:ext>
            </a:extLst>
          </p:cNvPr>
          <p:cNvSpPr txBox="1"/>
          <p:nvPr/>
        </p:nvSpPr>
        <p:spPr>
          <a:xfrm>
            <a:off x="1367227" y="80984"/>
            <a:ext cx="21935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spc="4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ART TWO.</a:t>
            </a:r>
            <a:endParaRPr lang="zh-CN" altLang="en-US" sz="2400" b="1" spc="4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D29EB3EF-A4FF-41C6-9611-4FFA7115F15D}"/>
              </a:ext>
            </a:extLst>
          </p:cNvPr>
          <p:cNvSpPr/>
          <p:nvPr/>
        </p:nvSpPr>
        <p:spPr>
          <a:xfrm>
            <a:off x="6092640" y="2047849"/>
            <a:ext cx="6099360" cy="240993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>
              <a:cs typeface="+mn-ea"/>
              <a:sym typeface="+mn-lt"/>
            </a:endParaRPr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46C32EA2-EC51-4A9F-BADB-09C188F63211}"/>
              </a:ext>
            </a:extLst>
          </p:cNvPr>
          <p:cNvSpPr>
            <a:spLocks/>
          </p:cNvSpPr>
          <p:nvPr/>
        </p:nvSpPr>
        <p:spPr>
          <a:xfrm>
            <a:off x="6096000" y="4457781"/>
            <a:ext cx="3035120" cy="2409932"/>
          </a:xfrm>
          <a:prstGeom prst="rect">
            <a:avLst/>
          </a:prstGeo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33" dirty="0">
              <a:cs typeface="+mn-ea"/>
              <a:sym typeface="+mn-lt"/>
            </a:endParaRPr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D25D3565-E1A8-40AC-AC15-FFFF841C6D43}"/>
              </a:ext>
            </a:extLst>
          </p:cNvPr>
          <p:cNvSpPr/>
          <p:nvPr/>
        </p:nvSpPr>
        <p:spPr>
          <a:xfrm>
            <a:off x="9127761" y="4457781"/>
            <a:ext cx="3059775" cy="24099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Enter the title.</a:t>
            </a:r>
            <a:endParaRPr lang="en-US" sz="32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2" name="Rectangle 7">
            <a:extLst>
              <a:ext uri="{FF2B5EF4-FFF2-40B4-BE49-F238E27FC236}">
                <a16:creationId xmlns:a16="http://schemas.microsoft.com/office/drawing/2014/main" id="{F6CE384B-BD9A-43C7-9378-A8A3C2612AAF}"/>
              </a:ext>
            </a:extLst>
          </p:cNvPr>
          <p:cNvSpPr/>
          <p:nvPr/>
        </p:nvSpPr>
        <p:spPr>
          <a:xfrm>
            <a:off x="0" y="2047849"/>
            <a:ext cx="3035120" cy="24099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Enter the title.</a:t>
            </a:r>
            <a:endParaRPr lang="en-US" sz="32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3" name="Rectangle 8">
            <a:extLst>
              <a:ext uri="{FF2B5EF4-FFF2-40B4-BE49-F238E27FC236}">
                <a16:creationId xmlns:a16="http://schemas.microsoft.com/office/drawing/2014/main" id="{EE616CC5-EFB8-4305-83DE-215CB5FBBD62}"/>
              </a:ext>
            </a:extLst>
          </p:cNvPr>
          <p:cNvSpPr/>
          <p:nvPr/>
        </p:nvSpPr>
        <p:spPr>
          <a:xfrm>
            <a:off x="3035120" y="2047849"/>
            <a:ext cx="3055280" cy="2409932"/>
          </a:xfrm>
          <a:prstGeom prst="rect">
            <a:avLst/>
          </a:prstGeom>
          <a:blipFill dpi="0"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33" dirty="0">
              <a:cs typeface="+mn-ea"/>
              <a:sym typeface="+mn-lt"/>
            </a:endParaRPr>
          </a:p>
        </p:txBody>
      </p:sp>
      <p:sp>
        <p:nvSpPr>
          <p:cNvPr id="14" name="Rectangle 9">
            <a:extLst>
              <a:ext uri="{FF2B5EF4-FFF2-40B4-BE49-F238E27FC236}">
                <a16:creationId xmlns:a16="http://schemas.microsoft.com/office/drawing/2014/main" id="{AB848A2D-7C86-4E38-8294-EADAD62D0C8A}"/>
              </a:ext>
            </a:extLst>
          </p:cNvPr>
          <p:cNvSpPr/>
          <p:nvPr/>
        </p:nvSpPr>
        <p:spPr>
          <a:xfrm>
            <a:off x="0" y="4457781"/>
            <a:ext cx="3035120" cy="2409932"/>
          </a:xfrm>
          <a:prstGeom prst="rect">
            <a:avLst/>
          </a:prstGeom>
          <a:blipFill dpi="0"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33" dirty="0">
              <a:cs typeface="+mn-ea"/>
              <a:sym typeface="+mn-lt"/>
            </a:endParaRPr>
          </a:p>
        </p:txBody>
      </p:sp>
      <p:sp>
        <p:nvSpPr>
          <p:cNvPr id="15" name="Rectangle 10">
            <a:extLst>
              <a:ext uri="{FF2B5EF4-FFF2-40B4-BE49-F238E27FC236}">
                <a16:creationId xmlns:a16="http://schemas.microsoft.com/office/drawing/2014/main" id="{8E1DBA1D-65C9-43A9-863B-47DCA9CDA315}"/>
              </a:ext>
            </a:extLst>
          </p:cNvPr>
          <p:cNvSpPr/>
          <p:nvPr/>
        </p:nvSpPr>
        <p:spPr>
          <a:xfrm>
            <a:off x="3035120" y="4457781"/>
            <a:ext cx="3055280" cy="24099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Enter the title.</a:t>
            </a:r>
            <a:endParaRPr lang="en-US" sz="32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6" name="TextBox 23">
            <a:extLst>
              <a:ext uri="{FF2B5EF4-FFF2-40B4-BE49-F238E27FC236}">
                <a16:creationId xmlns:a16="http://schemas.microsoft.com/office/drawing/2014/main" id="{C4A796A5-55E5-46EF-9CCF-5DB5DFF9C392}"/>
              </a:ext>
            </a:extLst>
          </p:cNvPr>
          <p:cNvSpPr txBox="1"/>
          <p:nvPr/>
        </p:nvSpPr>
        <p:spPr>
          <a:xfrm>
            <a:off x="6693677" y="2850414"/>
            <a:ext cx="4945875" cy="5774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000"/>
              </a:lnSpc>
            </a:pPr>
            <a:r>
              <a:rPr lang="zh-CN" altLang="en-US" sz="1200" dirty="0">
                <a:solidFill>
                  <a:schemeClr val="bg1"/>
                </a:solidFill>
                <a:cs typeface="+mn-ea"/>
                <a:sym typeface="+mn-lt"/>
              </a:rPr>
              <a:t>Please enter a specific description here, the text as simple as possible, the meaning can be, do not have to be too cumbersome, pay attention to the beauty of the layout.</a:t>
            </a:r>
          </a:p>
        </p:txBody>
      </p:sp>
      <p:sp>
        <p:nvSpPr>
          <p:cNvPr id="17" name="TextBox 24">
            <a:extLst>
              <a:ext uri="{FF2B5EF4-FFF2-40B4-BE49-F238E27FC236}">
                <a16:creationId xmlns:a16="http://schemas.microsoft.com/office/drawing/2014/main" id="{B39D634F-C9A2-4FDB-9430-5342AAB96D0B}"/>
              </a:ext>
            </a:extLst>
          </p:cNvPr>
          <p:cNvSpPr txBox="1"/>
          <p:nvPr/>
        </p:nvSpPr>
        <p:spPr>
          <a:xfrm>
            <a:off x="6693677" y="2450302"/>
            <a:ext cx="146706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>
                <a:solidFill>
                  <a:schemeClr val="bg1"/>
                </a:solidFill>
                <a:cs typeface="+mn-ea"/>
                <a:sym typeface="+mn-lt"/>
              </a:rPr>
              <a:t>Please enter the title.</a:t>
            </a: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24114226-8938-4C52-AD1C-B701A761D69E}"/>
              </a:ext>
            </a:extLst>
          </p:cNvPr>
          <p:cNvSpPr txBox="1"/>
          <p:nvPr/>
        </p:nvSpPr>
        <p:spPr>
          <a:xfrm>
            <a:off x="3258258" y="120128"/>
            <a:ext cx="5372946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66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pPr>
              <a:lnSpc>
                <a:spcPts val="4000"/>
              </a:lnSpc>
            </a:pPr>
            <a:r>
              <a:rPr lang="zh-CN" altLang="en-US" sz="4000" dirty="0">
                <a:latin typeface="+mn-lt"/>
                <a:ea typeface="+mn-ea"/>
                <a:cs typeface="+mn-ea"/>
                <a:sym typeface="+mn-lt"/>
              </a:rPr>
              <a:t>Teaching analysis</a:t>
            </a:r>
          </a:p>
        </p:txBody>
      </p:sp>
    </p:spTree>
    <p:extLst>
      <p:ext uri="{BB962C8B-B14F-4D97-AF65-F5344CB8AC3E}">
        <p14:creationId xmlns:p14="http://schemas.microsoft.com/office/powerpoint/2010/main" val="1751171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 advClick="0" advTm="0">
        <p:checker/>
      </p:transition>
    </mc:Choice>
    <mc:Fallback xmlns:a14="http://schemas.microsoft.com/office/drawing/2010/main" xmlns:a16="http://schemas.microsoft.com/office/drawing/2014/main" xmlns="">
      <p:transition spd="slow" advClick="0" advTm="0">
        <p:checker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000"/>
                            </p:stCondLst>
                            <p:childTnLst>
                              <p:par>
                                <p:cTn id="21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4000"/>
                            </p:stCondLst>
                            <p:childTnLst>
                              <p:par>
                                <p:cTn id="25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0"/>
                            </p:stCondLst>
                            <p:childTnLst>
                              <p:par>
                                <p:cTn id="29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6000"/>
                            </p:stCondLst>
                            <p:childTnLst>
                              <p:par>
                                <p:cTn id="33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7000"/>
                            </p:stCondLst>
                            <p:childTnLst>
                              <p:par>
                                <p:cTn id="37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9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8000"/>
                            </p:stCondLst>
                            <p:childTnLst>
                              <p:par>
                                <p:cTn id="41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4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4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8500"/>
                            </p:stCondLst>
                            <p:childTnLst>
                              <p:par>
                                <p:cTn id="50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500" tmFilter="0,0; .5, 1; 1, 1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6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/>
      <p:bldP spid="17" grpId="0"/>
      <p:bldP spid="18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B3643088-BADE-4B2C-8D16-84C355AB00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-4294"/>
            <a:ext cx="12202211" cy="6858000"/>
          </a:xfrm>
          <a:prstGeom prst="rect">
            <a:avLst/>
          </a:prstGeom>
          <a:ln>
            <a:noFill/>
          </a:ln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87218F93-96F9-462F-BAFB-7E145859AED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 flipH="1">
            <a:off x="99171" y="-99171"/>
            <a:ext cx="1058956" cy="1257300"/>
          </a:xfrm>
          <a:prstGeom prst="rect">
            <a:avLst/>
          </a:prstGeom>
        </p:spPr>
      </p:pic>
      <p:sp>
        <p:nvSpPr>
          <p:cNvPr id="8" name="TextBox 18">
            <a:extLst>
              <a:ext uri="{FF2B5EF4-FFF2-40B4-BE49-F238E27FC236}">
                <a16:creationId xmlns:a16="http://schemas.microsoft.com/office/drawing/2014/main" id="{EC3E81A0-9853-4F50-A63A-07CECD490F96}"/>
              </a:ext>
            </a:extLst>
          </p:cNvPr>
          <p:cNvSpPr txBox="1"/>
          <p:nvPr/>
        </p:nvSpPr>
        <p:spPr>
          <a:xfrm>
            <a:off x="1367227" y="80984"/>
            <a:ext cx="21935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spc="4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ART TWO.</a:t>
            </a:r>
            <a:endParaRPr lang="zh-CN" altLang="en-US" sz="2400" b="1" spc="4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D1DEE2B-989E-4BF4-876A-8BA444A92CB4}"/>
              </a:ext>
            </a:extLst>
          </p:cNvPr>
          <p:cNvSpPr txBox="1">
            <a:spLocks/>
          </p:cNvSpPr>
          <p:nvPr/>
        </p:nvSpPr>
        <p:spPr>
          <a:xfrm>
            <a:off x="609600" y="4471828"/>
            <a:ext cx="5113429" cy="1753785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rgbClr val="996633"/>
                </a:solidFill>
                <a:latin typeface="+mn-lt"/>
                <a:ea typeface="+mn-ea"/>
                <a:cs typeface="Dancing Scrip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zh-CN" altLang="en-US" sz="18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lease enter the title.</a:t>
            </a:r>
            <a:endParaRPr lang="en-US" sz="18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  <a:p>
            <a:pPr marL="0" indent="0">
              <a:lnSpc>
                <a:spcPts val="2000"/>
              </a:lnSpc>
              <a:buNone/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lease enter a specific description here, the text as simple as possible, the meaning can be, do not have to be too cumbersome, pay attention to the beauty of the layout.</a:t>
            </a: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A0C53A17-9747-4D67-933A-F51D39E28ED2}"/>
              </a:ext>
            </a:extLst>
          </p:cNvPr>
          <p:cNvSpPr txBox="1">
            <a:spLocks/>
          </p:cNvSpPr>
          <p:nvPr/>
        </p:nvSpPr>
        <p:spPr>
          <a:xfrm>
            <a:off x="6106049" y="4471828"/>
            <a:ext cx="2573984" cy="1722151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rgbClr val="996633"/>
                </a:solidFill>
                <a:latin typeface="+mn-lt"/>
                <a:ea typeface="+mn-ea"/>
                <a:cs typeface="Dancing Scrip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zh-CN" altLang="en-US" sz="18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lease enter the title.</a:t>
            </a:r>
            <a:endParaRPr lang="en-US" altLang="zh-CN" sz="18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  <a:p>
            <a:pPr marL="0" indent="0">
              <a:lnSpc>
                <a:spcPts val="2000"/>
              </a:lnSpc>
              <a:buNone/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Enter a specific description here to note the beauty of the layout.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endParaRPr lang="en-US" sz="1333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5558BA09-0376-402D-AE75-D0F7ACE8FA66}"/>
              </a:ext>
            </a:extLst>
          </p:cNvPr>
          <p:cNvSpPr txBox="1">
            <a:spLocks/>
          </p:cNvSpPr>
          <p:nvPr/>
        </p:nvSpPr>
        <p:spPr>
          <a:xfrm>
            <a:off x="9149742" y="4471828"/>
            <a:ext cx="2747548" cy="1713191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rgbClr val="996633"/>
                </a:solidFill>
                <a:latin typeface="+mn-lt"/>
                <a:ea typeface="+mn-ea"/>
                <a:cs typeface="Dancing Scrip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r>
              <a:rPr lang="zh-CN" altLang="en-US" sz="18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lease enter the title.</a:t>
            </a:r>
            <a:endParaRPr lang="en-US" altLang="zh-CN" sz="18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  <a:p>
            <a:pPr marL="0" indent="0">
              <a:lnSpc>
                <a:spcPts val="2000"/>
              </a:lnSpc>
              <a:buNone/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Enter a specific description here to note the beauty of the layout.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endParaRPr lang="en-US" sz="1333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136F5C7-D1B1-4365-BA48-7E083EC48E25}"/>
              </a:ext>
            </a:extLst>
          </p:cNvPr>
          <p:cNvSpPr txBox="1">
            <a:spLocks/>
          </p:cNvSpPr>
          <p:nvPr/>
        </p:nvSpPr>
        <p:spPr>
          <a:xfrm>
            <a:off x="6096000" y="1980251"/>
            <a:ext cx="3048000" cy="2329912"/>
          </a:xfrm>
          <a:prstGeom prst="rect">
            <a:avLst/>
          </a:prstGeo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vert="horz" lIns="121920" tIns="60960" rIns="121920" bIns="60960" rtlCol="0">
            <a:normAutofit/>
          </a:bodyPr>
          <a:lstStyle/>
          <a:p>
            <a:pPr algn="ctr">
              <a:spcBef>
                <a:spcPct val="20000"/>
              </a:spcBef>
              <a:defRPr/>
            </a:pPr>
            <a:endParaRPr lang="en-US" sz="3200" dirty="0">
              <a:solidFill>
                <a:srgbClr val="996633"/>
              </a:solidFill>
              <a:cs typeface="+mn-ea"/>
              <a:sym typeface="+mn-lt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B4B002D-17C0-460E-8DB9-0B9ECAD7EBC0}"/>
              </a:ext>
            </a:extLst>
          </p:cNvPr>
          <p:cNvSpPr txBox="1">
            <a:spLocks/>
          </p:cNvSpPr>
          <p:nvPr/>
        </p:nvSpPr>
        <p:spPr>
          <a:xfrm>
            <a:off x="9144000" y="1980251"/>
            <a:ext cx="3048000" cy="2329912"/>
          </a:xfrm>
          <a:prstGeom prst="rect">
            <a:avLst/>
          </a:prstGeom>
          <a:blipFill dpi="0"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vert="horz" lIns="121920" tIns="60960" rIns="121920" bIns="60960" rtlCol="0">
            <a:normAutofit/>
          </a:bodyPr>
          <a:lstStyle/>
          <a:p>
            <a:pPr algn="ctr">
              <a:spcBef>
                <a:spcPct val="20000"/>
              </a:spcBef>
              <a:defRPr/>
            </a:pPr>
            <a:endParaRPr lang="en-US" sz="3200" dirty="0">
              <a:solidFill>
                <a:srgbClr val="996633"/>
              </a:solidFill>
              <a:cs typeface="+mn-ea"/>
              <a:sym typeface="+mn-lt"/>
            </a:endParaRPr>
          </a:p>
        </p:txBody>
      </p:sp>
      <p:pic>
        <p:nvPicPr>
          <p:cNvPr id="14" name="内容占位符 4">
            <a:extLst>
              <a:ext uri="{FF2B5EF4-FFF2-40B4-BE49-F238E27FC236}">
                <a16:creationId xmlns:a16="http://schemas.microsoft.com/office/drawing/2014/main" id="{CB2B3076-A803-4E7F-9892-7AC4EF9539F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980251"/>
            <a:ext cx="6106584" cy="2329912"/>
          </a:xfrm>
          <a:prstGeom prst="rect">
            <a:avLst/>
          </a:prstGeo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</p:pic>
      <p:sp>
        <p:nvSpPr>
          <p:cNvPr id="15" name="文本框 14">
            <a:extLst>
              <a:ext uri="{FF2B5EF4-FFF2-40B4-BE49-F238E27FC236}">
                <a16:creationId xmlns:a16="http://schemas.microsoft.com/office/drawing/2014/main" id="{46D1E00D-B5CC-449B-A929-73A74AF689A3}"/>
              </a:ext>
            </a:extLst>
          </p:cNvPr>
          <p:cNvSpPr txBox="1"/>
          <p:nvPr/>
        </p:nvSpPr>
        <p:spPr>
          <a:xfrm>
            <a:off x="3258258" y="120128"/>
            <a:ext cx="5372946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66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pPr>
              <a:lnSpc>
                <a:spcPts val="4000"/>
              </a:lnSpc>
            </a:pPr>
            <a:r>
              <a:rPr lang="zh-CN" altLang="en-US" sz="4000" dirty="0">
                <a:latin typeface="+mn-lt"/>
                <a:ea typeface="+mn-ea"/>
                <a:cs typeface="+mn-ea"/>
                <a:sym typeface="+mn-lt"/>
              </a:rPr>
              <a:t>Teaching analysis</a:t>
            </a:r>
          </a:p>
        </p:txBody>
      </p:sp>
    </p:spTree>
    <p:extLst>
      <p:ext uri="{BB962C8B-B14F-4D97-AF65-F5344CB8AC3E}">
        <p14:creationId xmlns:p14="http://schemas.microsoft.com/office/powerpoint/2010/main" val="1373803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Click="0" advTm="0">
        <p14:switch dir="r"/>
      </p:transition>
    </mc:Choice>
    <mc:Fallback xmlns:a14="http://schemas.microsoft.com/office/drawing/2010/main" xmlns:a16="http://schemas.microsoft.com/office/drawing/2014/main"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500"/>
                            </p:stCondLst>
                            <p:childTnLst>
                              <p:par>
                                <p:cTn id="2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500"/>
                            </p:stCondLst>
                            <p:childTnLst>
                              <p:par>
                                <p:cTn id="2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500"/>
                            </p:stCondLst>
                            <p:childTnLst>
                              <p:par>
                                <p:cTn id="2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500"/>
                            </p:stCondLst>
                            <p:childTnLst>
                              <p:par>
                                <p:cTn id="3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6500"/>
                            </p:stCondLst>
                            <p:childTnLst>
                              <p:par>
                                <p:cTn id="37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 tmFilter="0,0; .5, 1; 1, 1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6" grpId="0"/>
      <p:bldP spid="10" grpId="0"/>
      <p:bldP spid="11" grpId="0"/>
      <p:bldP spid="12" grpId="0" animBg="1"/>
      <p:bldP spid="13" grpId="0" animBg="1"/>
      <p:bldP spid="15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B3643088-BADE-4B2C-8D16-84C355AB00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18008"/>
            <a:ext cx="12202211" cy="6858000"/>
          </a:xfrm>
          <a:prstGeom prst="rect">
            <a:avLst/>
          </a:prstGeom>
          <a:ln>
            <a:noFill/>
          </a:ln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87218F93-96F9-462F-BAFB-7E145859AED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 flipH="1">
            <a:off x="99171" y="-99171"/>
            <a:ext cx="1058956" cy="1257300"/>
          </a:xfrm>
          <a:prstGeom prst="rect">
            <a:avLst/>
          </a:prstGeom>
        </p:spPr>
      </p:pic>
      <p:sp>
        <p:nvSpPr>
          <p:cNvPr id="8" name="TextBox 18">
            <a:extLst>
              <a:ext uri="{FF2B5EF4-FFF2-40B4-BE49-F238E27FC236}">
                <a16:creationId xmlns:a16="http://schemas.microsoft.com/office/drawing/2014/main" id="{EC3E81A0-9853-4F50-A63A-07CECD490F96}"/>
              </a:ext>
            </a:extLst>
          </p:cNvPr>
          <p:cNvSpPr txBox="1"/>
          <p:nvPr/>
        </p:nvSpPr>
        <p:spPr>
          <a:xfrm>
            <a:off x="1367227" y="80984"/>
            <a:ext cx="21935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spc="4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ART TWO.</a:t>
            </a:r>
            <a:endParaRPr lang="zh-CN" altLang="en-US" sz="2400" b="1" spc="4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5CD56097-AEBF-4E6C-BCC5-E0F15830669F}"/>
              </a:ext>
            </a:extLst>
          </p:cNvPr>
          <p:cNvGrpSpPr/>
          <p:nvPr/>
        </p:nvGrpSpPr>
        <p:grpSpPr>
          <a:xfrm>
            <a:off x="1596864" y="2197369"/>
            <a:ext cx="3706704" cy="3737376"/>
            <a:chOff x="1596864" y="2197369"/>
            <a:chExt cx="3706704" cy="3737376"/>
          </a:xfrm>
        </p:grpSpPr>
        <p:sp>
          <p:nvSpPr>
            <p:cNvPr id="6" name="Rounded Rectangle 1">
              <a:extLst>
                <a:ext uri="{FF2B5EF4-FFF2-40B4-BE49-F238E27FC236}">
                  <a16:creationId xmlns:a16="http://schemas.microsoft.com/office/drawing/2014/main" id="{205D107F-1059-437A-9CEB-85185F04E3E7}"/>
                </a:ext>
              </a:extLst>
            </p:cNvPr>
            <p:cNvSpPr/>
            <p:nvPr/>
          </p:nvSpPr>
          <p:spPr>
            <a:xfrm>
              <a:off x="1596864" y="2197369"/>
              <a:ext cx="1805156" cy="1805156"/>
            </a:xfrm>
            <a:prstGeom prst="roundRect">
              <a:avLst/>
            </a:prstGeom>
            <a:solidFill>
              <a:srgbClr val="6FCE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>
                <a:cs typeface="+mn-ea"/>
                <a:sym typeface="+mn-lt"/>
              </a:endParaRPr>
            </a:p>
          </p:txBody>
        </p:sp>
        <p:sp>
          <p:nvSpPr>
            <p:cNvPr id="10" name="Rounded Rectangle 219">
              <a:extLst>
                <a:ext uri="{FF2B5EF4-FFF2-40B4-BE49-F238E27FC236}">
                  <a16:creationId xmlns:a16="http://schemas.microsoft.com/office/drawing/2014/main" id="{3CE20CA4-2E6E-4CB2-9205-5AE7977C6D2F}"/>
                </a:ext>
              </a:extLst>
            </p:cNvPr>
            <p:cNvSpPr/>
            <p:nvPr/>
          </p:nvSpPr>
          <p:spPr>
            <a:xfrm>
              <a:off x="3498412" y="2197369"/>
              <a:ext cx="1805156" cy="1805156"/>
            </a:xfrm>
            <a:prstGeom prst="roundRect">
              <a:avLst/>
            </a:prstGeom>
            <a:solidFill>
              <a:srgbClr val="60A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>
                <a:cs typeface="+mn-ea"/>
                <a:sym typeface="+mn-lt"/>
              </a:endParaRPr>
            </a:p>
          </p:txBody>
        </p:sp>
        <p:sp>
          <p:nvSpPr>
            <p:cNvPr id="11" name="Rounded Rectangle 220">
              <a:extLst>
                <a:ext uri="{FF2B5EF4-FFF2-40B4-BE49-F238E27FC236}">
                  <a16:creationId xmlns:a16="http://schemas.microsoft.com/office/drawing/2014/main" id="{826D225C-7747-4C41-AFB0-B08AACCE008D}"/>
                </a:ext>
              </a:extLst>
            </p:cNvPr>
            <p:cNvSpPr/>
            <p:nvPr/>
          </p:nvSpPr>
          <p:spPr>
            <a:xfrm>
              <a:off x="1596864" y="4129589"/>
              <a:ext cx="1805156" cy="1805156"/>
            </a:xfrm>
            <a:prstGeom prst="roundRect">
              <a:avLst/>
            </a:prstGeom>
            <a:solidFill>
              <a:srgbClr val="F57B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>
                <a:cs typeface="+mn-ea"/>
                <a:sym typeface="+mn-lt"/>
              </a:endParaRPr>
            </a:p>
          </p:txBody>
        </p:sp>
        <p:sp>
          <p:nvSpPr>
            <p:cNvPr id="12" name="Rounded Rectangle 221">
              <a:extLst>
                <a:ext uri="{FF2B5EF4-FFF2-40B4-BE49-F238E27FC236}">
                  <a16:creationId xmlns:a16="http://schemas.microsoft.com/office/drawing/2014/main" id="{BC644EFF-14B2-4BBC-B505-0C08D45BD5E2}"/>
                </a:ext>
              </a:extLst>
            </p:cNvPr>
            <p:cNvSpPr/>
            <p:nvPr/>
          </p:nvSpPr>
          <p:spPr>
            <a:xfrm>
              <a:off x="3498412" y="4129589"/>
              <a:ext cx="1805156" cy="1805156"/>
            </a:xfrm>
            <a:prstGeom prst="roundRect">
              <a:avLst/>
            </a:prstGeom>
            <a:solidFill>
              <a:srgbClr val="6FCE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>
                <a:cs typeface="+mn-ea"/>
                <a:sym typeface="+mn-lt"/>
              </a:endParaRPr>
            </a:p>
          </p:txBody>
        </p:sp>
        <p:grpSp>
          <p:nvGrpSpPr>
            <p:cNvPr id="14" name="Group 9">
              <a:extLst>
                <a:ext uri="{FF2B5EF4-FFF2-40B4-BE49-F238E27FC236}">
                  <a16:creationId xmlns:a16="http://schemas.microsoft.com/office/drawing/2014/main" id="{9CB13650-5354-4D70-80B0-C1FD3E3F04E3}"/>
                </a:ext>
              </a:extLst>
            </p:cNvPr>
            <p:cNvGrpSpPr/>
            <p:nvPr/>
          </p:nvGrpSpPr>
          <p:grpSpPr>
            <a:xfrm>
              <a:off x="4201979" y="2646162"/>
              <a:ext cx="398023" cy="453785"/>
              <a:chOff x="910555" y="680759"/>
              <a:chExt cx="328613" cy="374650"/>
            </a:xfrm>
            <a:solidFill>
              <a:schemeClr val="bg1"/>
            </a:solidFill>
          </p:grpSpPr>
          <p:sp>
            <p:nvSpPr>
              <p:cNvPr id="15" name="Freeform 10">
                <a:extLst>
                  <a:ext uri="{FF2B5EF4-FFF2-40B4-BE49-F238E27FC236}">
                    <a16:creationId xmlns:a16="http://schemas.microsoft.com/office/drawing/2014/main" id="{07287F80-0A05-432F-A5ED-C327FA7E62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0555" y="680759"/>
                <a:ext cx="328613" cy="374650"/>
              </a:xfrm>
              <a:custGeom>
                <a:avLst/>
                <a:gdLst>
                  <a:gd name="T0" fmla="*/ 141 w 207"/>
                  <a:gd name="T1" fmla="*/ 0 h 236"/>
                  <a:gd name="T2" fmla="*/ 0 w 207"/>
                  <a:gd name="T3" fmla="*/ 0 h 236"/>
                  <a:gd name="T4" fmla="*/ 0 w 207"/>
                  <a:gd name="T5" fmla="*/ 236 h 236"/>
                  <a:gd name="T6" fmla="*/ 207 w 207"/>
                  <a:gd name="T7" fmla="*/ 236 h 236"/>
                  <a:gd name="T8" fmla="*/ 207 w 207"/>
                  <a:gd name="T9" fmla="*/ 66 h 236"/>
                  <a:gd name="T10" fmla="*/ 141 w 207"/>
                  <a:gd name="T11" fmla="*/ 0 h 236"/>
                  <a:gd name="T12" fmla="*/ 178 w 207"/>
                  <a:gd name="T13" fmla="*/ 207 h 236"/>
                  <a:gd name="T14" fmla="*/ 29 w 207"/>
                  <a:gd name="T15" fmla="*/ 207 h 236"/>
                  <a:gd name="T16" fmla="*/ 29 w 207"/>
                  <a:gd name="T17" fmla="*/ 29 h 236"/>
                  <a:gd name="T18" fmla="*/ 126 w 207"/>
                  <a:gd name="T19" fmla="*/ 29 h 236"/>
                  <a:gd name="T20" fmla="*/ 178 w 207"/>
                  <a:gd name="T21" fmla="*/ 81 h 236"/>
                  <a:gd name="T22" fmla="*/ 178 w 207"/>
                  <a:gd name="T23" fmla="*/ 207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7" h="236">
                    <a:moveTo>
                      <a:pt x="141" y="0"/>
                    </a:moveTo>
                    <a:lnTo>
                      <a:pt x="0" y="0"/>
                    </a:lnTo>
                    <a:lnTo>
                      <a:pt x="0" y="236"/>
                    </a:lnTo>
                    <a:lnTo>
                      <a:pt x="207" y="236"/>
                    </a:lnTo>
                    <a:lnTo>
                      <a:pt x="207" y="66"/>
                    </a:lnTo>
                    <a:lnTo>
                      <a:pt x="141" y="0"/>
                    </a:lnTo>
                    <a:close/>
                    <a:moveTo>
                      <a:pt x="178" y="207"/>
                    </a:moveTo>
                    <a:lnTo>
                      <a:pt x="29" y="207"/>
                    </a:lnTo>
                    <a:lnTo>
                      <a:pt x="29" y="29"/>
                    </a:lnTo>
                    <a:lnTo>
                      <a:pt x="126" y="29"/>
                    </a:lnTo>
                    <a:lnTo>
                      <a:pt x="178" y="81"/>
                    </a:lnTo>
                    <a:lnTo>
                      <a:pt x="178" y="20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id-ID" dirty="0">
                  <a:cs typeface="+mn-ea"/>
                  <a:sym typeface="+mn-lt"/>
                </a:endParaRPr>
              </a:p>
            </p:txBody>
          </p:sp>
          <p:sp>
            <p:nvSpPr>
              <p:cNvPr id="16" name="Freeform 11">
                <a:extLst>
                  <a:ext uri="{FF2B5EF4-FFF2-40B4-BE49-F238E27FC236}">
                    <a16:creationId xmlns:a16="http://schemas.microsoft.com/office/drawing/2014/main" id="{CA2EB73A-71A7-4A6F-9B87-9B8B2C249484}"/>
                  </a:ext>
                </a:extLst>
              </p:cNvPr>
              <p:cNvSpPr/>
              <p:nvPr/>
            </p:nvSpPr>
            <p:spPr bwMode="auto">
              <a:xfrm>
                <a:off x="980405" y="850622"/>
                <a:ext cx="188913" cy="123825"/>
              </a:xfrm>
              <a:custGeom>
                <a:avLst/>
                <a:gdLst>
                  <a:gd name="T0" fmla="*/ 45 w 119"/>
                  <a:gd name="T1" fmla="*/ 15 h 78"/>
                  <a:gd name="T2" fmla="*/ 0 w 119"/>
                  <a:gd name="T3" fmla="*/ 59 h 78"/>
                  <a:gd name="T4" fmla="*/ 0 w 119"/>
                  <a:gd name="T5" fmla="*/ 78 h 78"/>
                  <a:gd name="T6" fmla="*/ 45 w 119"/>
                  <a:gd name="T7" fmla="*/ 33 h 78"/>
                  <a:gd name="T8" fmla="*/ 74 w 119"/>
                  <a:gd name="T9" fmla="*/ 63 h 78"/>
                  <a:gd name="T10" fmla="*/ 119 w 119"/>
                  <a:gd name="T11" fmla="*/ 18 h 78"/>
                  <a:gd name="T12" fmla="*/ 119 w 119"/>
                  <a:gd name="T13" fmla="*/ 0 h 78"/>
                  <a:gd name="T14" fmla="*/ 74 w 119"/>
                  <a:gd name="T15" fmla="*/ 44 h 78"/>
                  <a:gd name="T16" fmla="*/ 45 w 119"/>
                  <a:gd name="T17" fmla="*/ 15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9" h="78">
                    <a:moveTo>
                      <a:pt x="45" y="15"/>
                    </a:moveTo>
                    <a:lnTo>
                      <a:pt x="0" y="59"/>
                    </a:lnTo>
                    <a:lnTo>
                      <a:pt x="0" y="78"/>
                    </a:lnTo>
                    <a:lnTo>
                      <a:pt x="45" y="33"/>
                    </a:lnTo>
                    <a:lnTo>
                      <a:pt x="74" y="63"/>
                    </a:lnTo>
                    <a:lnTo>
                      <a:pt x="119" y="18"/>
                    </a:lnTo>
                    <a:lnTo>
                      <a:pt x="119" y="0"/>
                    </a:lnTo>
                    <a:lnTo>
                      <a:pt x="74" y="44"/>
                    </a:lnTo>
                    <a:lnTo>
                      <a:pt x="45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id-ID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17" name="Group 8">
              <a:extLst>
                <a:ext uri="{FF2B5EF4-FFF2-40B4-BE49-F238E27FC236}">
                  <a16:creationId xmlns:a16="http://schemas.microsoft.com/office/drawing/2014/main" id="{EEA2927F-B5B7-462D-BAB4-F100EF8D820D}"/>
                </a:ext>
              </a:extLst>
            </p:cNvPr>
            <p:cNvGrpSpPr/>
            <p:nvPr/>
          </p:nvGrpSpPr>
          <p:grpSpPr>
            <a:xfrm>
              <a:off x="2299469" y="4572074"/>
              <a:ext cx="399946" cy="453785"/>
              <a:chOff x="1663030" y="680759"/>
              <a:chExt cx="330200" cy="374650"/>
            </a:xfrm>
            <a:solidFill>
              <a:schemeClr val="bg1"/>
            </a:solidFill>
          </p:grpSpPr>
          <p:sp>
            <p:nvSpPr>
              <p:cNvPr id="18" name="Freeform 12">
                <a:extLst>
                  <a:ext uri="{FF2B5EF4-FFF2-40B4-BE49-F238E27FC236}">
                    <a16:creationId xmlns:a16="http://schemas.microsoft.com/office/drawing/2014/main" id="{E7C68BF2-6F8F-4239-8DC1-DDF7737B29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63030" y="680759"/>
                <a:ext cx="330200" cy="374650"/>
              </a:xfrm>
              <a:custGeom>
                <a:avLst/>
                <a:gdLst>
                  <a:gd name="T0" fmla="*/ 141 w 208"/>
                  <a:gd name="T1" fmla="*/ 0 h 236"/>
                  <a:gd name="T2" fmla="*/ 0 w 208"/>
                  <a:gd name="T3" fmla="*/ 0 h 236"/>
                  <a:gd name="T4" fmla="*/ 0 w 208"/>
                  <a:gd name="T5" fmla="*/ 236 h 236"/>
                  <a:gd name="T6" fmla="*/ 208 w 208"/>
                  <a:gd name="T7" fmla="*/ 236 h 236"/>
                  <a:gd name="T8" fmla="*/ 208 w 208"/>
                  <a:gd name="T9" fmla="*/ 66 h 236"/>
                  <a:gd name="T10" fmla="*/ 141 w 208"/>
                  <a:gd name="T11" fmla="*/ 0 h 236"/>
                  <a:gd name="T12" fmla="*/ 178 w 208"/>
                  <a:gd name="T13" fmla="*/ 207 h 236"/>
                  <a:gd name="T14" fmla="*/ 30 w 208"/>
                  <a:gd name="T15" fmla="*/ 207 h 236"/>
                  <a:gd name="T16" fmla="*/ 30 w 208"/>
                  <a:gd name="T17" fmla="*/ 29 h 236"/>
                  <a:gd name="T18" fmla="*/ 126 w 208"/>
                  <a:gd name="T19" fmla="*/ 29 h 236"/>
                  <a:gd name="T20" fmla="*/ 178 w 208"/>
                  <a:gd name="T21" fmla="*/ 81 h 236"/>
                  <a:gd name="T22" fmla="*/ 178 w 208"/>
                  <a:gd name="T23" fmla="*/ 207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8" h="236">
                    <a:moveTo>
                      <a:pt x="141" y="0"/>
                    </a:moveTo>
                    <a:lnTo>
                      <a:pt x="0" y="0"/>
                    </a:lnTo>
                    <a:lnTo>
                      <a:pt x="0" y="236"/>
                    </a:lnTo>
                    <a:lnTo>
                      <a:pt x="208" y="236"/>
                    </a:lnTo>
                    <a:lnTo>
                      <a:pt x="208" y="66"/>
                    </a:lnTo>
                    <a:lnTo>
                      <a:pt x="141" y="0"/>
                    </a:lnTo>
                    <a:close/>
                    <a:moveTo>
                      <a:pt x="178" y="207"/>
                    </a:moveTo>
                    <a:lnTo>
                      <a:pt x="30" y="207"/>
                    </a:lnTo>
                    <a:lnTo>
                      <a:pt x="30" y="29"/>
                    </a:lnTo>
                    <a:lnTo>
                      <a:pt x="126" y="29"/>
                    </a:lnTo>
                    <a:lnTo>
                      <a:pt x="178" y="81"/>
                    </a:lnTo>
                    <a:lnTo>
                      <a:pt x="178" y="20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id-ID" dirty="0">
                  <a:cs typeface="+mn-ea"/>
                  <a:sym typeface="+mn-lt"/>
                </a:endParaRPr>
              </a:p>
            </p:txBody>
          </p:sp>
          <p:sp>
            <p:nvSpPr>
              <p:cNvPr id="19" name="Freeform 13">
                <a:extLst>
                  <a:ext uri="{FF2B5EF4-FFF2-40B4-BE49-F238E27FC236}">
                    <a16:creationId xmlns:a16="http://schemas.microsoft.com/office/drawing/2014/main" id="{92CFEA41-8A37-4591-BD5E-01A74D1DEE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34467" y="820459"/>
                <a:ext cx="187325" cy="165100"/>
              </a:xfrm>
              <a:custGeom>
                <a:avLst/>
                <a:gdLst>
                  <a:gd name="T0" fmla="*/ 0 w 118"/>
                  <a:gd name="T1" fmla="*/ 104 h 104"/>
                  <a:gd name="T2" fmla="*/ 118 w 118"/>
                  <a:gd name="T3" fmla="*/ 104 h 104"/>
                  <a:gd name="T4" fmla="*/ 118 w 118"/>
                  <a:gd name="T5" fmla="*/ 0 h 104"/>
                  <a:gd name="T6" fmla="*/ 0 w 118"/>
                  <a:gd name="T7" fmla="*/ 0 h 104"/>
                  <a:gd name="T8" fmla="*/ 0 w 118"/>
                  <a:gd name="T9" fmla="*/ 104 h 104"/>
                  <a:gd name="T10" fmla="*/ 59 w 118"/>
                  <a:gd name="T11" fmla="*/ 15 h 104"/>
                  <a:gd name="T12" fmla="*/ 103 w 118"/>
                  <a:gd name="T13" fmla="*/ 15 h 104"/>
                  <a:gd name="T14" fmla="*/ 103 w 118"/>
                  <a:gd name="T15" fmla="*/ 45 h 104"/>
                  <a:gd name="T16" fmla="*/ 59 w 118"/>
                  <a:gd name="T17" fmla="*/ 45 h 104"/>
                  <a:gd name="T18" fmla="*/ 59 w 118"/>
                  <a:gd name="T19" fmla="*/ 15 h 104"/>
                  <a:gd name="T20" fmla="*/ 59 w 118"/>
                  <a:gd name="T21" fmla="*/ 60 h 104"/>
                  <a:gd name="T22" fmla="*/ 103 w 118"/>
                  <a:gd name="T23" fmla="*/ 60 h 104"/>
                  <a:gd name="T24" fmla="*/ 103 w 118"/>
                  <a:gd name="T25" fmla="*/ 89 h 104"/>
                  <a:gd name="T26" fmla="*/ 59 w 118"/>
                  <a:gd name="T27" fmla="*/ 89 h 104"/>
                  <a:gd name="T28" fmla="*/ 59 w 118"/>
                  <a:gd name="T29" fmla="*/ 60 h 104"/>
                  <a:gd name="T30" fmla="*/ 14 w 118"/>
                  <a:gd name="T31" fmla="*/ 15 h 104"/>
                  <a:gd name="T32" fmla="*/ 44 w 118"/>
                  <a:gd name="T33" fmla="*/ 15 h 104"/>
                  <a:gd name="T34" fmla="*/ 44 w 118"/>
                  <a:gd name="T35" fmla="*/ 45 h 104"/>
                  <a:gd name="T36" fmla="*/ 14 w 118"/>
                  <a:gd name="T37" fmla="*/ 45 h 104"/>
                  <a:gd name="T38" fmla="*/ 14 w 118"/>
                  <a:gd name="T39" fmla="*/ 15 h 104"/>
                  <a:gd name="T40" fmla="*/ 14 w 118"/>
                  <a:gd name="T41" fmla="*/ 60 h 104"/>
                  <a:gd name="T42" fmla="*/ 44 w 118"/>
                  <a:gd name="T43" fmla="*/ 60 h 104"/>
                  <a:gd name="T44" fmla="*/ 44 w 118"/>
                  <a:gd name="T45" fmla="*/ 89 h 104"/>
                  <a:gd name="T46" fmla="*/ 14 w 118"/>
                  <a:gd name="T47" fmla="*/ 89 h 104"/>
                  <a:gd name="T48" fmla="*/ 14 w 118"/>
                  <a:gd name="T49" fmla="*/ 6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8" h="104">
                    <a:moveTo>
                      <a:pt x="0" y="104"/>
                    </a:moveTo>
                    <a:lnTo>
                      <a:pt x="118" y="104"/>
                    </a:lnTo>
                    <a:lnTo>
                      <a:pt x="118" y="0"/>
                    </a:lnTo>
                    <a:lnTo>
                      <a:pt x="0" y="0"/>
                    </a:lnTo>
                    <a:lnTo>
                      <a:pt x="0" y="104"/>
                    </a:lnTo>
                    <a:close/>
                    <a:moveTo>
                      <a:pt x="59" y="15"/>
                    </a:moveTo>
                    <a:lnTo>
                      <a:pt x="103" y="15"/>
                    </a:lnTo>
                    <a:lnTo>
                      <a:pt x="103" y="45"/>
                    </a:lnTo>
                    <a:lnTo>
                      <a:pt x="59" y="45"/>
                    </a:lnTo>
                    <a:lnTo>
                      <a:pt x="59" y="15"/>
                    </a:lnTo>
                    <a:close/>
                    <a:moveTo>
                      <a:pt x="59" y="60"/>
                    </a:moveTo>
                    <a:lnTo>
                      <a:pt x="103" y="60"/>
                    </a:lnTo>
                    <a:lnTo>
                      <a:pt x="103" y="89"/>
                    </a:lnTo>
                    <a:lnTo>
                      <a:pt x="59" y="89"/>
                    </a:lnTo>
                    <a:lnTo>
                      <a:pt x="59" y="60"/>
                    </a:lnTo>
                    <a:close/>
                    <a:moveTo>
                      <a:pt x="14" y="15"/>
                    </a:moveTo>
                    <a:lnTo>
                      <a:pt x="44" y="15"/>
                    </a:lnTo>
                    <a:lnTo>
                      <a:pt x="44" y="45"/>
                    </a:lnTo>
                    <a:lnTo>
                      <a:pt x="14" y="45"/>
                    </a:lnTo>
                    <a:lnTo>
                      <a:pt x="14" y="15"/>
                    </a:lnTo>
                    <a:close/>
                    <a:moveTo>
                      <a:pt x="14" y="60"/>
                    </a:moveTo>
                    <a:lnTo>
                      <a:pt x="44" y="60"/>
                    </a:lnTo>
                    <a:lnTo>
                      <a:pt x="44" y="89"/>
                    </a:lnTo>
                    <a:lnTo>
                      <a:pt x="14" y="89"/>
                    </a:lnTo>
                    <a:lnTo>
                      <a:pt x="14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id-ID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20" name="Group 6">
              <a:extLst>
                <a:ext uri="{FF2B5EF4-FFF2-40B4-BE49-F238E27FC236}">
                  <a16:creationId xmlns:a16="http://schemas.microsoft.com/office/drawing/2014/main" id="{5B8AEB8D-E0F4-4124-A1D5-011836303ECA}"/>
                </a:ext>
              </a:extLst>
            </p:cNvPr>
            <p:cNvGrpSpPr/>
            <p:nvPr/>
          </p:nvGrpSpPr>
          <p:grpSpPr>
            <a:xfrm>
              <a:off x="4201979" y="4572073"/>
              <a:ext cx="398023" cy="453785"/>
              <a:chOff x="2417092" y="680759"/>
              <a:chExt cx="328613" cy="374650"/>
            </a:xfrm>
            <a:solidFill>
              <a:schemeClr val="bg1"/>
            </a:solidFill>
          </p:grpSpPr>
          <p:sp>
            <p:nvSpPr>
              <p:cNvPr id="21" name="Freeform 14">
                <a:extLst>
                  <a:ext uri="{FF2B5EF4-FFF2-40B4-BE49-F238E27FC236}">
                    <a16:creationId xmlns:a16="http://schemas.microsoft.com/office/drawing/2014/main" id="{868CB7FC-9E02-4A35-BC59-35466CD87C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17092" y="680759"/>
                <a:ext cx="328613" cy="374650"/>
              </a:xfrm>
              <a:custGeom>
                <a:avLst/>
                <a:gdLst>
                  <a:gd name="T0" fmla="*/ 140 w 207"/>
                  <a:gd name="T1" fmla="*/ 0 h 236"/>
                  <a:gd name="T2" fmla="*/ 0 w 207"/>
                  <a:gd name="T3" fmla="*/ 0 h 236"/>
                  <a:gd name="T4" fmla="*/ 0 w 207"/>
                  <a:gd name="T5" fmla="*/ 236 h 236"/>
                  <a:gd name="T6" fmla="*/ 207 w 207"/>
                  <a:gd name="T7" fmla="*/ 236 h 236"/>
                  <a:gd name="T8" fmla="*/ 207 w 207"/>
                  <a:gd name="T9" fmla="*/ 66 h 236"/>
                  <a:gd name="T10" fmla="*/ 140 w 207"/>
                  <a:gd name="T11" fmla="*/ 0 h 236"/>
                  <a:gd name="T12" fmla="*/ 177 w 207"/>
                  <a:gd name="T13" fmla="*/ 207 h 236"/>
                  <a:gd name="T14" fmla="*/ 29 w 207"/>
                  <a:gd name="T15" fmla="*/ 207 h 236"/>
                  <a:gd name="T16" fmla="*/ 29 w 207"/>
                  <a:gd name="T17" fmla="*/ 29 h 236"/>
                  <a:gd name="T18" fmla="*/ 126 w 207"/>
                  <a:gd name="T19" fmla="*/ 29 h 236"/>
                  <a:gd name="T20" fmla="*/ 177 w 207"/>
                  <a:gd name="T21" fmla="*/ 81 h 236"/>
                  <a:gd name="T22" fmla="*/ 177 w 207"/>
                  <a:gd name="T23" fmla="*/ 207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7" h="236">
                    <a:moveTo>
                      <a:pt x="140" y="0"/>
                    </a:moveTo>
                    <a:lnTo>
                      <a:pt x="0" y="0"/>
                    </a:lnTo>
                    <a:lnTo>
                      <a:pt x="0" y="236"/>
                    </a:lnTo>
                    <a:lnTo>
                      <a:pt x="207" y="236"/>
                    </a:lnTo>
                    <a:lnTo>
                      <a:pt x="207" y="66"/>
                    </a:lnTo>
                    <a:lnTo>
                      <a:pt x="140" y="0"/>
                    </a:lnTo>
                    <a:close/>
                    <a:moveTo>
                      <a:pt x="177" y="207"/>
                    </a:moveTo>
                    <a:lnTo>
                      <a:pt x="29" y="207"/>
                    </a:lnTo>
                    <a:lnTo>
                      <a:pt x="29" y="29"/>
                    </a:lnTo>
                    <a:lnTo>
                      <a:pt x="126" y="29"/>
                    </a:lnTo>
                    <a:lnTo>
                      <a:pt x="177" y="81"/>
                    </a:lnTo>
                    <a:lnTo>
                      <a:pt x="177" y="20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id-ID" dirty="0">
                  <a:cs typeface="+mn-ea"/>
                  <a:sym typeface="+mn-lt"/>
                </a:endParaRPr>
              </a:p>
            </p:txBody>
          </p:sp>
          <p:sp>
            <p:nvSpPr>
              <p:cNvPr id="22" name="Oval 15">
                <a:extLst>
                  <a:ext uri="{FF2B5EF4-FFF2-40B4-BE49-F238E27FC236}">
                    <a16:creationId xmlns:a16="http://schemas.microsoft.com/office/drawing/2014/main" id="{6AC6BBBA-0081-44C9-9584-9B05D87BCA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86942" y="798234"/>
                <a:ext cx="71438" cy="698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id-ID" dirty="0">
                  <a:cs typeface="+mn-ea"/>
                  <a:sym typeface="+mn-lt"/>
                </a:endParaRPr>
              </a:p>
            </p:txBody>
          </p:sp>
          <p:sp>
            <p:nvSpPr>
              <p:cNvPr id="23" name="Freeform 16">
                <a:extLst>
                  <a:ext uri="{FF2B5EF4-FFF2-40B4-BE49-F238E27FC236}">
                    <a16:creationId xmlns:a16="http://schemas.microsoft.com/office/drawing/2014/main" id="{0CA8E70A-CFB5-4BA6-8315-9DC8197F241B}"/>
                  </a:ext>
                </a:extLst>
              </p:cNvPr>
              <p:cNvSpPr/>
              <p:nvPr/>
            </p:nvSpPr>
            <p:spPr bwMode="auto">
              <a:xfrm>
                <a:off x="2486942" y="820459"/>
                <a:ext cx="188913" cy="165100"/>
              </a:xfrm>
              <a:custGeom>
                <a:avLst/>
                <a:gdLst>
                  <a:gd name="T0" fmla="*/ 30 w 119"/>
                  <a:gd name="T1" fmla="*/ 60 h 104"/>
                  <a:gd name="T2" fmla="*/ 0 w 119"/>
                  <a:gd name="T3" fmla="*/ 104 h 104"/>
                  <a:gd name="T4" fmla="*/ 119 w 119"/>
                  <a:gd name="T5" fmla="*/ 104 h 104"/>
                  <a:gd name="T6" fmla="*/ 89 w 119"/>
                  <a:gd name="T7" fmla="*/ 0 h 104"/>
                  <a:gd name="T8" fmla="*/ 59 w 119"/>
                  <a:gd name="T9" fmla="*/ 89 h 104"/>
                  <a:gd name="T10" fmla="*/ 30 w 119"/>
                  <a:gd name="T11" fmla="*/ 6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9" h="104">
                    <a:moveTo>
                      <a:pt x="30" y="60"/>
                    </a:moveTo>
                    <a:lnTo>
                      <a:pt x="0" y="104"/>
                    </a:lnTo>
                    <a:lnTo>
                      <a:pt x="119" y="104"/>
                    </a:lnTo>
                    <a:lnTo>
                      <a:pt x="89" y="0"/>
                    </a:lnTo>
                    <a:lnTo>
                      <a:pt x="59" y="89"/>
                    </a:lnTo>
                    <a:lnTo>
                      <a:pt x="30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id-ID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24" name="Group 5">
              <a:extLst>
                <a:ext uri="{FF2B5EF4-FFF2-40B4-BE49-F238E27FC236}">
                  <a16:creationId xmlns:a16="http://schemas.microsoft.com/office/drawing/2014/main" id="{11A72C5C-FB49-4888-ADBF-1AF2AE57BA48}"/>
                </a:ext>
              </a:extLst>
            </p:cNvPr>
            <p:cNvGrpSpPr/>
            <p:nvPr/>
          </p:nvGrpSpPr>
          <p:grpSpPr>
            <a:xfrm>
              <a:off x="2299469" y="2646162"/>
              <a:ext cx="399946" cy="453785"/>
              <a:chOff x="3169567" y="680759"/>
              <a:chExt cx="330200" cy="374650"/>
            </a:xfrm>
            <a:solidFill>
              <a:schemeClr val="bg1"/>
            </a:solidFill>
          </p:grpSpPr>
          <p:sp>
            <p:nvSpPr>
              <p:cNvPr id="25" name="Freeform 17">
                <a:extLst>
                  <a:ext uri="{FF2B5EF4-FFF2-40B4-BE49-F238E27FC236}">
                    <a16:creationId xmlns:a16="http://schemas.microsoft.com/office/drawing/2014/main" id="{8D636191-236A-479F-BD2F-072476D0D5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69567" y="680759"/>
                <a:ext cx="330200" cy="374650"/>
              </a:xfrm>
              <a:custGeom>
                <a:avLst/>
                <a:gdLst>
                  <a:gd name="T0" fmla="*/ 141 w 208"/>
                  <a:gd name="T1" fmla="*/ 0 h 236"/>
                  <a:gd name="T2" fmla="*/ 0 w 208"/>
                  <a:gd name="T3" fmla="*/ 0 h 236"/>
                  <a:gd name="T4" fmla="*/ 0 w 208"/>
                  <a:gd name="T5" fmla="*/ 236 h 236"/>
                  <a:gd name="T6" fmla="*/ 208 w 208"/>
                  <a:gd name="T7" fmla="*/ 236 h 236"/>
                  <a:gd name="T8" fmla="*/ 208 w 208"/>
                  <a:gd name="T9" fmla="*/ 66 h 236"/>
                  <a:gd name="T10" fmla="*/ 141 w 208"/>
                  <a:gd name="T11" fmla="*/ 0 h 236"/>
                  <a:gd name="T12" fmla="*/ 178 w 208"/>
                  <a:gd name="T13" fmla="*/ 207 h 236"/>
                  <a:gd name="T14" fmla="*/ 30 w 208"/>
                  <a:gd name="T15" fmla="*/ 207 h 236"/>
                  <a:gd name="T16" fmla="*/ 30 w 208"/>
                  <a:gd name="T17" fmla="*/ 29 h 236"/>
                  <a:gd name="T18" fmla="*/ 126 w 208"/>
                  <a:gd name="T19" fmla="*/ 29 h 236"/>
                  <a:gd name="T20" fmla="*/ 178 w 208"/>
                  <a:gd name="T21" fmla="*/ 81 h 236"/>
                  <a:gd name="T22" fmla="*/ 178 w 208"/>
                  <a:gd name="T23" fmla="*/ 207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8" h="236">
                    <a:moveTo>
                      <a:pt x="141" y="0"/>
                    </a:moveTo>
                    <a:lnTo>
                      <a:pt x="0" y="0"/>
                    </a:lnTo>
                    <a:lnTo>
                      <a:pt x="0" y="236"/>
                    </a:lnTo>
                    <a:lnTo>
                      <a:pt x="208" y="236"/>
                    </a:lnTo>
                    <a:lnTo>
                      <a:pt x="208" y="66"/>
                    </a:lnTo>
                    <a:lnTo>
                      <a:pt x="141" y="0"/>
                    </a:lnTo>
                    <a:close/>
                    <a:moveTo>
                      <a:pt x="178" y="207"/>
                    </a:moveTo>
                    <a:lnTo>
                      <a:pt x="30" y="207"/>
                    </a:lnTo>
                    <a:lnTo>
                      <a:pt x="30" y="29"/>
                    </a:lnTo>
                    <a:lnTo>
                      <a:pt x="126" y="29"/>
                    </a:lnTo>
                    <a:lnTo>
                      <a:pt x="178" y="81"/>
                    </a:lnTo>
                    <a:lnTo>
                      <a:pt x="178" y="20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id-ID" dirty="0">
                  <a:cs typeface="+mn-ea"/>
                  <a:sym typeface="+mn-lt"/>
                </a:endParaRPr>
              </a:p>
            </p:txBody>
          </p:sp>
          <p:sp>
            <p:nvSpPr>
              <p:cNvPr id="26" name="Freeform 18">
                <a:extLst>
                  <a:ext uri="{FF2B5EF4-FFF2-40B4-BE49-F238E27FC236}">
                    <a16:creationId xmlns:a16="http://schemas.microsoft.com/office/drawing/2014/main" id="{12446F78-44EF-4853-B4A7-F93F881CE9FB}"/>
                  </a:ext>
                </a:extLst>
              </p:cNvPr>
              <p:cNvSpPr/>
              <p:nvPr/>
            </p:nvSpPr>
            <p:spPr bwMode="auto">
              <a:xfrm>
                <a:off x="3287042" y="820459"/>
                <a:ext cx="123825" cy="141288"/>
              </a:xfrm>
              <a:custGeom>
                <a:avLst/>
                <a:gdLst>
                  <a:gd name="T0" fmla="*/ 0 w 78"/>
                  <a:gd name="T1" fmla="*/ 89 h 89"/>
                  <a:gd name="T2" fmla="*/ 78 w 78"/>
                  <a:gd name="T3" fmla="*/ 45 h 89"/>
                  <a:gd name="T4" fmla="*/ 0 w 78"/>
                  <a:gd name="T5" fmla="*/ 0 h 89"/>
                  <a:gd name="T6" fmla="*/ 0 w 78"/>
                  <a:gd name="T7" fmla="*/ 89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8" h="89">
                    <a:moveTo>
                      <a:pt x="0" y="89"/>
                    </a:moveTo>
                    <a:lnTo>
                      <a:pt x="78" y="45"/>
                    </a:lnTo>
                    <a:lnTo>
                      <a:pt x="0" y="0"/>
                    </a:lnTo>
                    <a:lnTo>
                      <a:pt x="0" y="8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id-ID" dirty="0">
                  <a:cs typeface="+mn-ea"/>
                  <a:sym typeface="+mn-lt"/>
                </a:endParaRPr>
              </a:p>
            </p:txBody>
          </p:sp>
        </p:grpSp>
        <p:sp>
          <p:nvSpPr>
            <p:cNvPr id="27" name="TextBox 237">
              <a:extLst>
                <a:ext uri="{FF2B5EF4-FFF2-40B4-BE49-F238E27FC236}">
                  <a16:creationId xmlns:a16="http://schemas.microsoft.com/office/drawing/2014/main" id="{DF1F0EA8-8663-498E-B14E-D67B0BFDB345}"/>
                </a:ext>
              </a:extLst>
            </p:cNvPr>
            <p:cNvSpPr txBox="1"/>
            <p:nvPr/>
          </p:nvSpPr>
          <p:spPr>
            <a:xfrm>
              <a:off x="2099331" y="3258799"/>
              <a:ext cx="800219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defPPr>
                <a:defRPr lang="zh-CN"/>
              </a:defPPr>
              <a:lvl1pPr algn="ctr">
                <a:defRPr b="1">
                  <a:solidFill>
                    <a:srgbClr val="51B9D6"/>
                  </a:solidFill>
                  <a:latin typeface="+mn-ea"/>
                </a:defRPr>
              </a:lvl1pPr>
            </a:lstStyle>
            <a:p>
              <a:r>
                <a:rPr lang="zh-CN" altLang="en-US" sz="2400" dirty="0">
                  <a:solidFill>
                    <a:schemeClr val="bg1"/>
                  </a:solidFill>
                  <a:latin typeface="+mn-lt"/>
                  <a:cs typeface="+mn-ea"/>
                  <a:sym typeface="+mn-lt"/>
                </a:rPr>
                <a:t>Title.</a:t>
              </a:r>
              <a:endParaRPr lang="id-ID" sz="2400" dirty="0">
                <a:solidFill>
                  <a:schemeClr val="bg1"/>
                </a:solidFill>
                <a:latin typeface="+mn-lt"/>
                <a:cs typeface="+mn-ea"/>
                <a:sym typeface="+mn-lt"/>
              </a:endParaRPr>
            </a:p>
          </p:txBody>
        </p:sp>
        <p:sp>
          <p:nvSpPr>
            <p:cNvPr id="28" name="TextBox 238">
              <a:extLst>
                <a:ext uri="{FF2B5EF4-FFF2-40B4-BE49-F238E27FC236}">
                  <a16:creationId xmlns:a16="http://schemas.microsoft.com/office/drawing/2014/main" id="{AFE8B38B-EDA6-40EA-A1E4-4655D39E263B}"/>
                </a:ext>
              </a:extLst>
            </p:cNvPr>
            <p:cNvSpPr txBox="1"/>
            <p:nvPr/>
          </p:nvSpPr>
          <p:spPr>
            <a:xfrm>
              <a:off x="4000881" y="3258799"/>
              <a:ext cx="800219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defPPr>
                <a:defRPr lang="zh-CN"/>
              </a:defPPr>
              <a:lvl1pPr algn="ctr">
                <a:defRPr b="1">
                  <a:solidFill>
                    <a:srgbClr val="51B9D6"/>
                  </a:solidFill>
                  <a:latin typeface="+mn-ea"/>
                </a:defRPr>
              </a:lvl1pPr>
            </a:lstStyle>
            <a:p>
              <a:r>
                <a:rPr lang="zh-CN" altLang="en-US" sz="2400" dirty="0">
                  <a:solidFill>
                    <a:schemeClr val="bg1"/>
                  </a:solidFill>
                  <a:latin typeface="+mn-lt"/>
                  <a:cs typeface="+mn-ea"/>
                  <a:sym typeface="+mn-lt"/>
                </a:rPr>
                <a:t>Title.</a:t>
              </a:r>
              <a:endParaRPr lang="id-ID" altLang="zh-CN" sz="2400" dirty="0">
                <a:solidFill>
                  <a:schemeClr val="bg1"/>
                </a:solidFill>
                <a:latin typeface="+mn-lt"/>
                <a:cs typeface="+mn-ea"/>
                <a:sym typeface="+mn-lt"/>
              </a:endParaRPr>
            </a:p>
          </p:txBody>
        </p:sp>
        <p:sp>
          <p:nvSpPr>
            <p:cNvPr id="29" name="TextBox 239">
              <a:extLst>
                <a:ext uri="{FF2B5EF4-FFF2-40B4-BE49-F238E27FC236}">
                  <a16:creationId xmlns:a16="http://schemas.microsoft.com/office/drawing/2014/main" id="{000A16D0-3E3D-4710-AB7A-155887B40D3C}"/>
                </a:ext>
              </a:extLst>
            </p:cNvPr>
            <p:cNvSpPr txBox="1"/>
            <p:nvPr/>
          </p:nvSpPr>
          <p:spPr>
            <a:xfrm>
              <a:off x="2099333" y="5178290"/>
              <a:ext cx="800219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defPPr>
                <a:defRPr lang="zh-CN"/>
              </a:defPPr>
              <a:lvl1pPr algn="ctr">
                <a:defRPr b="1">
                  <a:solidFill>
                    <a:srgbClr val="51B9D6"/>
                  </a:solidFill>
                  <a:latin typeface="+mn-ea"/>
                </a:defRPr>
              </a:lvl1pPr>
            </a:lstStyle>
            <a:p>
              <a:r>
                <a:rPr lang="zh-CN" altLang="en-US" sz="2400" dirty="0">
                  <a:solidFill>
                    <a:schemeClr val="bg1"/>
                  </a:solidFill>
                  <a:latin typeface="+mn-lt"/>
                  <a:cs typeface="+mn-ea"/>
                  <a:sym typeface="+mn-lt"/>
                </a:rPr>
                <a:t>Title.</a:t>
              </a:r>
              <a:endParaRPr lang="id-ID" altLang="zh-CN" sz="2400" dirty="0">
                <a:solidFill>
                  <a:schemeClr val="bg1"/>
                </a:solidFill>
                <a:latin typeface="+mn-lt"/>
                <a:cs typeface="+mn-ea"/>
                <a:sym typeface="+mn-lt"/>
              </a:endParaRPr>
            </a:p>
          </p:txBody>
        </p:sp>
        <p:sp>
          <p:nvSpPr>
            <p:cNvPr id="30" name="TextBox 240">
              <a:extLst>
                <a:ext uri="{FF2B5EF4-FFF2-40B4-BE49-F238E27FC236}">
                  <a16:creationId xmlns:a16="http://schemas.microsoft.com/office/drawing/2014/main" id="{426A358F-729F-4C00-9710-2711FAA914D7}"/>
                </a:ext>
              </a:extLst>
            </p:cNvPr>
            <p:cNvSpPr txBox="1"/>
            <p:nvPr/>
          </p:nvSpPr>
          <p:spPr>
            <a:xfrm>
              <a:off x="4000881" y="5178290"/>
              <a:ext cx="998006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>
              <a:defPPr>
                <a:defRPr lang="zh-CN"/>
              </a:defPPr>
              <a:lvl1pPr algn="ctr">
                <a:defRPr b="1">
                  <a:solidFill>
                    <a:srgbClr val="51B9D6"/>
                  </a:solidFill>
                  <a:latin typeface="+mn-ea"/>
                </a:defRPr>
              </a:lvl1pPr>
            </a:lstStyle>
            <a:p>
              <a:r>
                <a:rPr lang="zh-CN" altLang="en-US" sz="2400" dirty="0">
                  <a:solidFill>
                    <a:schemeClr val="bg1"/>
                  </a:solidFill>
                  <a:latin typeface="+mn-lt"/>
                  <a:cs typeface="+mn-ea"/>
                  <a:sym typeface="+mn-lt"/>
                </a:rPr>
                <a:t>Title.</a:t>
              </a:r>
              <a:endParaRPr lang="id-ID" altLang="zh-CN" sz="2400" dirty="0">
                <a:solidFill>
                  <a:schemeClr val="bg1"/>
                </a:solidFill>
                <a:latin typeface="+mn-lt"/>
                <a:cs typeface="+mn-ea"/>
                <a:sym typeface="+mn-lt"/>
              </a:endParaRPr>
            </a:p>
          </p:txBody>
        </p:sp>
      </p:grpSp>
      <p:sp>
        <p:nvSpPr>
          <p:cNvPr id="37" name="TextBox 248">
            <a:extLst>
              <a:ext uri="{FF2B5EF4-FFF2-40B4-BE49-F238E27FC236}">
                <a16:creationId xmlns:a16="http://schemas.microsoft.com/office/drawing/2014/main" id="{F38DF598-EBB4-492D-96F0-6C19D8777283}"/>
              </a:ext>
            </a:extLst>
          </p:cNvPr>
          <p:cNvSpPr txBox="1"/>
          <p:nvPr/>
        </p:nvSpPr>
        <p:spPr>
          <a:xfrm>
            <a:off x="6530948" y="1687523"/>
            <a:ext cx="2648482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defPPr>
              <a:defRPr lang="zh-CN"/>
            </a:defPPr>
            <a:lvl1pPr algn="ctr">
              <a:defRPr b="1">
                <a:solidFill>
                  <a:srgbClr val="51B9D6"/>
                </a:solidFill>
                <a:latin typeface="+mn-ea"/>
              </a:defRPr>
            </a:lvl1pPr>
          </a:lstStyle>
          <a:p>
            <a:pPr algn="l"/>
            <a:r>
              <a:rPr lang="id-ID" sz="9600" dirty="0">
                <a:solidFill>
                  <a:srgbClr val="D00000"/>
                </a:solidFill>
                <a:latin typeface="+mn-lt"/>
                <a:cs typeface="+mn-ea"/>
                <a:sym typeface="+mn-lt"/>
              </a:rPr>
              <a:t>90%</a:t>
            </a:r>
          </a:p>
        </p:txBody>
      </p:sp>
      <p:cxnSp>
        <p:nvCxnSpPr>
          <p:cNvPr id="38" name="Straight Connector 249">
            <a:extLst>
              <a:ext uri="{FF2B5EF4-FFF2-40B4-BE49-F238E27FC236}">
                <a16:creationId xmlns:a16="http://schemas.microsoft.com/office/drawing/2014/main" id="{15A4732A-04C2-40EB-BB43-999F7D9C9909}"/>
              </a:ext>
            </a:extLst>
          </p:cNvPr>
          <p:cNvCxnSpPr/>
          <p:nvPr/>
        </p:nvCxnSpPr>
        <p:spPr>
          <a:xfrm>
            <a:off x="6063439" y="1864367"/>
            <a:ext cx="0" cy="4070378"/>
          </a:xfrm>
          <a:prstGeom prst="line">
            <a:avLst/>
          </a:prstGeom>
          <a:ln w="12700" cap="rnd">
            <a:solidFill>
              <a:schemeClr val="tx1">
                <a:lumMod val="75000"/>
                <a:lumOff val="25000"/>
              </a:schemeClr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文本框 38">
            <a:extLst>
              <a:ext uri="{FF2B5EF4-FFF2-40B4-BE49-F238E27FC236}">
                <a16:creationId xmlns:a16="http://schemas.microsoft.com/office/drawing/2014/main" id="{4AE4D7D1-246C-4068-AFFE-632DA1D981B5}"/>
              </a:ext>
            </a:extLst>
          </p:cNvPr>
          <p:cNvSpPr txBox="1"/>
          <p:nvPr/>
        </p:nvSpPr>
        <p:spPr>
          <a:xfrm>
            <a:off x="6530949" y="3801076"/>
            <a:ext cx="4653519" cy="320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000"/>
              </a:lnSpc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Enter a specific description here to note the beauty of the layout.</a:t>
            </a:r>
          </a:p>
        </p:txBody>
      </p:sp>
      <p:sp>
        <p:nvSpPr>
          <p:cNvPr id="40" name="Rectangle 36">
            <a:extLst>
              <a:ext uri="{FF2B5EF4-FFF2-40B4-BE49-F238E27FC236}">
                <a16:creationId xmlns:a16="http://schemas.microsoft.com/office/drawing/2014/main" id="{0E5949B3-B94A-47BA-8712-4B0439216B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0950" y="3401769"/>
            <a:ext cx="198002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eaLnBrk="1" hangingPunct="1"/>
            <a:r>
              <a:rPr lang="zh-CN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lease enter the title here.</a:t>
            </a: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BAD30289-E9F8-40F3-8473-A7D6D9A640EC}"/>
              </a:ext>
            </a:extLst>
          </p:cNvPr>
          <p:cNvSpPr txBox="1"/>
          <p:nvPr/>
        </p:nvSpPr>
        <p:spPr>
          <a:xfrm>
            <a:off x="3258258" y="120128"/>
            <a:ext cx="5372946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66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pPr>
              <a:lnSpc>
                <a:spcPts val="4000"/>
              </a:lnSpc>
            </a:pPr>
            <a:r>
              <a:rPr lang="zh-CN" altLang="en-US" sz="4000" dirty="0">
                <a:latin typeface="+mn-lt"/>
                <a:ea typeface="+mn-ea"/>
                <a:cs typeface="+mn-ea"/>
                <a:sym typeface="+mn-lt"/>
              </a:rPr>
              <a:t>Teaching analysis</a:t>
            </a:r>
          </a:p>
        </p:txBody>
      </p:sp>
    </p:spTree>
    <p:extLst>
      <p:ext uri="{BB962C8B-B14F-4D97-AF65-F5344CB8AC3E}">
        <p14:creationId xmlns:p14="http://schemas.microsoft.com/office/powerpoint/2010/main" val="2603304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Click="0" advTm="0">
        <p14:flip dir="r"/>
      </p:transition>
    </mc:Choice>
    <mc:Fallback xmlns:a14="http://schemas.microsoft.com/office/drawing/2010/main" xmlns:a16="http://schemas.microsoft.com/office/drawing/2014/main"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8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6" presetClass="entr" presetSubtype="4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9" dur="7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750"/>
                            </p:stCondLst>
                            <p:childTnLst>
                              <p:par>
                                <p:cTn id="2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250"/>
                            </p:stCondLst>
                            <p:childTnLst>
                              <p:par>
                                <p:cTn id="2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7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7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4000"/>
                            </p:stCondLst>
                            <p:childTnLst>
                              <p:par>
                                <p:cTn id="34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500" tmFilter="0,0; .5, 1; 1, 1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37" grpId="0"/>
      <p:bldP spid="39" grpId="0"/>
      <p:bldP spid="40" grpId="0"/>
      <p:bldP spid="32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C6002DE4-0B35-4ACB-96DD-668FCFEE0D7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-4294"/>
            <a:ext cx="12202211" cy="6858000"/>
          </a:xfrm>
          <a:prstGeom prst="rect">
            <a:avLst/>
          </a:prstGeom>
          <a:ln>
            <a:noFill/>
          </a:ln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0B31D1B4-30DB-4C87-A153-EF6EA5C3DE6E}"/>
              </a:ext>
            </a:extLst>
          </p:cNvPr>
          <p:cNvSpPr/>
          <p:nvPr/>
        </p:nvSpPr>
        <p:spPr>
          <a:xfrm>
            <a:off x="2255573" y="1374674"/>
            <a:ext cx="8352928" cy="4224469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  <a:effectLst>
            <a:outerShdw blurRad="152400" dist="762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cs typeface="+mn-ea"/>
              <a:sym typeface="+mn-lt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0DFD6F58-1456-4565-A7FA-4889094FD26C}"/>
              </a:ext>
            </a:extLst>
          </p:cNvPr>
          <p:cNvSpPr/>
          <p:nvPr/>
        </p:nvSpPr>
        <p:spPr>
          <a:xfrm>
            <a:off x="1679509" y="1374673"/>
            <a:ext cx="7488832" cy="345638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77800" sx="103000" sy="103000" algn="ctr" rotWithShape="0">
              <a:prstClr val="black">
                <a:alpha val="3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DDC0E3D9-958C-4060-B1A9-C07ADD40EEA3}"/>
              </a:ext>
            </a:extLst>
          </p:cNvPr>
          <p:cNvSpPr/>
          <p:nvPr/>
        </p:nvSpPr>
        <p:spPr>
          <a:xfrm>
            <a:off x="7655562" y="605813"/>
            <a:ext cx="2210519" cy="2210518"/>
          </a:xfrm>
          <a:prstGeom prst="rect">
            <a:avLst/>
          </a:prstGeom>
          <a:solidFill>
            <a:srgbClr val="D00000"/>
          </a:solidFill>
          <a:ln>
            <a:noFill/>
          </a:ln>
          <a:effectLst>
            <a:outerShdw blurRad="114300" dist="38100" dir="2700000" sx="101000" sy="101000" algn="tl" rotWithShape="0">
              <a:prstClr val="black">
                <a:alpha val="3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241CF7B9-B014-49C9-96C0-4A630E09C08D}"/>
              </a:ext>
            </a:extLst>
          </p:cNvPr>
          <p:cNvSpPr/>
          <p:nvPr/>
        </p:nvSpPr>
        <p:spPr>
          <a:xfrm>
            <a:off x="1980688" y="3429000"/>
            <a:ext cx="3299221" cy="1384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933" dirty="0">
                <a:solidFill>
                  <a:schemeClr val="bg1"/>
                </a:solidFill>
                <a:cs typeface="+mn-ea"/>
                <a:sym typeface="+mn-lt"/>
              </a:rPr>
              <a:t>OF THIS SCHEME, WE THANK YOU FOR YOUR READING, THE PROPOSAL IS WE UNDERSTAND YOUR COMPANY FOR THE REQUIREMENTS, AND PROPOSAL INFORMATION, THIS PAPERS THE SPECIFIC. REQUIREMENTS.</a:t>
            </a:r>
          </a:p>
        </p:txBody>
      </p:sp>
      <p:sp>
        <p:nvSpPr>
          <p:cNvPr id="18" name="TextBox 18">
            <a:extLst>
              <a:ext uri="{FF2B5EF4-FFF2-40B4-BE49-F238E27FC236}">
                <a16:creationId xmlns:a16="http://schemas.microsoft.com/office/drawing/2014/main" id="{CEE4B56E-805F-42BD-B0BA-A50E9420F11C}"/>
              </a:ext>
            </a:extLst>
          </p:cNvPr>
          <p:cNvSpPr txBox="1"/>
          <p:nvPr/>
        </p:nvSpPr>
        <p:spPr>
          <a:xfrm>
            <a:off x="8093318" y="958302"/>
            <a:ext cx="133996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8000" spc="400">
                <a:solidFill>
                  <a:schemeClr val="bg1"/>
                </a:solidFill>
                <a:latin typeface="Agency FB" panose="020B0503020202020204" pitchFamily="34" charset="0"/>
                <a:cs typeface="+mn-ea"/>
              </a:defRPr>
            </a:lvl1pPr>
          </a:lstStyle>
          <a:p>
            <a:r>
              <a:rPr lang="en-US" altLang="zh-CN" dirty="0">
                <a:sym typeface="+mn-lt"/>
              </a:rPr>
              <a:t>03</a:t>
            </a:r>
            <a:endParaRPr lang="zh-CN" altLang="en-US" dirty="0">
              <a:sym typeface="+mn-lt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23FC91EC-A33E-474B-8946-3468139A7936}"/>
              </a:ext>
            </a:extLst>
          </p:cNvPr>
          <p:cNvSpPr txBox="1"/>
          <p:nvPr/>
        </p:nvSpPr>
        <p:spPr>
          <a:xfrm>
            <a:off x="1583499" y="2198027"/>
            <a:ext cx="7017161" cy="6171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66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pPr>
              <a:lnSpc>
                <a:spcPts val="4000"/>
              </a:lnSpc>
            </a:pPr>
            <a:r>
              <a:rPr lang="zh-CN" altLang="en-US" sz="3600" dirty="0">
                <a:solidFill>
                  <a:srgbClr val="D00000"/>
                </a:solidFill>
                <a:latin typeface="+mn-lt"/>
                <a:ea typeface="+mn-ea"/>
                <a:cs typeface="+mn-ea"/>
                <a:sym typeface="+mn-lt"/>
              </a:rPr>
              <a:t>The teaching process</a:t>
            </a: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8E8B6E05-31A9-41F9-80B0-911FDFB1F350}"/>
              </a:ext>
            </a:extLst>
          </p:cNvPr>
          <p:cNvSpPr/>
          <p:nvPr/>
        </p:nvSpPr>
        <p:spPr>
          <a:xfrm>
            <a:off x="2772230" y="3515783"/>
            <a:ext cx="4686031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zh-CN" altLang="en-US" sz="1050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  <a:sym typeface="+mn-lt"/>
              </a:rPr>
              <a:t>Please enter a specific description here, the text as simple as possible, the meaning can be, do not have to be too cumbersome, pay attention to the beauty of the layout.</a:t>
            </a: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98B2FC46-A089-4BDC-97CB-94226A8A2FE2}"/>
              </a:ext>
            </a:extLst>
          </p:cNvPr>
          <p:cNvSpPr/>
          <p:nvPr/>
        </p:nvSpPr>
        <p:spPr>
          <a:xfrm>
            <a:off x="2657654" y="2796455"/>
            <a:ext cx="4800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800" b="1" spc="4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SING PROCESS</a:t>
            </a:r>
            <a:endParaRPr lang="zh-CN" altLang="en-US" sz="2800" b="1" spc="4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96440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 advClick="0" advTm="0">
        <p14:doors dir="vert"/>
      </p:transition>
    </mc:Choice>
    <mc:Fallback xmlns:a14="http://schemas.microsoft.com/office/drawing/2010/main" xmlns:a16="http://schemas.microsoft.com/office/drawing/2014/main" xmlns="">
      <p:transition spd="slow" advClick="0" advTm="0">
        <p:fade/>
      </p:transition>
    </mc:Fallback>
  </mc:AlternateContent>
  <mc:AlternateContent xmlns:mc="http://schemas.openxmlformats.org/markup-compatibility/2006">
    <mc:Choice xmlns:p14="http://schemas.microsoft.com/office/powerpoint/2010/main"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afterEffect" p14:presetBounceEnd="64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4000">
                                          <p:cBhvr additive="base">
                                            <p:cTn id="7" dur="3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4000">
                                          <p:cBhvr additive="base">
                                            <p:cTn id="8" dur="3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 p14:presetBounceEnd="42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2000">
                                          <p:cBhvr additive="base">
                                            <p:cTn id="11" dur="2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2000">
                                          <p:cBhvr additive="base">
                                            <p:cTn id="12" dur="2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 p14:presetBounceEnd="52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2000">
                                          <p:cBhvr additive="base">
                                            <p:cTn id="15" dur="3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2000">
                                          <p:cBhvr additive="base">
                                            <p:cTn id="16" dur="3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1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22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4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5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6" dur="500"/>
                                            <p:tgtEl>
                                              <p:spTgt spid="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7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28" presetID="41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0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x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1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h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w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4" dur="500" tmFilter="0,0; .5, 1; 1, 1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5" fill="hold">
                                <p:stCondLst>
                                  <p:cond delay="4850"/>
                                </p:stCondLst>
                                <p:childTnLst>
                                  <p:par>
                                    <p:cTn id="36" presetID="16" presetClass="entr" presetSubtype="37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outVertical)">
                                          <p:cBhvr>
                                            <p:cTn id="38" dur="5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9" fill="hold">
                                <p:stCondLst>
                                  <p:cond delay="5350"/>
                                </p:stCondLst>
                                <p:childTnLst>
                                  <p:par>
                                    <p:cTn id="40" presetID="37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1000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43" dur="1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4" dur="900" decel="100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-.03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5" dur="100" accel="100000" fill="hold">
                                              <p:stCondLst>
                                                <p:cond delay="90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.03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6" grpId="0" animBg="1"/>
          <p:bldP spid="7" grpId="0" animBg="1"/>
          <p:bldP spid="13" grpId="0"/>
          <p:bldP spid="18" grpId="0"/>
          <p:bldP spid="19" grpId="0"/>
          <p:bldP spid="21" grpId="0"/>
          <p:bldP spid="23" grpId="0"/>
        </p:bldLst>
      </p:timing>
    </mc:Choice>
    <mc:Fallback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3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3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2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2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3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3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1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22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4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5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6" dur="500"/>
                                            <p:tgtEl>
                                              <p:spTgt spid="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7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28" presetID="41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0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x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1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h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w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4" dur="500" tmFilter="0,0; .5, 1; 1, 1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5" fill="hold">
                                <p:stCondLst>
                                  <p:cond delay="4850"/>
                                </p:stCondLst>
                                <p:childTnLst>
                                  <p:par>
                                    <p:cTn id="36" presetID="16" presetClass="entr" presetSubtype="37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outVertical)">
                                          <p:cBhvr>
                                            <p:cTn id="38" dur="5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9" fill="hold">
                                <p:stCondLst>
                                  <p:cond delay="5350"/>
                                </p:stCondLst>
                                <p:childTnLst>
                                  <p:par>
                                    <p:cTn id="40" presetID="37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1000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43" dur="1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4" dur="900" decel="100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-.03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5" dur="100" accel="100000" fill="hold">
                                              <p:stCondLst>
                                                <p:cond delay="90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.03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6" grpId="0" animBg="1"/>
          <p:bldP spid="7" grpId="0" animBg="1"/>
          <p:bldP spid="13" grpId="0"/>
          <p:bldP spid="18" grpId="0"/>
          <p:bldP spid="19" grpId="0"/>
          <p:bldP spid="21" grpId="0"/>
          <p:bldP spid="23" grpId="0"/>
        </p:bldLst>
      </p:timing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B3643088-BADE-4B2C-8D16-84C355AB00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-4294"/>
            <a:ext cx="12202211" cy="6858000"/>
          </a:xfrm>
          <a:prstGeom prst="rect">
            <a:avLst/>
          </a:prstGeom>
          <a:ln>
            <a:noFill/>
          </a:ln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87218F93-96F9-462F-BAFB-7E145859AED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 flipH="1">
            <a:off x="99171" y="-99171"/>
            <a:ext cx="1058956" cy="1257300"/>
          </a:xfrm>
          <a:prstGeom prst="rect">
            <a:avLst/>
          </a:prstGeom>
        </p:spPr>
      </p:pic>
      <p:sp>
        <p:nvSpPr>
          <p:cNvPr id="8" name="TextBox 18">
            <a:extLst>
              <a:ext uri="{FF2B5EF4-FFF2-40B4-BE49-F238E27FC236}">
                <a16:creationId xmlns:a16="http://schemas.microsoft.com/office/drawing/2014/main" id="{EC3E81A0-9853-4F50-A63A-07CECD490F96}"/>
              </a:ext>
            </a:extLst>
          </p:cNvPr>
          <p:cNvSpPr txBox="1"/>
          <p:nvPr/>
        </p:nvSpPr>
        <p:spPr>
          <a:xfrm>
            <a:off x="1367227" y="80984"/>
            <a:ext cx="27918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spc="4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ART3.</a:t>
            </a:r>
            <a:endParaRPr lang="zh-CN" altLang="en-US" sz="2400" b="1" spc="4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17F88ED-E918-45C7-8ED4-BD8E20C0EB3A}"/>
              </a:ext>
            </a:extLst>
          </p:cNvPr>
          <p:cNvSpPr txBox="1"/>
          <p:nvPr/>
        </p:nvSpPr>
        <p:spPr>
          <a:xfrm>
            <a:off x="3818697" y="90631"/>
            <a:ext cx="4662693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66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pPr>
              <a:lnSpc>
                <a:spcPts val="4000"/>
              </a:lnSpc>
            </a:pPr>
            <a:r>
              <a:rPr lang="zh-CN" altLang="en-US" sz="4000" dirty="0">
                <a:latin typeface="+mn-lt"/>
                <a:ea typeface="+mn-ea"/>
                <a:cs typeface="+mn-ea"/>
                <a:sym typeface="+mn-lt"/>
              </a:rPr>
              <a:t>Teaching design</a:t>
            </a:r>
          </a:p>
        </p:txBody>
      </p:sp>
      <p:sp>
        <p:nvSpPr>
          <p:cNvPr id="31" name="TextBox 6">
            <a:extLst>
              <a:ext uri="{FF2B5EF4-FFF2-40B4-BE49-F238E27FC236}">
                <a16:creationId xmlns:a16="http://schemas.microsoft.com/office/drawing/2014/main" id="{42D17D8E-8B75-428D-85CC-C30E38A75956}"/>
              </a:ext>
            </a:extLst>
          </p:cNvPr>
          <p:cNvSpPr txBox="1"/>
          <p:nvPr/>
        </p:nvSpPr>
        <p:spPr>
          <a:xfrm>
            <a:off x="1914064" y="1876157"/>
            <a:ext cx="33081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lease enter the title.</a:t>
            </a:r>
            <a:endParaRPr lang="en-US" altLang="zh-CN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F585D07E-EF75-4A29-838B-27834934810E}"/>
              </a:ext>
            </a:extLst>
          </p:cNvPr>
          <p:cNvSpPr txBox="1">
            <a:spLocks/>
          </p:cNvSpPr>
          <p:nvPr/>
        </p:nvSpPr>
        <p:spPr>
          <a:xfrm>
            <a:off x="1914065" y="2214711"/>
            <a:ext cx="3636945" cy="2036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2000"/>
              </a:lnSpc>
              <a:buNone/>
            </a:pPr>
            <a:r>
              <a:rPr lang="zh-CN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lease enter a specific description here, the text as simple as possible, the meaning can be, do not have to be too cumbersome, pay attention to the beauty of the layout.</a:t>
            </a:r>
            <a:endParaRPr lang="en-US" sz="11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33" name="Shape 2525">
            <a:extLst>
              <a:ext uri="{FF2B5EF4-FFF2-40B4-BE49-F238E27FC236}">
                <a16:creationId xmlns:a16="http://schemas.microsoft.com/office/drawing/2014/main" id="{3A29962F-CFA6-406D-8D42-ED5A47672141}"/>
              </a:ext>
            </a:extLst>
          </p:cNvPr>
          <p:cNvSpPr/>
          <p:nvPr/>
        </p:nvSpPr>
        <p:spPr>
          <a:xfrm>
            <a:off x="1194898" y="2055260"/>
            <a:ext cx="558655" cy="5586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17673"/>
                </a:moveTo>
                <a:cubicBezTo>
                  <a:pt x="11562" y="17673"/>
                  <a:pt x="11782" y="17453"/>
                  <a:pt x="11782" y="17182"/>
                </a:cubicBezTo>
                <a:cubicBezTo>
                  <a:pt x="11782" y="16911"/>
                  <a:pt x="11562" y="16691"/>
                  <a:pt x="11291" y="16691"/>
                </a:cubicBezTo>
                <a:cubicBezTo>
                  <a:pt x="11020" y="16691"/>
                  <a:pt x="10800" y="16911"/>
                  <a:pt x="10800" y="17182"/>
                </a:cubicBezTo>
                <a:cubicBezTo>
                  <a:pt x="10800" y="17453"/>
                  <a:pt x="11020" y="17673"/>
                  <a:pt x="11291" y="17673"/>
                </a:cubicBezTo>
                <a:moveTo>
                  <a:pt x="17673" y="18655"/>
                </a:moveTo>
                <a:lnTo>
                  <a:pt x="13745" y="18655"/>
                </a:lnTo>
                <a:lnTo>
                  <a:pt x="13745" y="12273"/>
                </a:lnTo>
                <a:cubicBezTo>
                  <a:pt x="13745" y="12002"/>
                  <a:pt x="13525" y="11782"/>
                  <a:pt x="13255" y="11782"/>
                </a:cubicBezTo>
                <a:lnTo>
                  <a:pt x="8345" y="11782"/>
                </a:lnTo>
                <a:cubicBezTo>
                  <a:pt x="8075" y="11782"/>
                  <a:pt x="7855" y="12002"/>
                  <a:pt x="7855" y="12273"/>
                </a:cubicBezTo>
                <a:lnTo>
                  <a:pt x="7855" y="18655"/>
                </a:lnTo>
                <a:lnTo>
                  <a:pt x="3927" y="18655"/>
                </a:lnTo>
                <a:lnTo>
                  <a:pt x="3927" y="8058"/>
                </a:lnTo>
                <a:lnTo>
                  <a:pt x="10800" y="1185"/>
                </a:lnTo>
                <a:lnTo>
                  <a:pt x="17673" y="8058"/>
                </a:lnTo>
                <a:cubicBezTo>
                  <a:pt x="17673" y="8058"/>
                  <a:pt x="17673" y="18655"/>
                  <a:pt x="17673" y="18655"/>
                </a:cubicBezTo>
                <a:close/>
                <a:moveTo>
                  <a:pt x="17673" y="20618"/>
                </a:moveTo>
                <a:lnTo>
                  <a:pt x="13745" y="20618"/>
                </a:lnTo>
                <a:lnTo>
                  <a:pt x="13745" y="19636"/>
                </a:lnTo>
                <a:lnTo>
                  <a:pt x="17673" y="19636"/>
                </a:lnTo>
                <a:cubicBezTo>
                  <a:pt x="17673" y="19636"/>
                  <a:pt x="17673" y="20618"/>
                  <a:pt x="17673" y="20618"/>
                </a:cubicBezTo>
                <a:close/>
                <a:moveTo>
                  <a:pt x="12764" y="20618"/>
                </a:moveTo>
                <a:lnTo>
                  <a:pt x="8836" y="20618"/>
                </a:lnTo>
                <a:lnTo>
                  <a:pt x="8836" y="12764"/>
                </a:lnTo>
                <a:lnTo>
                  <a:pt x="12764" y="12764"/>
                </a:lnTo>
                <a:cubicBezTo>
                  <a:pt x="12764" y="12764"/>
                  <a:pt x="12764" y="20618"/>
                  <a:pt x="12764" y="20618"/>
                </a:cubicBezTo>
                <a:close/>
                <a:moveTo>
                  <a:pt x="7855" y="20618"/>
                </a:moveTo>
                <a:lnTo>
                  <a:pt x="3927" y="20618"/>
                </a:lnTo>
                <a:lnTo>
                  <a:pt x="3927" y="19636"/>
                </a:lnTo>
                <a:lnTo>
                  <a:pt x="7855" y="19636"/>
                </a:lnTo>
                <a:cubicBezTo>
                  <a:pt x="7855" y="19636"/>
                  <a:pt x="7855" y="20618"/>
                  <a:pt x="7855" y="20618"/>
                </a:cubicBezTo>
                <a:close/>
                <a:moveTo>
                  <a:pt x="14727" y="1964"/>
                </a:moveTo>
                <a:lnTo>
                  <a:pt x="16691" y="1964"/>
                </a:lnTo>
                <a:lnTo>
                  <a:pt x="16691" y="5688"/>
                </a:lnTo>
                <a:lnTo>
                  <a:pt x="14727" y="3724"/>
                </a:lnTo>
                <a:cubicBezTo>
                  <a:pt x="14727" y="3724"/>
                  <a:pt x="14727" y="1964"/>
                  <a:pt x="14727" y="1964"/>
                </a:cubicBezTo>
                <a:close/>
                <a:moveTo>
                  <a:pt x="21456" y="10453"/>
                </a:moveTo>
                <a:lnTo>
                  <a:pt x="17673" y="6670"/>
                </a:lnTo>
                <a:lnTo>
                  <a:pt x="17673" y="1473"/>
                </a:lnTo>
                <a:cubicBezTo>
                  <a:pt x="17673" y="1202"/>
                  <a:pt x="17453" y="982"/>
                  <a:pt x="17182" y="982"/>
                </a:cubicBezTo>
                <a:lnTo>
                  <a:pt x="14236" y="982"/>
                </a:lnTo>
                <a:cubicBezTo>
                  <a:pt x="13966" y="982"/>
                  <a:pt x="13745" y="1202"/>
                  <a:pt x="13745" y="1473"/>
                </a:cubicBezTo>
                <a:lnTo>
                  <a:pt x="13745" y="2742"/>
                </a:lnTo>
                <a:lnTo>
                  <a:pt x="11147" y="144"/>
                </a:lnTo>
                <a:cubicBezTo>
                  <a:pt x="11058" y="55"/>
                  <a:pt x="10935" y="0"/>
                  <a:pt x="10800" y="0"/>
                </a:cubicBezTo>
                <a:cubicBezTo>
                  <a:pt x="10665" y="0"/>
                  <a:pt x="10542" y="55"/>
                  <a:pt x="10453" y="144"/>
                </a:cubicBezTo>
                <a:lnTo>
                  <a:pt x="144" y="10453"/>
                </a:lnTo>
                <a:cubicBezTo>
                  <a:pt x="55" y="10542"/>
                  <a:pt x="0" y="10665"/>
                  <a:pt x="0" y="10800"/>
                </a:cubicBezTo>
                <a:cubicBezTo>
                  <a:pt x="0" y="11072"/>
                  <a:pt x="220" y="11291"/>
                  <a:pt x="491" y="11291"/>
                </a:cubicBezTo>
                <a:cubicBezTo>
                  <a:pt x="626" y="11291"/>
                  <a:pt x="749" y="11236"/>
                  <a:pt x="838" y="11147"/>
                </a:cubicBezTo>
                <a:lnTo>
                  <a:pt x="2945" y="9040"/>
                </a:lnTo>
                <a:lnTo>
                  <a:pt x="2945" y="21109"/>
                </a:lnTo>
                <a:cubicBezTo>
                  <a:pt x="2945" y="21381"/>
                  <a:pt x="3166" y="21600"/>
                  <a:pt x="3436" y="21600"/>
                </a:cubicBezTo>
                <a:lnTo>
                  <a:pt x="18164" y="21600"/>
                </a:lnTo>
                <a:cubicBezTo>
                  <a:pt x="18434" y="21600"/>
                  <a:pt x="18655" y="21381"/>
                  <a:pt x="18655" y="21109"/>
                </a:cubicBezTo>
                <a:lnTo>
                  <a:pt x="18655" y="9040"/>
                </a:lnTo>
                <a:lnTo>
                  <a:pt x="20762" y="11147"/>
                </a:lnTo>
                <a:cubicBezTo>
                  <a:pt x="20851" y="11236"/>
                  <a:pt x="20974" y="11291"/>
                  <a:pt x="21109" y="11291"/>
                </a:cubicBezTo>
                <a:cubicBezTo>
                  <a:pt x="21380" y="11291"/>
                  <a:pt x="21600" y="11072"/>
                  <a:pt x="21600" y="10800"/>
                </a:cubicBezTo>
                <a:cubicBezTo>
                  <a:pt x="21600" y="10665"/>
                  <a:pt x="21545" y="10542"/>
                  <a:pt x="21456" y="10453"/>
                </a:cubicBezTo>
              </a:path>
            </a:pathLst>
          </a:custGeom>
          <a:solidFill>
            <a:srgbClr val="F57B26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34" name="Shape 2547">
            <a:extLst>
              <a:ext uri="{FF2B5EF4-FFF2-40B4-BE49-F238E27FC236}">
                <a16:creationId xmlns:a16="http://schemas.microsoft.com/office/drawing/2014/main" id="{351E76C6-EADE-4877-B5F3-9C20EDD159A4}"/>
              </a:ext>
            </a:extLst>
          </p:cNvPr>
          <p:cNvSpPr/>
          <p:nvPr/>
        </p:nvSpPr>
        <p:spPr>
          <a:xfrm>
            <a:off x="1194895" y="4745242"/>
            <a:ext cx="558655" cy="5586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073" y="17379"/>
                </a:moveTo>
                <a:lnTo>
                  <a:pt x="15643" y="14949"/>
                </a:lnTo>
                <a:cubicBezTo>
                  <a:pt x="16600" y="13832"/>
                  <a:pt x="17182" y="12386"/>
                  <a:pt x="17182" y="10800"/>
                </a:cubicBezTo>
                <a:cubicBezTo>
                  <a:pt x="17182" y="9214"/>
                  <a:pt x="16600" y="7767"/>
                  <a:pt x="15643" y="6651"/>
                </a:cubicBezTo>
                <a:lnTo>
                  <a:pt x="18073" y="4221"/>
                </a:lnTo>
                <a:cubicBezTo>
                  <a:pt x="19649" y="5963"/>
                  <a:pt x="20618" y="8266"/>
                  <a:pt x="20618" y="10800"/>
                </a:cubicBezTo>
                <a:cubicBezTo>
                  <a:pt x="20618" y="13335"/>
                  <a:pt x="19649" y="15637"/>
                  <a:pt x="18073" y="17379"/>
                </a:cubicBezTo>
                <a:moveTo>
                  <a:pt x="10800" y="20619"/>
                </a:moveTo>
                <a:cubicBezTo>
                  <a:pt x="8265" y="20619"/>
                  <a:pt x="5963" y="19650"/>
                  <a:pt x="4221" y="18073"/>
                </a:cubicBezTo>
                <a:lnTo>
                  <a:pt x="6651" y="15643"/>
                </a:lnTo>
                <a:cubicBezTo>
                  <a:pt x="7767" y="16600"/>
                  <a:pt x="9214" y="17182"/>
                  <a:pt x="10800" y="17182"/>
                </a:cubicBezTo>
                <a:cubicBezTo>
                  <a:pt x="12386" y="17182"/>
                  <a:pt x="13833" y="16600"/>
                  <a:pt x="14949" y="15643"/>
                </a:cubicBezTo>
                <a:lnTo>
                  <a:pt x="17379" y="18073"/>
                </a:lnTo>
                <a:cubicBezTo>
                  <a:pt x="15637" y="19650"/>
                  <a:pt x="13334" y="20619"/>
                  <a:pt x="10800" y="20619"/>
                </a:cubicBezTo>
                <a:moveTo>
                  <a:pt x="982" y="10800"/>
                </a:moveTo>
                <a:cubicBezTo>
                  <a:pt x="982" y="8266"/>
                  <a:pt x="1950" y="5963"/>
                  <a:pt x="3527" y="4221"/>
                </a:cubicBezTo>
                <a:lnTo>
                  <a:pt x="5957" y="6651"/>
                </a:lnTo>
                <a:cubicBezTo>
                  <a:pt x="4999" y="7767"/>
                  <a:pt x="4418" y="9214"/>
                  <a:pt x="4418" y="10800"/>
                </a:cubicBezTo>
                <a:cubicBezTo>
                  <a:pt x="4418" y="12386"/>
                  <a:pt x="4999" y="13832"/>
                  <a:pt x="5957" y="14949"/>
                </a:cubicBezTo>
                <a:lnTo>
                  <a:pt x="3527" y="17379"/>
                </a:lnTo>
                <a:cubicBezTo>
                  <a:pt x="1950" y="15637"/>
                  <a:pt x="982" y="13335"/>
                  <a:pt x="982" y="10800"/>
                </a:cubicBezTo>
                <a:moveTo>
                  <a:pt x="16200" y="10800"/>
                </a:moveTo>
                <a:cubicBezTo>
                  <a:pt x="16200" y="13782"/>
                  <a:pt x="13782" y="16200"/>
                  <a:pt x="10800" y="16200"/>
                </a:cubicBezTo>
                <a:cubicBezTo>
                  <a:pt x="7817" y="16200"/>
                  <a:pt x="5400" y="13782"/>
                  <a:pt x="5400" y="10800"/>
                </a:cubicBezTo>
                <a:cubicBezTo>
                  <a:pt x="5400" y="7817"/>
                  <a:pt x="7817" y="5400"/>
                  <a:pt x="10800" y="5400"/>
                </a:cubicBezTo>
                <a:cubicBezTo>
                  <a:pt x="13782" y="5400"/>
                  <a:pt x="16200" y="7817"/>
                  <a:pt x="16200" y="10800"/>
                </a:cubicBezTo>
                <a:moveTo>
                  <a:pt x="10800" y="982"/>
                </a:moveTo>
                <a:cubicBezTo>
                  <a:pt x="13334" y="982"/>
                  <a:pt x="15637" y="1950"/>
                  <a:pt x="17379" y="3527"/>
                </a:cubicBezTo>
                <a:lnTo>
                  <a:pt x="14949" y="5957"/>
                </a:lnTo>
                <a:cubicBezTo>
                  <a:pt x="13832" y="4999"/>
                  <a:pt x="12386" y="4418"/>
                  <a:pt x="10800" y="4418"/>
                </a:cubicBezTo>
                <a:cubicBezTo>
                  <a:pt x="9214" y="4418"/>
                  <a:pt x="7767" y="4999"/>
                  <a:pt x="6651" y="5957"/>
                </a:cubicBezTo>
                <a:lnTo>
                  <a:pt x="4221" y="3527"/>
                </a:lnTo>
                <a:cubicBezTo>
                  <a:pt x="5963" y="1950"/>
                  <a:pt x="8265" y="982"/>
                  <a:pt x="10800" y="98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rgbClr val="F57B26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35" name="Shape 2587">
            <a:extLst>
              <a:ext uri="{FF2B5EF4-FFF2-40B4-BE49-F238E27FC236}">
                <a16:creationId xmlns:a16="http://schemas.microsoft.com/office/drawing/2014/main" id="{909E79A4-375E-455C-BD3F-8250E14EBC85}"/>
              </a:ext>
            </a:extLst>
          </p:cNvPr>
          <p:cNvSpPr/>
          <p:nvPr/>
        </p:nvSpPr>
        <p:spPr>
          <a:xfrm>
            <a:off x="6503410" y="3401109"/>
            <a:ext cx="558655" cy="5586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rgbClr val="6FCEFE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36" name="Shape 2591">
            <a:extLst>
              <a:ext uri="{FF2B5EF4-FFF2-40B4-BE49-F238E27FC236}">
                <a16:creationId xmlns:a16="http://schemas.microsoft.com/office/drawing/2014/main" id="{D00BF0C7-D86E-4546-96DA-271B1059C610}"/>
              </a:ext>
            </a:extLst>
          </p:cNvPr>
          <p:cNvSpPr/>
          <p:nvPr/>
        </p:nvSpPr>
        <p:spPr>
          <a:xfrm>
            <a:off x="6503411" y="2055260"/>
            <a:ext cx="558655" cy="5586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4727"/>
                </a:moveTo>
                <a:cubicBezTo>
                  <a:pt x="8631" y="14727"/>
                  <a:pt x="6873" y="12969"/>
                  <a:pt x="6873" y="10800"/>
                </a:cubicBezTo>
                <a:cubicBezTo>
                  <a:pt x="6873" y="8631"/>
                  <a:pt x="8631" y="6873"/>
                  <a:pt x="10800" y="6873"/>
                </a:cubicBezTo>
                <a:cubicBezTo>
                  <a:pt x="12969" y="6873"/>
                  <a:pt x="14727" y="8631"/>
                  <a:pt x="14727" y="10800"/>
                </a:cubicBezTo>
                <a:cubicBezTo>
                  <a:pt x="14727" y="12969"/>
                  <a:pt x="12969" y="14727"/>
                  <a:pt x="10800" y="14727"/>
                </a:cubicBezTo>
                <a:moveTo>
                  <a:pt x="10800" y="5891"/>
                </a:moveTo>
                <a:cubicBezTo>
                  <a:pt x="8088" y="5891"/>
                  <a:pt x="5891" y="8089"/>
                  <a:pt x="5891" y="10800"/>
                </a:cubicBezTo>
                <a:cubicBezTo>
                  <a:pt x="5891" y="13512"/>
                  <a:pt x="8088" y="15709"/>
                  <a:pt x="10800" y="15709"/>
                </a:cubicBezTo>
                <a:cubicBezTo>
                  <a:pt x="13512" y="15709"/>
                  <a:pt x="15709" y="13512"/>
                  <a:pt x="15709" y="10800"/>
                </a:cubicBezTo>
                <a:cubicBezTo>
                  <a:pt x="15709" y="8089"/>
                  <a:pt x="13512" y="5891"/>
                  <a:pt x="10800" y="5891"/>
                </a:cubicBezTo>
                <a:moveTo>
                  <a:pt x="20618" y="12013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1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9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1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9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3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8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8"/>
                  <a:pt x="3000" y="4715"/>
                </a:cubicBezTo>
                <a:lnTo>
                  <a:pt x="4715" y="3000"/>
                </a:lnTo>
                <a:lnTo>
                  <a:pt x="5621" y="3544"/>
                </a:lnTo>
                <a:cubicBezTo>
                  <a:pt x="5777" y="3636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1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3"/>
                  <a:pt x="9331" y="2007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7"/>
                </a:lnTo>
                <a:cubicBezTo>
                  <a:pt x="12356" y="2353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1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6"/>
                  <a:pt x="15978" y="3544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8"/>
                  <a:pt x="18597" y="4722"/>
                  <a:pt x="18595" y="4726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3"/>
                  <a:pt x="20618" y="12013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8"/>
                  <a:pt x="17136" y="1969"/>
                  <a:pt x="16975" y="1969"/>
                </a:cubicBezTo>
                <a:cubicBezTo>
                  <a:pt x="16778" y="1969"/>
                  <a:pt x="16572" y="2043"/>
                  <a:pt x="16400" y="2145"/>
                </a:cubicBezTo>
                <a:lnTo>
                  <a:pt x="15473" y="2702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2"/>
                </a:cubicBezTo>
                <a:lnTo>
                  <a:pt x="5200" y="2145"/>
                </a:lnTo>
                <a:cubicBezTo>
                  <a:pt x="5028" y="2043"/>
                  <a:pt x="4822" y="1969"/>
                  <a:pt x="4625" y="1969"/>
                </a:cubicBezTo>
                <a:cubicBezTo>
                  <a:pt x="4464" y="1969"/>
                  <a:pt x="4308" y="2018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3"/>
                  <a:pt x="0" y="9360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8"/>
                </a:cubicBezTo>
                <a:lnTo>
                  <a:pt x="2145" y="16400"/>
                </a:lnTo>
                <a:cubicBezTo>
                  <a:pt x="1959" y="16714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4"/>
                  <a:pt x="19455" y="16400"/>
                </a:cubicBezTo>
                <a:lnTo>
                  <a:pt x="18902" y="15478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0"/>
                </a:lnTo>
                <a:cubicBezTo>
                  <a:pt x="21600" y="8963"/>
                  <a:pt x="21233" y="8730"/>
                  <a:pt x="20880" y="8641"/>
                </a:cubicBezTo>
              </a:path>
            </a:pathLst>
          </a:custGeom>
          <a:solidFill>
            <a:srgbClr val="6FCEFE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41" name="Shape 2605">
            <a:extLst>
              <a:ext uri="{FF2B5EF4-FFF2-40B4-BE49-F238E27FC236}">
                <a16:creationId xmlns:a16="http://schemas.microsoft.com/office/drawing/2014/main" id="{2AF146F2-AC6A-4D4E-A72D-27BE50DDAD76}"/>
              </a:ext>
            </a:extLst>
          </p:cNvPr>
          <p:cNvSpPr/>
          <p:nvPr/>
        </p:nvSpPr>
        <p:spPr>
          <a:xfrm>
            <a:off x="6503409" y="4746959"/>
            <a:ext cx="558920" cy="55890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10" h="21410" extrusionOk="0">
                <a:moveTo>
                  <a:pt x="20437" y="20437"/>
                </a:moveTo>
                <a:lnTo>
                  <a:pt x="17519" y="20437"/>
                </a:lnTo>
                <a:lnTo>
                  <a:pt x="17519" y="18978"/>
                </a:lnTo>
                <a:cubicBezTo>
                  <a:pt x="17519" y="18710"/>
                  <a:pt x="17301" y="18492"/>
                  <a:pt x="17033" y="18492"/>
                </a:cubicBezTo>
                <a:lnTo>
                  <a:pt x="15574" y="18492"/>
                </a:lnTo>
                <a:lnTo>
                  <a:pt x="15574" y="17033"/>
                </a:lnTo>
                <a:cubicBezTo>
                  <a:pt x="15574" y="16764"/>
                  <a:pt x="15356" y="16546"/>
                  <a:pt x="15087" y="16546"/>
                </a:cubicBezTo>
                <a:lnTo>
                  <a:pt x="13344" y="16546"/>
                </a:lnTo>
                <a:lnTo>
                  <a:pt x="10309" y="13497"/>
                </a:lnTo>
                <a:cubicBezTo>
                  <a:pt x="10221" y="13409"/>
                  <a:pt x="10100" y="13354"/>
                  <a:pt x="9965" y="13354"/>
                </a:cubicBezTo>
                <a:cubicBezTo>
                  <a:pt x="9819" y="13354"/>
                  <a:pt x="9693" y="13422"/>
                  <a:pt x="9604" y="13524"/>
                </a:cubicBezTo>
                <a:lnTo>
                  <a:pt x="8815" y="14312"/>
                </a:lnTo>
                <a:cubicBezTo>
                  <a:pt x="8435" y="14692"/>
                  <a:pt x="7820" y="14692"/>
                  <a:pt x="7441" y="14312"/>
                </a:cubicBezTo>
                <a:lnTo>
                  <a:pt x="1256" y="8128"/>
                </a:lnTo>
                <a:cubicBezTo>
                  <a:pt x="877" y="7748"/>
                  <a:pt x="877" y="7133"/>
                  <a:pt x="1256" y="6753"/>
                </a:cubicBezTo>
                <a:lnTo>
                  <a:pt x="6754" y="1255"/>
                </a:lnTo>
                <a:cubicBezTo>
                  <a:pt x="7133" y="876"/>
                  <a:pt x="7749" y="876"/>
                  <a:pt x="8128" y="1255"/>
                </a:cubicBezTo>
                <a:lnTo>
                  <a:pt x="14312" y="7440"/>
                </a:lnTo>
                <a:cubicBezTo>
                  <a:pt x="14691" y="7820"/>
                  <a:pt x="14691" y="8435"/>
                  <a:pt x="14312" y="8815"/>
                </a:cubicBezTo>
                <a:lnTo>
                  <a:pt x="13539" y="9588"/>
                </a:lnTo>
                <a:cubicBezTo>
                  <a:pt x="13437" y="9677"/>
                  <a:pt x="13370" y="9804"/>
                  <a:pt x="13370" y="9950"/>
                </a:cubicBezTo>
                <a:cubicBezTo>
                  <a:pt x="13370" y="10084"/>
                  <a:pt x="13424" y="10206"/>
                  <a:pt x="13513" y="10294"/>
                </a:cubicBezTo>
                <a:lnTo>
                  <a:pt x="20437" y="17234"/>
                </a:lnTo>
                <a:cubicBezTo>
                  <a:pt x="20437" y="17234"/>
                  <a:pt x="20437" y="20437"/>
                  <a:pt x="20437" y="20437"/>
                </a:cubicBezTo>
                <a:close/>
                <a:moveTo>
                  <a:pt x="21268" y="16689"/>
                </a:moveTo>
                <a:lnTo>
                  <a:pt x="14547" y="9954"/>
                </a:lnTo>
                <a:lnTo>
                  <a:pt x="14999" y="9502"/>
                </a:lnTo>
                <a:cubicBezTo>
                  <a:pt x="15758" y="8743"/>
                  <a:pt x="15758" y="7512"/>
                  <a:pt x="14999" y="6753"/>
                </a:cubicBezTo>
                <a:lnTo>
                  <a:pt x="8815" y="569"/>
                </a:lnTo>
                <a:cubicBezTo>
                  <a:pt x="8056" y="-190"/>
                  <a:pt x="6825" y="-190"/>
                  <a:pt x="6066" y="569"/>
                </a:cubicBezTo>
                <a:lnTo>
                  <a:pt x="569" y="6066"/>
                </a:lnTo>
                <a:cubicBezTo>
                  <a:pt x="-190" y="6825"/>
                  <a:pt x="-190" y="8056"/>
                  <a:pt x="569" y="8815"/>
                </a:cubicBezTo>
                <a:lnTo>
                  <a:pt x="6754" y="14999"/>
                </a:lnTo>
                <a:cubicBezTo>
                  <a:pt x="7513" y="15758"/>
                  <a:pt x="8743" y="15758"/>
                  <a:pt x="9502" y="14999"/>
                </a:cubicBezTo>
                <a:lnTo>
                  <a:pt x="9968" y="14533"/>
                </a:lnTo>
                <a:lnTo>
                  <a:pt x="12798" y="17376"/>
                </a:lnTo>
                <a:cubicBezTo>
                  <a:pt x="12886" y="17465"/>
                  <a:pt x="13008" y="17519"/>
                  <a:pt x="13142" y="17519"/>
                </a:cubicBezTo>
                <a:lnTo>
                  <a:pt x="14601" y="17519"/>
                </a:lnTo>
                <a:lnTo>
                  <a:pt x="14601" y="18978"/>
                </a:lnTo>
                <a:cubicBezTo>
                  <a:pt x="14601" y="19247"/>
                  <a:pt x="14819" y="19464"/>
                  <a:pt x="15087" y="19464"/>
                </a:cubicBezTo>
                <a:lnTo>
                  <a:pt x="16546" y="19464"/>
                </a:lnTo>
                <a:lnTo>
                  <a:pt x="16546" y="20924"/>
                </a:lnTo>
                <a:cubicBezTo>
                  <a:pt x="16546" y="21193"/>
                  <a:pt x="16764" y="21410"/>
                  <a:pt x="17033" y="21410"/>
                </a:cubicBezTo>
                <a:lnTo>
                  <a:pt x="20924" y="21410"/>
                </a:lnTo>
                <a:cubicBezTo>
                  <a:pt x="21192" y="21410"/>
                  <a:pt x="21410" y="21193"/>
                  <a:pt x="21410" y="20924"/>
                </a:cubicBezTo>
                <a:lnTo>
                  <a:pt x="21410" y="17033"/>
                </a:lnTo>
                <a:cubicBezTo>
                  <a:pt x="21410" y="16899"/>
                  <a:pt x="21356" y="16777"/>
                  <a:pt x="21268" y="16689"/>
                </a:cubicBezTo>
                <a:moveTo>
                  <a:pt x="6819" y="7791"/>
                </a:moveTo>
                <a:cubicBezTo>
                  <a:pt x="6282" y="7791"/>
                  <a:pt x="5846" y="7356"/>
                  <a:pt x="5846" y="6819"/>
                </a:cubicBezTo>
                <a:cubicBezTo>
                  <a:pt x="5846" y="6282"/>
                  <a:pt x="6282" y="5846"/>
                  <a:pt x="6819" y="5846"/>
                </a:cubicBezTo>
                <a:cubicBezTo>
                  <a:pt x="7356" y="5846"/>
                  <a:pt x="7792" y="6282"/>
                  <a:pt x="7792" y="6819"/>
                </a:cubicBezTo>
                <a:cubicBezTo>
                  <a:pt x="7792" y="7356"/>
                  <a:pt x="7356" y="7791"/>
                  <a:pt x="6819" y="7791"/>
                </a:cubicBezTo>
                <a:moveTo>
                  <a:pt x="6819" y="4873"/>
                </a:moveTo>
                <a:cubicBezTo>
                  <a:pt x="5745" y="4873"/>
                  <a:pt x="4874" y="5744"/>
                  <a:pt x="4874" y="6819"/>
                </a:cubicBezTo>
                <a:cubicBezTo>
                  <a:pt x="4874" y="7893"/>
                  <a:pt x="5745" y="8765"/>
                  <a:pt x="6819" y="8765"/>
                </a:cubicBezTo>
                <a:cubicBezTo>
                  <a:pt x="7893" y="8765"/>
                  <a:pt x="8765" y="7893"/>
                  <a:pt x="8765" y="6819"/>
                </a:cubicBezTo>
                <a:cubicBezTo>
                  <a:pt x="8765" y="5744"/>
                  <a:pt x="7893" y="4873"/>
                  <a:pt x="6819" y="4873"/>
                </a:cubicBezTo>
              </a:path>
            </a:pathLst>
          </a:custGeom>
          <a:solidFill>
            <a:srgbClr val="6FCEFE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42" name="Shape 2633">
            <a:extLst>
              <a:ext uri="{FF2B5EF4-FFF2-40B4-BE49-F238E27FC236}">
                <a16:creationId xmlns:a16="http://schemas.microsoft.com/office/drawing/2014/main" id="{D2D3B3CC-57BF-4F10-8020-D8E241FE2365}"/>
              </a:ext>
            </a:extLst>
          </p:cNvPr>
          <p:cNvSpPr/>
          <p:nvPr/>
        </p:nvSpPr>
        <p:spPr>
          <a:xfrm>
            <a:off x="1194897" y="3401109"/>
            <a:ext cx="558655" cy="5586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144" y="18334"/>
                </a:moveTo>
                <a:lnTo>
                  <a:pt x="15583" y="6873"/>
                </a:lnTo>
                <a:lnTo>
                  <a:pt x="20168" y="6873"/>
                </a:lnTo>
                <a:cubicBezTo>
                  <a:pt x="20168" y="6873"/>
                  <a:pt x="12144" y="18334"/>
                  <a:pt x="12144" y="18334"/>
                </a:cubicBezTo>
                <a:close/>
                <a:moveTo>
                  <a:pt x="10800" y="19403"/>
                </a:moveTo>
                <a:lnTo>
                  <a:pt x="7041" y="6873"/>
                </a:lnTo>
                <a:lnTo>
                  <a:pt x="14559" y="6873"/>
                </a:lnTo>
                <a:cubicBezTo>
                  <a:pt x="14559" y="6873"/>
                  <a:pt x="10800" y="19403"/>
                  <a:pt x="10800" y="19403"/>
                </a:cubicBezTo>
                <a:close/>
                <a:moveTo>
                  <a:pt x="1432" y="6873"/>
                </a:moveTo>
                <a:lnTo>
                  <a:pt x="6017" y="6873"/>
                </a:lnTo>
                <a:lnTo>
                  <a:pt x="9456" y="18334"/>
                </a:lnTo>
                <a:cubicBezTo>
                  <a:pt x="9456" y="18334"/>
                  <a:pt x="1432" y="6873"/>
                  <a:pt x="1432" y="6873"/>
                </a:cubicBezTo>
                <a:close/>
                <a:moveTo>
                  <a:pt x="6578" y="982"/>
                </a:moveTo>
                <a:lnTo>
                  <a:pt x="8536" y="982"/>
                </a:lnTo>
                <a:lnTo>
                  <a:pt x="6082" y="5891"/>
                </a:lnTo>
                <a:lnTo>
                  <a:pt x="1669" y="5891"/>
                </a:lnTo>
                <a:cubicBezTo>
                  <a:pt x="1669" y="5891"/>
                  <a:pt x="6578" y="982"/>
                  <a:pt x="6578" y="982"/>
                </a:cubicBezTo>
                <a:close/>
                <a:moveTo>
                  <a:pt x="11973" y="982"/>
                </a:moveTo>
                <a:lnTo>
                  <a:pt x="14427" y="5891"/>
                </a:lnTo>
                <a:lnTo>
                  <a:pt x="7173" y="5891"/>
                </a:lnTo>
                <a:lnTo>
                  <a:pt x="9627" y="982"/>
                </a:lnTo>
                <a:cubicBezTo>
                  <a:pt x="9627" y="982"/>
                  <a:pt x="11973" y="982"/>
                  <a:pt x="11973" y="982"/>
                </a:cubicBezTo>
                <a:close/>
                <a:moveTo>
                  <a:pt x="15022" y="982"/>
                </a:moveTo>
                <a:lnTo>
                  <a:pt x="19931" y="5891"/>
                </a:lnTo>
                <a:lnTo>
                  <a:pt x="15518" y="5891"/>
                </a:lnTo>
                <a:lnTo>
                  <a:pt x="13064" y="982"/>
                </a:lnTo>
                <a:cubicBezTo>
                  <a:pt x="13064" y="982"/>
                  <a:pt x="15022" y="982"/>
                  <a:pt x="15022" y="982"/>
                </a:cubicBezTo>
                <a:close/>
                <a:moveTo>
                  <a:pt x="21600" y="6382"/>
                </a:moveTo>
                <a:cubicBezTo>
                  <a:pt x="21600" y="6272"/>
                  <a:pt x="21557" y="6175"/>
                  <a:pt x="21495" y="6093"/>
                </a:cubicBezTo>
                <a:lnTo>
                  <a:pt x="21502" y="6088"/>
                </a:lnTo>
                <a:lnTo>
                  <a:pt x="21471" y="6057"/>
                </a:lnTo>
                <a:cubicBezTo>
                  <a:pt x="21459" y="6044"/>
                  <a:pt x="21448" y="6032"/>
                  <a:pt x="21434" y="6020"/>
                </a:cubicBezTo>
                <a:lnTo>
                  <a:pt x="15611" y="197"/>
                </a:lnTo>
                <a:lnTo>
                  <a:pt x="15604" y="201"/>
                </a:lnTo>
                <a:cubicBezTo>
                  <a:pt x="15514" y="82"/>
                  <a:pt x="15379" y="0"/>
                  <a:pt x="15218" y="0"/>
                </a:cubicBezTo>
                <a:lnTo>
                  <a:pt x="6382" y="0"/>
                </a:lnTo>
                <a:cubicBezTo>
                  <a:pt x="6221" y="0"/>
                  <a:pt x="6086" y="82"/>
                  <a:pt x="5996" y="201"/>
                </a:cubicBezTo>
                <a:lnTo>
                  <a:pt x="5989" y="197"/>
                </a:lnTo>
                <a:lnTo>
                  <a:pt x="166" y="6020"/>
                </a:lnTo>
                <a:cubicBezTo>
                  <a:pt x="152" y="6032"/>
                  <a:pt x="141" y="6044"/>
                  <a:pt x="129" y="6057"/>
                </a:cubicBezTo>
                <a:lnTo>
                  <a:pt x="98" y="6088"/>
                </a:lnTo>
                <a:lnTo>
                  <a:pt x="105" y="6093"/>
                </a:lnTo>
                <a:cubicBezTo>
                  <a:pt x="43" y="6175"/>
                  <a:pt x="0" y="6272"/>
                  <a:pt x="0" y="6382"/>
                </a:cubicBezTo>
                <a:cubicBezTo>
                  <a:pt x="0" y="6499"/>
                  <a:pt x="46" y="6602"/>
                  <a:pt x="115" y="6686"/>
                </a:cubicBezTo>
                <a:lnTo>
                  <a:pt x="109" y="6690"/>
                </a:lnTo>
                <a:lnTo>
                  <a:pt x="10418" y="21418"/>
                </a:lnTo>
                <a:lnTo>
                  <a:pt x="10424" y="21413"/>
                </a:lnTo>
                <a:cubicBezTo>
                  <a:pt x="10514" y="21525"/>
                  <a:pt x="10646" y="21600"/>
                  <a:pt x="10800" y="21600"/>
                </a:cubicBezTo>
                <a:cubicBezTo>
                  <a:pt x="10954" y="21600"/>
                  <a:pt x="11086" y="21525"/>
                  <a:pt x="11176" y="21413"/>
                </a:cubicBezTo>
                <a:lnTo>
                  <a:pt x="11182" y="21418"/>
                </a:lnTo>
                <a:lnTo>
                  <a:pt x="21491" y="6690"/>
                </a:lnTo>
                <a:lnTo>
                  <a:pt x="21485" y="6686"/>
                </a:lnTo>
                <a:cubicBezTo>
                  <a:pt x="21553" y="6602"/>
                  <a:pt x="21600" y="6499"/>
                  <a:pt x="21600" y="6382"/>
                </a:cubicBezTo>
              </a:path>
            </a:pathLst>
          </a:custGeom>
          <a:solidFill>
            <a:srgbClr val="F57B26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43" name="TextBox 6">
            <a:extLst>
              <a:ext uri="{FF2B5EF4-FFF2-40B4-BE49-F238E27FC236}">
                <a16:creationId xmlns:a16="http://schemas.microsoft.com/office/drawing/2014/main" id="{B2070CA3-9B7D-46A9-A4C5-81616A808A70}"/>
              </a:ext>
            </a:extLst>
          </p:cNvPr>
          <p:cNvSpPr txBox="1"/>
          <p:nvPr/>
        </p:nvSpPr>
        <p:spPr>
          <a:xfrm>
            <a:off x="1914064" y="3401108"/>
            <a:ext cx="33081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lease enter the title.</a:t>
            </a:r>
            <a:endParaRPr lang="en-US" altLang="zh-CN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44" name="Content Placeholder 2">
            <a:extLst>
              <a:ext uri="{FF2B5EF4-FFF2-40B4-BE49-F238E27FC236}">
                <a16:creationId xmlns:a16="http://schemas.microsoft.com/office/drawing/2014/main" id="{B7430B74-1CE4-47DE-9935-D3C96694ED95}"/>
              </a:ext>
            </a:extLst>
          </p:cNvPr>
          <p:cNvSpPr txBox="1">
            <a:spLocks/>
          </p:cNvSpPr>
          <p:nvPr/>
        </p:nvSpPr>
        <p:spPr>
          <a:xfrm>
            <a:off x="1914065" y="3763238"/>
            <a:ext cx="3635464" cy="34229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zh-CN"/>
            </a:defPPr>
            <a:lvl1pPr indent="0">
              <a:lnSpc>
                <a:spcPts val="2000"/>
              </a:lnSpc>
              <a:spcBef>
                <a:spcPct val="20000"/>
              </a:spcBef>
              <a:buFont typeface="Arial" pitchFamily="34" charset="0"/>
              <a:buNone/>
              <a:defRPr sz="110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1200">
                <a:solidFill>
                  <a:schemeClr val="bg1">
                    <a:lumMod val="65000"/>
                  </a:schemeClr>
                </a:solidFill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1050">
                <a:solidFill>
                  <a:schemeClr val="bg1">
                    <a:lumMod val="65000"/>
                  </a:schemeClr>
                </a:solidFill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050">
                <a:solidFill>
                  <a:schemeClr val="bg1">
                    <a:lumMod val="65000"/>
                  </a:schemeClr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zh-CN" altLang="en-US" dirty="0">
                <a:latin typeface="+mn-lt"/>
                <a:cs typeface="+mn-ea"/>
                <a:sym typeface="+mn-lt"/>
              </a:rPr>
              <a:t>Please enter a specific description here, the text as simple as possible, the meaning can be, do not have to be too cumbersome, pay attention to the beauty of the layout.</a:t>
            </a:r>
            <a:endParaRPr lang="en-US" altLang="zh-CN" dirty="0">
              <a:latin typeface="+mn-lt"/>
              <a:cs typeface="+mn-ea"/>
              <a:sym typeface="+mn-lt"/>
            </a:endParaRPr>
          </a:p>
        </p:txBody>
      </p:sp>
      <p:sp>
        <p:nvSpPr>
          <p:cNvPr id="45" name="TextBox 6">
            <a:extLst>
              <a:ext uri="{FF2B5EF4-FFF2-40B4-BE49-F238E27FC236}">
                <a16:creationId xmlns:a16="http://schemas.microsoft.com/office/drawing/2014/main" id="{CD114AC0-411F-4FA4-B23E-74F5DD53F5D2}"/>
              </a:ext>
            </a:extLst>
          </p:cNvPr>
          <p:cNvSpPr txBox="1"/>
          <p:nvPr/>
        </p:nvSpPr>
        <p:spPr>
          <a:xfrm>
            <a:off x="1914064" y="4783619"/>
            <a:ext cx="33081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lease enter the title.</a:t>
            </a:r>
            <a:endParaRPr lang="en-US" altLang="zh-CN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46" name="Content Placeholder 2">
            <a:extLst>
              <a:ext uri="{FF2B5EF4-FFF2-40B4-BE49-F238E27FC236}">
                <a16:creationId xmlns:a16="http://schemas.microsoft.com/office/drawing/2014/main" id="{044DB13B-E29C-4D2C-95FC-51B2109E8D89}"/>
              </a:ext>
            </a:extLst>
          </p:cNvPr>
          <p:cNvSpPr txBox="1">
            <a:spLocks/>
          </p:cNvSpPr>
          <p:nvPr/>
        </p:nvSpPr>
        <p:spPr>
          <a:xfrm>
            <a:off x="1914065" y="5145749"/>
            <a:ext cx="3635464" cy="34229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zh-CN"/>
            </a:defPPr>
            <a:lvl1pPr indent="0">
              <a:lnSpc>
                <a:spcPts val="2000"/>
              </a:lnSpc>
              <a:spcBef>
                <a:spcPct val="20000"/>
              </a:spcBef>
              <a:buFont typeface="Arial" pitchFamily="34" charset="0"/>
              <a:buNone/>
              <a:defRPr sz="110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1200">
                <a:solidFill>
                  <a:schemeClr val="bg1">
                    <a:lumMod val="65000"/>
                  </a:schemeClr>
                </a:solidFill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1050">
                <a:solidFill>
                  <a:schemeClr val="bg1">
                    <a:lumMod val="65000"/>
                  </a:schemeClr>
                </a:solidFill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050">
                <a:solidFill>
                  <a:schemeClr val="bg1">
                    <a:lumMod val="65000"/>
                  </a:schemeClr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zh-CN" altLang="en-US" dirty="0">
                <a:latin typeface="+mn-lt"/>
                <a:cs typeface="+mn-ea"/>
                <a:sym typeface="+mn-lt"/>
              </a:rPr>
              <a:t>Please enter a specific description here, the text as simple as possible, the meaning can be, do not have to be too cumbersome, pay attention to the beauty of the layout.</a:t>
            </a:r>
            <a:endParaRPr lang="en-US" altLang="zh-CN" dirty="0">
              <a:latin typeface="+mn-lt"/>
              <a:cs typeface="+mn-ea"/>
              <a:sym typeface="+mn-lt"/>
            </a:endParaRPr>
          </a:p>
        </p:txBody>
      </p:sp>
      <p:sp>
        <p:nvSpPr>
          <p:cNvPr id="47" name="TextBox 6">
            <a:extLst>
              <a:ext uri="{FF2B5EF4-FFF2-40B4-BE49-F238E27FC236}">
                <a16:creationId xmlns:a16="http://schemas.microsoft.com/office/drawing/2014/main" id="{06A855BC-47FB-4D98-85F1-26CDF7AB226C}"/>
              </a:ext>
            </a:extLst>
          </p:cNvPr>
          <p:cNvSpPr txBox="1"/>
          <p:nvPr/>
        </p:nvSpPr>
        <p:spPr>
          <a:xfrm>
            <a:off x="7178299" y="2048992"/>
            <a:ext cx="33081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Enter your title.</a:t>
            </a:r>
            <a:endParaRPr lang="en-US" altLang="zh-CN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48" name="Content Placeholder 2">
            <a:extLst>
              <a:ext uri="{FF2B5EF4-FFF2-40B4-BE49-F238E27FC236}">
                <a16:creationId xmlns:a16="http://schemas.microsoft.com/office/drawing/2014/main" id="{11361E72-5A52-47AA-B2FC-B4628C51D1DE}"/>
              </a:ext>
            </a:extLst>
          </p:cNvPr>
          <p:cNvSpPr txBox="1">
            <a:spLocks/>
          </p:cNvSpPr>
          <p:nvPr/>
        </p:nvSpPr>
        <p:spPr>
          <a:xfrm>
            <a:off x="7178299" y="2394749"/>
            <a:ext cx="3742704" cy="33472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zh-CN"/>
            </a:defPPr>
            <a:lvl1pPr indent="0">
              <a:lnSpc>
                <a:spcPts val="2000"/>
              </a:lnSpc>
              <a:spcBef>
                <a:spcPct val="20000"/>
              </a:spcBef>
              <a:buFont typeface="Arial" pitchFamily="34" charset="0"/>
              <a:buNone/>
              <a:defRPr sz="110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1200">
                <a:solidFill>
                  <a:schemeClr val="bg1">
                    <a:lumMod val="65000"/>
                  </a:schemeClr>
                </a:solidFill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1050">
                <a:solidFill>
                  <a:schemeClr val="bg1">
                    <a:lumMod val="65000"/>
                  </a:schemeClr>
                </a:solidFill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050">
                <a:solidFill>
                  <a:schemeClr val="bg1">
                    <a:lumMod val="65000"/>
                  </a:schemeClr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zh-CN" altLang="en-US" dirty="0">
                <a:latin typeface="+mn-lt"/>
                <a:cs typeface="+mn-ea"/>
                <a:sym typeface="+mn-lt"/>
              </a:rPr>
              <a:t>Please enter a specific description here, the text as simple as possible, the meaning can be, do not have to be too cumbersome, pay attention to the beauty of the layout.</a:t>
            </a:r>
            <a:endParaRPr lang="en-US" altLang="zh-CN" dirty="0">
              <a:latin typeface="+mn-lt"/>
              <a:cs typeface="+mn-ea"/>
              <a:sym typeface="+mn-lt"/>
            </a:endParaRPr>
          </a:p>
        </p:txBody>
      </p:sp>
      <p:sp>
        <p:nvSpPr>
          <p:cNvPr id="49" name="TextBox 6">
            <a:extLst>
              <a:ext uri="{FF2B5EF4-FFF2-40B4-BE49-F238E27FC236}">
                <a16:creationId xmlns:a16="http://schemas.microsoft.com/office/drawing/2014/main" id="{94E1FF65-4D72-4263-BF0D-F80045F5B196}"/>
              </a:ext>
            </a:extLst>
          </p:cNvPr>
          <p:cNvSpPr txBox="1"/>
          <p:nvPr/>
        </p:nvSpPr>
        <p:spPr>
          <a:xfrm>
            <a:off x="7178297" y="3401108"/>
            <a:ext cx="33081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Enter your title.</a:t>
            </a:r>
            <a:endParaRPr lang="en-US" altLang="zh-CN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50" name="Content Placeholder 2">
            <a:extLst>
              <a:ext uri="{FF2B5EF4-FFF2-40B4-BE49-F238E27FC236}">
                <a16:creationId xmlns:a16="http://schemas.microsoft.com/office/drawing/2014/main" id="{1AE21025-7D7A-4539-93B0-28A615163EB2}"/>
              </a:ext>
            </a:extLst>
          </p:cNvPr>
          <p:cNvSpPr txBox="1">
            <a:spLocks/>
          </p:cNvSpPr>
          <p:nvPr/>
        </p:nvSpPr>
        <p:spPr>
          <a:xfrm>
            <a:off x="7178299" y="3770438"/>
            <a:ext cx="3742704" cy="33472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zh-CN"/>
            </a:defPPr>
            <a:lvl1pPr indent="0">
              <a:lnSpc>
                <a:spcPts val="2000"/>
              </a:lnSpc>
              <a:spcBef>
                <a:spcPct val="20000"/>
              </a:spcBef>
              <a:buFont typeface="Arial" pitchFamily="34" charset="0"/>
              <a:buNone/>
              <a:defRPr sz="110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1200">
                <a:solidFill>
                  <a:schemeClr val="bg1">
                    <a:lumMod val="65000"/>
                  </a:schemeClr>
                </a:solidFill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1050">
                <a:solidFill>
                  <a:schemeClr val="bg1">
                    <a:lumMod val="65000"/>
                  </a:schemeClr>
                </a:solidFill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050">
                <a:solidFill>
                  <a:schemeClr val="bg1">
                    <a:lumMod val="65000"/>
                  </a:schemeClr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zh-CN" altLang="en-US" dirty="0">
                <a:latin typeface="+mn-lt"/>
                <a:cs typeface="+mn-ea"/>
                <a:sym typeface="+mn-lt"/>
              </a:rPr>
              <a:t>Please enter a specific description here, the text as simple as possible, the meaning can be, do not have to be too cumbersome, pay attention to the beauty of the layout.</a:t>
            </a:r>
            <a:endParaRPr lang="en-US" altLang="zh-CN" dirty="0">
              <a:latin typeface="+mn-lt"/>
              <a:cs typeface="+mn-ea"/>
              <a:sym typeface="+mn-lt"/>
            </a:endParaRPr>
          </a:p>
        </p:txBody>
      </p:sp>
      <p:sp>
        <p:nvSpPr>
          <p:cNvPr id="51" name="TextBox 6">
            <a:extLst>
              <a:ext uri="{FF2B5EF4-FFF2-40B4-BE49-F238E27FC236}">
                <a16:creationId xmlns:a16="http://schemas.microsoft.com/office/drawing/2014/main" id="{F9D04576-8FBC-43C2-A0EC-CD06774D3D42}"/>
              </a:ext>
            </a:extLst>
          </p:cNvPr>
          <p:cNvSpPr txBox="1"/>
          <p:nvPr/>
        </p:nvSpPr>
        <p:spPr>
          <a:xfrm>
            <a:off x="7178297" y="4783619"/>
            <a:ext cx="33081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Enter your title.</a:t>
            </a:r>
            <a:endParaRPr lang="en-US" altLang="zh-CN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52" name="Content Placeholder 2">
            <a:extLst>
              <a:ext uri="{FF2B5EF4-FFF2-40B4-BE49-F238E27FC236}">
                <a16:creationId xmlns:a16="http://schemas.microsoft.com/office/drawing/2014/main" id="{9C88CFD2-6BB6-4268-A64A-CBD747CA52C8}"/>
              </a:ext>
            </a:extLst>
          </p:cNvPr>
          <p:cNvSpPr txBox="1">
            <a:spLocks/>
          </p:cNvSpPr>
          <p:nvPr/>
        </p:nvSpPr>
        <p:spPr>
          <a:xfrm>
            <a:off x="7178299" y="5129376"/>
            <a:ext cx="3742704" cy="33472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zh-CN"/>
            </a:defPPr>
            <a:lvl1pPr indent="0">
              <a:lnSpc>
                <a:spcPts val="2000"/>
              </a:lnSpc>
              <a:spcBef>
                <a:spcPct val="20000"/>
              </a:spcBef>
              <a:buFont typeface="Arial" pitchFamily="34" charset="0"/>
              <a:buNone/>
              <a:defRPr sz="110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1200">
                <a:solidFill>
                  <a:schemeClr val="bg1">
                    <a:lumMod val="65000"/>
                  </a:schemeClr>
                </a:solidFill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1050">
                <a:solidFill>
                  <a:schemeClr val="bg1">
                    <a:lumMod val="65000"/>
                  </a:schemeClr>
                </a:solidFill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050">
                <a:solidFill>
                  <a:schemeClr val="bg1">
                    <a:lumMod val="65000"/>
                  </a:schemeClr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zh-CN" altLang="en-US" dirty="0">
                <a:latin typeface="+mn-lt"/>
                <a:cs typeface="+mn-ea"/>
                <a:sym typeface="+mn-lt"/>
              </a:rPr>
              <a:t>Please enter a specific description here, the text as simple as possible, the meaning can be, do not have to be too cumbersome, pay attention to the beauty of the layout.</a:t>
            </a:r>
            <a:endParaRPr lang="en-US" altLang="zh-CN" dirty="0">
              <a:latin typeface="+mn-lt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6737006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 advClick="0" advTm="0">
        <p15:prstTrans prst="pageCurlDouble"/>
      </p:transition>
    </mc:Choice>
    <mc:Fallback xmlns:p14="http://schemas.microsoft.com/office/powerpoint/2010/main" xmlns:a14="http://schemas.microsoft.com/office/drawing/2010/main" xmlns:a16="http://schemas.microsoft.com/office/drawing/2014/main"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 tmFilter="0,0; .5, 1; 1, 1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150"/>
                            </p:stCondLst>
                            <p:childTnLst>
                              <p:par>
                                <p:cTn id="21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650"/>
                            </p:stCondLst>
                            <p:childTnLst>
                              <p:par>
                                <p:cTn id="26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100"/>
                            </p:stCondLst>
                            <p:childTnLst>
                              <p:par>
                                <p:cTn id="32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25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25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250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7825"/>
                            </p:stCondLst>
                            <p:childTnLst>
                              <p:par>
                                <p:cTn id="38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8325"/>
                            </p:stCondLst>
                            <p:childTnLst>
                              <p:par>
                                <p:cTn id="4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9525"/>
                            </p:stCondLst>
                            <p:childTnLst>
                              <p:par>
                                <p:cTn id="4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250" fill="hold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250" fill="hold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25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3250"/>
                            </p:stCondLst>
                            <p:childTnLst>
                              <p:par>
                                <p:cTn id="5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13750"/>
                            </p:stCondLst>
                            <p:childTnLst>
                              <p:par>
                                <p:cTn id="6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15200"/>
                            </p:stCondLst>
                            <p:childTnLst>
                              <p:par>
                                <p:cTn id="66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8" dur="25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25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0" dur="25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18925"/>
                            </p:stCondLst>
                            <p:childTnLst>
                              <p:par>
                                <p:cTn id="72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19425"/>
                            </p:stCondLst>
                            <p:childTnLst>
                              <p:par>
                                <p:cTn id="7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20625"/>
                            </p:stCondLst>
                            <p:childTnLst>
                              <p:par>
                                <p:cTn id="8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5" dur="25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25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7" dur="25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24350"/>
                            </p:stCondLst>
                            <p:childTnLst>
                              <p:par>
                                <p:cTn id="89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3" fill="hold">
                            <p:stCondLst>
                              <p:cond delay="24850"/>
                            </p:stCondLst>
                            <p:childTnLst>
                              <p:par>
                                <p:cTn id="9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6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26300"/>
                            </p:stCondLst>
                            <p:childTnLst>
                              <p:par>
                                <p:cTn id="10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2" dur="250" fill="hold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250" fill="hold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4" dur="250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5" fill="hold">
                            <p:stCondLst>
                              <p:cond delay="30025"/>
                            </p:stCondLst>
                            <p:childTnLst>
                              <p:par>
                                <p:cTn id="106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0" fill="hold">
                            <p:stCondLst>
                              <p:cond delay="30525"/>
                            </p:stCondLst>
                            <p:childTnLst>
                              <p:par>
                                <p:cTn id="1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3" dur="500" fill="hold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4" dur="500" fill="hold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5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>
                            <p:stCondLst>
                              <p:cond delay="31725"/>
                            </p:stCondLst>
                            <p:childTnLst>
                              <p:par>
                                <p:cTn id="11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9" dur="250" fill="hold"/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250" fill="hold"/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1" dur="250"/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31" grpId="0" build="p"/>
      <p:bldP spid="32" grpId="0" build="p"/>
      <p:bldP spid="33" grpId="0" animBg="1"/>
      <p:bldP spid="34" grpId="0" animBg="1"/>
      <p:bldP spid="35" grpId="0" animBg="1"/>
      <p:bldP spid="36" grpId="0" animBg="1"/>
      <p:bldP spid="41" grpId="0" animBg="1"/>
      <p:bldP spid="42" grpId="0" animBg="1"/>
      <p:bldP spid="43" grpId="0" build="p"/>
      <p:bldP spid="44" grpId="0" build="p"/>
      <p:bldP spid="45" grpId="0" build="p"/>
      <p:bldP spid="46" grpId="0" build="p"/>
      <p:bldP spid="47" grpId="0" build="p"/>
      <p:bldP spid="48" grpId="0" build="p"/>
      <p:bldP spid="49" grpId="0" build="p"/>
      <p:bldP spid="50" grpId="0" build="p"/>
      <p:bldP spid="51" grpId="0" build="p"/>
      <p:bldP spid="52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B3643088-BADE-4B2C-8D16-84C355AB002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0"/>
            <a:ext cx="12202211" cy="6858000"/>
          </a:xfrm>
          <a:prstGeom prst="rect">
            <a:avLst/>
          </a:prstGeom>
          <a:ln>
            <a:noFill/>
          </a:ln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87218F93-96F9-462F-BAFB-7E145859AED0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 flipH="1">
            <a:off x="99171" y="-99171"/>
            <a:ext cx="1058956" cy="1257300"/>
          </a:xfrm>
          <a:prstGeom prst="rect">
            <a:avLst/>
          </a:prstGeom>
        </p:spPr>
      </p:pic>
      <p:sp>
        <p:nvSpPr>
          <p:cNvPr id="8" name="TextBox 18">
            <a:extLst>
              <a:ext uri="{FF2B5EF4-FFF2-40B4-BE49-F238E27FC236}">
                <a16:creationId xmlns:a16="http://schemas.microsoft.com/office/drawing/2014/main" id="{EC3E81A0-9853-4F50-A63A-07CECD490F96}"/>
              </a:ext>
            </a:extLst>
          </p:cNvPr>
          <p:cNvSpPr txBox="1"/>
          <p:nvPr/>
        </p:nvSpPr>
        <p:spPr>
          <a:xfrm>
            <a:off x="1367227" y="80984"/>
            <a:ext cx="27918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spc="4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ART3</a:t>
            </a:r>
            <a:endParaRPr lang="zh-CN" altLang="en-US" sz="2400" b="1" spc="4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grpSp>
        <p:nvGrpSpPr>
          <p:cNvPr id="6" name="Group 74">
            <a:extLst>
              <a:ext uri="{FF2B5EF4-FFF2-40B4-BE49-F238E27FC236}">
                <a16:creationId xmlns:a16="http://schemas.microsoft.com/office/drawing/2014/main" id="{73DBA593-F111-487A-9B12-47E872D58553}"/>
              </a:ext>
            </a:extLst>
          </p:cNvPr>
          <p:cNvGrpSpPr>
            <a:grpSpLocks/>
          </p:cNvGrpSpPr>
          <p:nvPr/>
        </p:nvGrpSpPr>
        <p:grpSpPr bwMode="auto">
          <a:xfrm>
            <a:off x="-10582" y="3113219"/>
            <a:ext cx="12213167" cy="1670050"/>
            <a:chOff x="-6" y="2007"/>
            <a:chExt cx="5770" cy="789"/>
          </a:xfrm>
          <a:effectLst/>
        </p:grpSpPr>
        <p:sp>
          <p:nvSpPr>
            <p:cNvPr id="10" name="Line 75">
              <a:extLst>
                <a:ext uri="{FF2B5EF4-FFF2-40B4-BE49-F238E27FC236}">
                  <a16:creationId xmlns:a16="http://schemas.microsoft.com/office/drawing/2014/main" id="{66EAC238-BB3C-4C62-ADEA-A0B401F72CA4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-6" y="2405"/>
              <a:ext cx="652" cy="0"/>
            </a:xfrm>
            <a:prstGeom prst="line">
              <a:avLst/>
            </a:prstGeom>
            <a:noFill/>
            <a:ln w="76200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3200">
                <a:cs typeface="+mn-ea"/>
                <a:sym typeface="+mn-lt"/>
              </a:endParaRPr>
            </a:p>
          </p:txBody>
        </p:sp>
        <p:sp>
          <p:nvSpPr>
            <p:cNvPr id="11" name="Line 76">
              <a:extLst>
                <a:ext uri="{FF2B5EF4-FFF2-40B4-BE49-F238E27FC236}">
                  <a16:creationId xmlns:a16="http://schemas.microsoft.com/office/drawing/2014/main" id="{B68F1C3E-4346-4F4A-BC9A-CD42A4BC66ED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3845" y="2405"/>
              <a:ext cx="500" cy="0"/>
            </a:xfrm>
            <a:prstGeom prst="line">
              <a:avLst/>
            </a:prstGeom>
            <a:noFill/>
            <a:ln w="76200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3200">
                <a:cs typeface="+mn-ea"/>
                <a:sym typeface="+mn-lt"/>
              </a:endParaRPr>
            </a:p>
          </p:txBody>
        </p:sp>
        <p:sp>
          <p:nvSpPr>
            <p:cNvPr id="12" name="Arc 77">
              <a:extLst>
                <a:ext uri="{FF2B5EF4-FFF2-40B4-BE49-F238E27FC236}">
                  <a16:creationId xmlns:a16="http://schemas.microsoft.com/office/drawing/2014/main" id="{53E28F1B-B7D1-4ED0-BF2E-0F4189D5EC33}"/>
                </a:ext>
              </a:extLst>
            </p:cNvPr>
            <p:cNvSpPr>
              <a:spLocks/>
            </p:cNvSpPr>
            <p:nvPr/>
          </p:nvSpPr>
          <p:spPr bwMode="gray">
            <a:xfrm rot="16200000" flipV="1">
              <a:off x="2052" y="1833"/>
              <a:ext cx="412" cy="769"/>
            </a:xfrm>
            <a:custGeom>
              <a:avLst/>
              <a:gdLst>
                <a:gd name="T0" fmla="*/ 0 w 22794"/>
                <a:gd name="T1" fmla="*/ 0 h 43200"/>
                <a:gd name="T2" fmla="*/ 0 w 22794"/>
                <a:gd name="T3" fmla="*/ 14 h 43200"/>
                <a:gd name="T4" fmla="*/ 0 w 22794"/>
                <a:gd name="T5" fmla="*/ 7 h 43200"/>
                <a:gd name="T6" fmla="*/ 0 60000 65536"/>
                <a:gd name="T7" fmla="*/ 0 60000 65536"/>
                <a:gd name="T8" fmla="*/ 0 60000 65536"/>
                <a:gd name="T9" fmla="*/ 0 w 22794"/>
                <a:gd name="T10" fmla="*/ 0 h 43200"/>
                <a:gd name="T11" fmla="*/ 22794 w 22794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2794" h="43200" fill="none" extrusionOk="0">
                  <a:moveTo>
                    <a:pt x="749" y="4"/>
                  </a:moveTo>
                  <a:cubicBezTo>
                    <a:pt x="897" y="1"/>
                    <a:pt x="1045" y="-1"/>
                    <a:pt x="1194" y="0"/>
                  </a:cubicBezTo>
                  <a:cubicBezTo>
                    <a:pt x="13123" y="0"/>
                    <a:pt x="22794" y="9670"/>
                    <a:pt x="22794" y="21600"/>
                  </a:cubicBezTo>
                  <a:cubicBezTo>
                    <a:pt x="22794" y="33529"/>
                    <a:pt x="13123" y="43200"/>
                    <a:pt x="1194" y="43200"/>
                  </a:cubicBezTo>
                  <a:cubicBezTo>
                    <a:pt x="795" y="43200"/>
                    <a:pt x="397" y="43188"/>
                    <a:pt x="0" y="43166"/>
                  </a:cubicBezTo>
                </a:path>
                <a:path w="22794" h="43200" stroke="0" extrusionOk="0">
                  <a:moveTo>
                    <a:pt x="749" y="4"/>
                  </a:moveTo>
                  <a:cubicBezTo>
                    <a:pt x="897" y="1"/>
                    <a:pt x="1045" y="-1"/>
                    <a:pt x="1194" y="0"/>
                  </a:cubicBezTo>
                  <a:cubicBezTo>
                    <a:pt x="13123" y="0"/>
                    <a:pt x="22794" y="9670"/>
                    <a:pt x="22794" y="21600"/>
                  </a:cubicBezTo>
                  <a:cubicBezTo>
                    <a:pt x="22794" y="33529"/>
                    <a:pt x="13123" y="43200"/>
                    <a:pt x="1194" y="43200"/>
                  </a:cubicBezTo>
                  <a:cubicBezTo>
                    <a:pt x="795" y="43200"/>
                    <a:pt x="397" y="43188"/>
                    <a:pt x="0" y="43166"/>
                  </a:cubicBezTo>
                  <a:lnTo>
                    <a:pt x="1194" y="21600"/>
                  </a:lnTo>
                  <a:lnTo>
                    <a:pt x="749" y="4"/>
                  </a:lnTo>
                  <a:close/>
                </a:path>
              </a:pathLst>
            </a:custGeom>
            <a:noFill/>
            <a:ln w="76200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zh-CN" altLang="en-US" sz="3200">
                <a:cs typeface="+mn-ea"/>
                <a:sym typeface="+mn-lt"/>
              </a:endParaRPr>
            </a:p>
          </p:txBody>
        </p:sp>
        <p:sp>
          <p:nvSpPr>
            <p:cNvPr id="13" name="Arc 78">
              <a:extLst>
                <a:ext uri="{FF2B5EF4-FFF2-40B4-BE49-F238E27FC236}">
                  <a16:creationId xmlns:a16="http://schemas.microsoft.com/office/drawing/2014/main" id="{61CF9C2E-E933-4DAE-ABE6-82DF2BD59ABF}"/>
                </a:ext>
              </a:extLst>
            </p:cNvPr>
            <p:cNvSpPr>
              <a:spLocks/>
            </p:cNvSpPr>
            <p:nvPr/>
          </p:nvSpPr>
          <p:spPr bwMode="gray">
            <a:xfrm rot="16200000" flipV="1">
              <a:off x="4503" y="1831"/>
              <a:ext cx="418" cy="769"/>
            </a:xfrm>
            <a:custGeom>
              <a:avLst/>
              <a:gdLst>
                <a:gd name="T0" fmla="*/ 0 w 22794"/>
                <a:gd name="T1" fmla="*/ 0 h 43200"/>
                <a:gd name="T2" fmla="*/ 0 w 22794"/>
                <a:gd name="T3" fmla="*/ 14 h 43200"/>
                <a:gd name="T4" fmla="*/ 0 w 22794"/>
                <a:gd name="T5" fmla="*/ 7 h 43200"/>
                <a:gd name="T6" fmla="*/ 0 60000 65536"/>
                <a:gd name="T7" fmla="*/ 0 60000 65536"/>
                <a:gd name="T8" fmla="*/ 0 60000 65536"/>
                <a:gd name="T9" fmla="*/ 0 w 22794"/>
                <a:gd name="T10" fmla="*/ 0 h 43200"/>
                <a:gd name="T11" fmla="*/ 22794 w 22794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2794" h="43200" fill="none" extrusionOk="0">
                  <a:moveTo>
                    <a:pt x="749" y="4"/>
                  </a:moveTo>
                  <a:cubicBezTo>
                    <a:pt x="897" y="1"/>
                    <a:pt x="1045" y="-1"/>
                    <a:pt x="1194" y="0"/>
                  </a:cubicBezTo>
                  <a:cubicBezTo>
                    <a:pt x="13123" y="0"/>
                    <a:pt x="22794" y="9670"/>
                    <a:pt x="22794" y="21600"/>
                  </a:cubicBezTo>
                  <a:cubicBezTo>
                    <a:pt x="22794" y="33529"/>
                    <a:pt x="13123" y="43200"/>
                    <a:pt x="1194" y="43200"/>
                  </a:cubicBezTo>
                  <a:cubicBezTo>
                    <a:pt x="795" y="43200"/>
                    <a:pt x="397" y="43188"/>
                    <a:pt x="0" y="43166"/>
                  </a:cubicBezTo>
                </a:path>
                <a:path w="22794" h="43200" stroke="0" extrusionOk="0">
                  <a:moveTo>
                    <a:pt x="749" y="4"/>
                  </a:moveTo>
                  <a:cubicBezTo>
                    <a:pt x="897" y="1"/>
                    <a:pt x="1045" y="-1"/>
                    <a:pt x="1194" y="0"/>
                  </a:cubicBezTo>
                  <a:cubicBezTo>
                    <a:pt x="13123" y="0"/>
                    <a:pt x="22794" y="9670"/>
                    <a:pt x="22794" y="21600"/>
                  </a:cubicBezTo>
                  <a:cubicBezTo>
                    <a:pt x="22794" y="33529"/>
                    <a:pt x="13123" y="43200"/>
                    <a:pt x="1194" y="43200"/>
                  </a:cubicBezTo>
                  <a:cubicBezTo>
                    <a:pt x="795" y="43200"/>
                    <a:pt x="397" y="43188"/>
                    <a:pt x="0" y="43166"/>
                  </a:cubicBezTo>
                  <a:lnTo>
                    <a:pt x="1194" y="21600"/>
                  </a:lnTo>
                  <a:lnTo>
                    <a:pt x="749" y="4"/>
                  </a:lnTo>
                  <a:close/>
                </a:path>
              </a:pathLst>
            </a:custGeom>
            <a:noFill/>
            <a:ln w="76200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zh-CN" altLang="en-US" sz="3200">
                <a:cs typeface="+mn-ea"/>
                <a:sym typeface="+mn-lt"/>
              </a:endParaRPr>
            </a:p>
          </p:txBody>
        </p:sp>
        <p:sp>
          <p:nvSpPr>
            <p:cNvPr id="14" name="Line 79">
              <a:extLst>
                <a:ext uri="{FF2B5EF4-FFF2-40B4-BE49-F238E27FC236}">
                  <a16:creationId xmlns:a16="http://schemas.microsoft.com/office/drawing/2014/main" id="{11AEE6BD-6296-4756-A5F7-6CFBEAE4AC1D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2625" y="2405"/>
              <a:ext cx="487" cy="0"/>
            </a:xfrm>
            <a:prstGeom prst="line">
              <a:avLst/>
            </a:prstGeom>
            <a:noFill/>
            <a:ln w="76200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3200">
                <a:cs typeface="+mn-ea"/>
                <a:sym typeface="+mn-lt"/>
              </a:endParaRPr>
            </a:p>
          </p:txBody>
        </p:sp>
        <p:sp>
          <p:nvSpPr>
            <p:cNvPr id="15" name="Arc 80">
              <a:extLst>
                <a:ext uri="{FF2B5EF4-FFF2-40B4-BE49-F238E27FC236}">
                  <a16:creationId xmlns:a16="http://schemas.microsoft.com/office/drawing/2014/main" id="{0CF5EAB3-C112-4AEE-B2CF-951ECE9E40E0}"/>
                </a:ext>
              </a:extLst>
            </p:cNvPr>
            <p:cNvSpPr>
              <a:spLocks/>
            </p:cNvSpPr>
            <p:nvPr/>
          </p:nvSpPr>
          <p:spPr bwMode="gray">
            <a:xfrm rot="5400000">
              <a:off x="3278" y="2211"/>
              <a:ext cx="400" cy="769"/>
            </a:xfrm>
            <a:custGeom>
              <a:avLst/>
              <a:gdLst>
                <a:gd name="T0" fmla="*/ 0 w 22794"/>
                <a:gd name="T1" fmla="*/ 0 h 43200"/>
                <a:gd name="T2" fmla="*/ 0 w 22794"/>
                <a:gd name="T3" fmla="*/ 14 h 43200"/>
                <a:gd name="T4" fmla="*/ 0 w 22794"/>
                <a:gd name="T5" fmla="*/ 7 h 43200"/>
                <a:gd name="T6" fmla="*/ 0 60000 65536"/>
                <a:gd name="T7" fmla="*/ 0 60000 65536"/>
                <a:gd name="T8" fmla="*/ 0 60000 65536"/>
                <a:gd name="T9" fmla="*/ 0 w 22794"/>
                <a:gd name="T10" fmla="*/ 0 h 43200"/>
                <a:gd name="T11" fmla="*/ 22794 w 22794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2794" h="43200" fill="none" extrusionOk="0">
                  <a:moveTo>
                    <a:pt x="749" y="4"/>
                  </a:moveTo>
                  <a:cubicBezTo>
                    <a:pt x="897" y="1"/>
                    <a:pt x="1045" y="-1"/>
                    <a:pt x="1194" y="0"/>
                  </a:cubicBezTo>
                  <a:cubicBezTo>
                    <a:pt x="13123" y="0"/>
                    <a:pt x="22794" y="9670"/>
                    <a:pt x="22794" y="21600"/>
                  </a:cubicBezTo>
                  <a:cubicBezTo>
                    <a:pt x="22794" y="33529"/>
                    <a:pt x="13123" y="43200"/>
                    <a:pt x="1194" y="43200"/>
                  </a:cubicBezTo>
                  <a:cubicBezTo>
                    <a:pt x="795" y="43200"/>
                    <a:pt x="397" y="43188"/>
                    <a:pt x="0" y="43166"/>
                  </a:cubicBezTo>
                </a:path>
                <a:path w="22794" h="43200" stroke="0" extrusionOk="0">
                  <a:moveTo>
                    <a:pt x="749" y="4"/>
                  </a:moveTo>
                  <a:cubicBezTo>
                    <a:pt x="897" y="1"/>
                    <a:pt x="1045" y="-1"/>
                    <a:pt x="1194" y="0"/>
                  </a:cubicBezTo>
                  <a:cubicBezTo>
                    <a:pt x="13123" y="0"/>
                    <a:pt x="22794" y="9670"/>
                    <a:pt x="22794" y="21600"/>
                  </a:cubicBezTo>
                  <a:cubicBezTo>
                    <a:pt x="22794" y="33529"/>
                    <a:pt x="13123" y="43200"/>
                    <a:pt x="1194" y="43200"/>
                  </a:cubicBezTo>
                  <a:cubicBezTo>
                    <a:pt x="795" y="43200"/>
                    <a:pt x="397" y="43188"/>
                    <a:pt x="0" y="43166"/>
                  </a:cubicBezTo>
                  <a:lnTo>
                    <a:pt x="1194" y="21600"/>
                  </a:lnTo>
                  <a:lnTo>
                    <a:pt x="749" y="4"/>
                  </a:lnTo>
                  <a:close/>
                </a:path>
              </a:pathLst>
            </a:custGeom>
            <a:noFill/>
            <a:ln w="76200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zh-CN" altLang="en-US" sz="3200">
                <a:cs typeface="+mn-ea"/>
                <a:sym typeface="+mn-lt"/>
              </a:endParaRPr>
            </a:p>
          </p:txBody>
        </p:sp>
        <p:sp>
          <p:nvSpPr>
            <p:cNvPr id="16" name="Line 81">
              <a:extLst>
                <a:ext uri="{FF2B5EF4-FFF2-40B4-BE49-F238E27FC236}">
                  <a16:creationId xmlns:a16="http://schemas.microsoft.com/office/drawing/2014/main" id="{B4C3907C-A806-46A3-BEBF-17D1B97F0779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5081" y="2405"/>
              <a:ext cx="683" cy="0"/>
            </a:xfrm>
            <a:prstGeom prst="line">
              <a:avLst/>
            </a:prstGeom>
            <a:noFill/>
            <a:ln w="76200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3200">
                <a:cs typeface="+mn-ea"/>
                <a:sym typeface="+mn-lt"/>
              </a:endParaRPr>
            </a:p>
          </p:txBody>
        </p:sp>
        <p:sp>
          <p:nvSpPr>
            <p:cNvPr id="17" name="Line 82">
              <a:extLst>
                <a:ext uri="{FF2B5EF4-FFF2-40B4-BE49-F238E27FC236}">
                  <a16:creationId xmlns:a16="http://schemas.microsoft.com/office/drawing/2014/main" id="{25B8E88B-8F0A-4143-84F2-809AF67D64B0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1382" y="2405"/>
              <a:ext cx="509" cy="0"/>
            </a:xfrm>
            <a:prstGeom prst="line">
              <a:avLst/>
            </a:prstGeom>
            <a:noFill/>
            <a:ln w="76200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 sz="3200">
                <a:cs typeface="+mn-ea"/>
                <a:sym typeface="+mn-lt"/>
              </a:endParaRPr>
            </a:p>
          </p:txBody>
        </p:sp>
        <p:sp>
          <p:nvSpPr>
            <p:cNvPr id="18" name="Arc 83">
              <a:extLst>
                <a:ext uri="{FF2B5EF4-FFF2-40B4-BE49-F238E27FC236}">
                  <a16:creationId xmlns:a16="http://schemas.microsoft.com/office/drawing/2014/main" id="{61D6FFE7-54AC-4A49-B263-EA98B9D48F04}"/>
                </a:ext>
              </a:extLst>
            </p:cNvPr>
            <p:cNvSpPr>
              <a:spLocks/>
            </p:cNvSpPr>
            <p:nvPr/>
          </p:nvSpPr>
          <p:spPr bwMode="gray">
            <a:xfrm rot="5400000">
              <a:off x="815" y="2211"/>
              <a:ext cx="400" cy="769"/>
            </a:xfrm>
            <a:custGeom>
              <a:avLst/>
              <a:gdLst>
                <a:gd name="T0" fmla="*/ 0 w 22794"/>
                <a:gd name="T1" fmla="*/ 0 h 43200"/>
                <a:gd name="T2" fmla="*/ 0 w 22794"/>
                <a:gd name="T3" fmla="*/ 14 h 43200"/>
                <a:gd name="T4" fmla="*/ 0 w 22794"/>
                <a:gd name="T5" fmla="*/ 7 h 43200"/>
                <a:gd name="T6" fmla="*/ 0 60000 65536"/>
                <a:gd name="T7" fmla="*/ 0 60000 65536"/>
                <a:gd name="T8" fmla="*/ 0 60000 65536"/>
                <a:gd name="T9" fmla="*/ 0 w 22794"/>
                <a:gd name="T10" fmla="*/ 0 h 43200"/>
                <a:gd name="T11" fmla="*/ 22794 w 22794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2794" h="43200" fill="none" extrusionOk="0">
                  <a:moveTo>
                    <a:pt x="749" y="4"/>
                  </a:moveTo>
                  <a:cubicBezTo>
                    <a:pt x="897" y="1"/>
                    <a:pt x="1045" y="-1"/>
                    <a:pt x="1194" y="0"/>
                  </a:cubicBezTo>
                  <a:cubicBezTo>
                    <a:pt x="13123" y="0"/>
                    <a:pt x="22794" y="9670"/>
                    <a:pt x="22794" y="21600"/>
                  </a:cubicBezTo>
                  <a:cubicBezTo>
                    <a:pt x="22794" y="33529"/>
                    <a:pt x="13123" y="43200"/>
                    <a:pt x="1194" y="43200"/>
                  </a:cubicBezTo>
                  <a:cubicBezTo>
                    <a:pt x="795" y="43200"/>
                    <a:pt x="397" y="43188"/>
                    <a:pt x="0" y="43166"/>
                  </a:cubicBezTo>
                </a:path>
                <a:path w="22794" h="43200" stroke="0" extrusionOk="0">
                  <a:moveTo>
                    <a:pt x="749" y="4"/>
                  </a:moveTo>
                  <a:cubicBezTo>
                    <a:pt x="897" y="1"/>
                    <a:pt x="1045" y="-1"/>
                    <a:pt x="1194" y="0"/>
                  </a:cubicBezTo>
                  <a:cubicBezTo>
                    <a:pt x="13123" y="0"/>
                    <a:pt x="22794" y="9670"/>
                    <a:pt x="22794" y="21600"/>
                  </a:cubicBezTo>
                  <a:cubicBezTo>
                    <a:pt x="22794" y="33529"/>
                    <a:pt x="13123" y="43200"/>
                    <a:pt x="1194" y="43200"/>
                  </a:cubicBezTo>
                  <a:cubicBezTo>
                    <a:pt x="795" y="43200"/>
                    <a:pt x="397" y="43188"/>
                    <a:pt x="0" y="43166"/>
                  </a:cubicBezTo>
                  <a:lnTo>
                    <a:pt x="1194" y="21600"/>
                  </a:lnTo>
                  <a:lnTo>
                    <a:pt x="749" y="4"/>
                  </a:lnTo>
                  <a:close/>
                </a:path>
              </a:pathLst>
            </a:custGeom>
            <a:noFill/>
            <a:ln w="76200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zh-CN" altLang="en-US" sz="3200">
                <a:cs typeface="+mn-ea"/>
                <a:sym typeface="+mn-lt"/>
              </a:endParaRPr>
            </a:p>
          </p:txBody>
        </p:sp>
      </p:grpSp>
      <p:grpSp>
        <p:nvGrpSpPr>
          <p:cNvPr id="19" name="组合 18">
            <a:extLst>
              <a:ext uri="{FF2B5EF4-FFF2-40B4-BE49-F238E27FC236}">
                <a16:creationId xmlns:a16="http://schemas.microsoft.com/office/drawing/2014/main" id="{42C534EA-B839-4E13-B26E-C070E0F0C3BD}"/>
              </a:ext>
            </a:extLst>
          </p:cNvPr>
          <p:cNvGrpSpPr/>
          <p:nvPr/>
        </p:nvGrpSpPr>
        <p:grpSpPr>
          <a:xfrm>
            <a:off x="1028075" y="3130603"/>
            <a:ext cx="2092023" cy="1656184"/>
            <a:chOff x="815236" y="1059582"/>
            <a:chExt cx="2092022" cy="1656184"/>
          </a:xfrm>
        </p:grpSpPr>
        <p:graphicFrame>
          <p:nvGraphicFramePr>
            <p:cNvPr id="20" name="Chart Placeholder 8">
              <a:extLst>
                <a:ext uri="{FF2B5EF4-FFF2-40B4-BE49-F238E27FC236}">
                  <a16:creationId xmlns:a16="http://schemas.microsoft.com/office/drawing/2014/main" id="{E2229F2E-B8BF-4A09-AC2B-8156BA835613}"/>
                </a:ext>
              </a:extLst>
            </p:cNvPr>
            <p:cNvGraphicFramePr>
              <a:graphicFrameLocks/>
            </p:cNvGraphicFramePr>
            <p:nvPr>
              <p:custDataLst>
                <p:tags r:id="rId4"/>
              </p:custDataLst>
              <p:extLst>
                <p:ext uri="{D42A27DB-BD31-4B8C-83A1-F6EECF244321}">
                  <p14:modId xmlns:p14="http://schemas.microsoft.com/office/powerpoint/2010/main" val="3548455258"/>
                </p:ext>
              </p:extLst>
            </p:nvPr>
          </p:nvGraphicFramePr>
          <p:xfrm>
            <a:off x="815236" y="1059582"/>
            <a:ext cx="2092022" cy="165618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9"/>
            </a:graphicData>
          </a:graphic>
        </p:graphicFrame>
        <p:sp>
          <p:nvSpPr>
            <p:cNvPr id="21" name="矩形 20">
              <a:extLst>
                <a:ext uri="{FF2B5EF4-FFF2-40B4-BE49-F238E27FC236}">
                  <a16:creationId xmlns:a16="http://schemas.microsoft.com/office/drawing/2014/main" id="{4D733030-4E17-4332-8946-606DE531A01F}"/>
                </a:ext>
              </a:extLst>
            </p:cNvPr>
            <p:cNvSpPr/>
            <p:nvPr/>
          </p:nvSpPr>
          <p:spPr>
            <a:xfrm>
              <a:off x="1492394" y="1599474"/>
              <a:ext cx="904414" cy="523220"/>
            </a:xfrm>
            <a:prstGeom prst="rect">
              <a:avLst/>
            </a:prstGeom>
            <a:ln>
              <a:noFill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2800" b="1" dirty="0">
                  <a:solidFill>
                    <a:schemeClr val="bg1">
                      <a:lumMod val="50000"/>
                    </a:schemeClr>
                  </a:solidFill>
                  <a:cs typeface="+mn-ea"/>
                  <a:sym typeface="+mn-lt"/>
                </a:rPr>
                <a:t>20%</a:t>
              </a:r>
              <a:endParaRPr lang="zh-CN" altLang="en-US" sz="2800" b="1" dirty="0">
                <a:solidFill>
                  <a:schemeClr val="bg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22" name="组合 21">
            <a:extLst>
              <a:ext uri="{FF2B5EF4-FFF2-40B4-BE49-F238E27FC236}">
                <a16:creationId xmlns:a16="http://schemas.microsoft.com/office/drawing/2014/main" id="{687A6317-BCA4-41EA-BCE0-AE5065B387C4}"/>
              </a:ext>
            </a:extLst>
          </p:cNvPr>
          <p:cNvGrpSpPr/>
          <p:nvPr/>
        </p:nvGrpSpPr>
        <p:grpSpPr>
          <a:xfrm>
            <a:off x="3664701" y="3111170"/>
            <a:ext cx="2092023" cy="1656184"/>
            <a:chOff x="3447279" y="1059582"/>
            <a:chExt cx="2092022" cy="1656184"/>
          </a:xfrm>
        </p:grpSpPr>
        <p:graphicFrame>
          <p:nvGraphicFramePr>
            <p:cNvPr id="23" name="Chart Placeholder 8">
              <a:extLst>
                <a:ext uri="{FF2B5EF4-FFF2-40B4-BE49-F238E27FC236}">
                  <a16:creationId xmlns:a16="http://schemas.microsoft.com/office/drawing/2014/main" id="{D29E933F-F7D7-427D-ADA9-F1E4E6D37FBB}"/>
                </a:ext>
              </a:extLst>
            </p:cNvPr>
            <p:cNvGraphicFramePr>
              <a:graphicFrameLocks/>
            </p:cNvGraphicFramePr>
            <p:nvPr>
              <p:custDataLst>
                <p:tags r:id="rId3"/>
              </p:custDataLst>
              <p:extLst>
                <p:ext uri="{D42A27DB-BD31-4B8C-83A1-F6EECF244321}">
                  <p14:modId xmlns:p14="http://schemas.microsoft.com/office/powerpoint/2010/main" val="1949213427"/>
                </p:ext>
              </p:extLst>
            </p:nvPr>
          </p:nvGraphicFramePr>
          <p:xfrm>
            <a:off x="3447279" y="1059582"/>
            <a:ext cx="2092022" cy="165618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0"/>
            </a:graphicData>
          </a:graphic>
        </p:graphicFrame>
        <p:sp>
          <p:nvSpPr>
            <p:cNvPr id="24" name="矩形 23">
              <a:extLst>
                <a:ext uri="{FF2B5EF4-FFF2-40B4-BE49-F238E27FC236}">
                  <a16:creationId xmlns:a16="http://schemas.microsoft.com/office/drawing/2014/main" id="{0998A3A1-3F45-4537-AF10-DC1B89F7F9F5}"/>
                </a:ext>
              </a:extLst>
            </p:cNvPr>
            <p:cNvSpPr/>
            <p:nvPr/>
          </p:nvSpPr>
          <p:spPr>
            <a:xfrm>
              <a:off x="4112490" y="1599472"/>
              <a:ext cx="904414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2800" b="1" dirty="0">
                  <a:solidFill>
                    <a:schemeClr val="bg1">
                      <a:lumMod val="50000"/>
                    </a:schemeClr>
                  </a:solidFill>
                  <a:cs typeface="+mn-ea"/>
                  <a:sym typeface="+mn-lt"/>
                </a:rPr>
                <a:t>40%</a:t>
              </a:r>
              <a:endParaRPr lang="zh-CN" altLang="en-US" sz="2800" b="1" dirty="0">
                <a:solidFill>
                  <a:schemeClr val="bg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25" name="组合 24">
            <a:extLst>
              <a:ext uri="{FF2B5EF4-FFF2-40B4-BE49-F238E27FC236}">
                <a16:creationId xmlns:a16="http://schemas.microsoft.com/office/drawing/2014/main" id="{2FD3E336-3FC4-4F0E-AF63-12B1862B2296}"/>
              </a:ext>
            </a:extLst>
          </p:cNvPr>
          <p:cNvGrpSpPr/>
          <p:nvPr/>
        </p:nvGrpSpPr>
        <p:grpSpPr>
          <a:xfrm>
            <a:off x="6255026" y="3130878"/>
            <a:ext cx="2092023" cy="1656184"/>
            <a:chOff x="6019033" y="1059582"/>
            <a:chExt cx="2092022" cy="1656184"/>
          </a:xfrm>
        </p:grpSpPr>
        <p:graphicFrame>
          <p:nvGraphicFramePr>
            <p:cNvPr id="26" name="Chart Placeholder 8">
              <a:extLst>
                <a:ext uri="{FF2B5EF4-FFF2-40B4-BE49-F238E27FC236}">
                  <a16:creationId xmlns:a16="http://schemas.microsoft.com/office/drawing/2014/main" id="{CEA1C72C-346A-4529-9581-0CCCF0059C01}"/>
                </a:ext>
              </a:extLst>
            </p:cNvPr>
            <p:cNvGraphicFramePr>
              <a:graphicFrameLocks/>
            </p:cNvGraphicFramePr>
            <p:nvPr>
              <p:custDataLst>
                <p:tags r:id="rId2"/>
              </p:custDataLst>
              <p:extLst>
                <p:ext uri="{D42A27DB-BD31-4B8C-83A1-F6EECF244321}">
                  <p14:modId xmlns:p14="http://schemas.microsoft.com/office/powerpoint/2010/main" val="188668585"/>
                </p:ext>
              </p:extLst>
            </p:nvPr>
          </p:nvGraphicFramePr>
          <p:xfrm>
            <a:off x="6019033" y="1059582"/>
            <a:ext cx="2092022" cy="165618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1"/>
            </a:graphicData>
          </a:graphic>
        </p:graphicFrame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DC53F29C-72AF-429A-BFC6-D7CE39409F29}"/>
                </a:ext>
              </a:extLst>
            </p:cNvPr>
            <p:cNvSpPr/>
            <p:nvPr/>
          </p:nvSpPr>
          <p:spPr>
            <a:xfrm>
              <a:off x="6706239" y="1599473"/>
              <a:ext cx="904414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2800" b="1" dirty="0">
                  <a:solidFill>
                    <a:schemeClr val="bg1">
                      <a:lumMod val="50000"/>
                    </a:schemeClr>
                  </a:solidFill>
                  <a:cs typeface="+mn-ea"/>
                  <a:sym typeface="+mn-lt"/>
                </a:rPr>
                <a:t>60%</a:t>
              </a:r>
              <a:endParaRPr lang="zh-CN" altLang="en-US" sz="2800" b="1" dirty="0">
                <a:solidFill>
                  <a:schemeClr val="bg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28" name="组合 27">
            <a:extLst>
              <a:ext uri="{FF2B5EF4-FFF2-40B4-BE49-F238E27FC236}">
                <a16:creationId xmlns:a16="http://schemas.microsoft.com/office/drawing/2014/main" id="{91BAF5BD-E2DF-4751-B55B-9C647990A96C}"/>
              </a:ext>
            </a:extLst>
          </p:cNvPr>
          <p:cNvGrpSpPr/>
          <p:nvPr/>
        </p:nvGrpSpPr>
        <p:grpSpPr>
          <a:xfrm>
            <a:off x="8874467" y="3096153"/>
            <a:ext cx="2092023" cy="1656184"/>
            <a:chOff x="6019033" y="1059582"/>
            <a:chExt cx="2092022" cy="1656184"/>
          </a:xfrm>
        </p:grpSpPr>
        <p:graphicFrame>
          <p:nvGraphicFramePr>
            <p:cNvPr id="29" name="Chart Placeholder 8">
              <a:extLst>
                <a:ext uri="{FF2B5EF4-FFF2-40B4-BE49-F238E27FC236}">
                  <a16:creationId xmlns:a16="http://schemas.microsoft.com/office/drawing/2014/main" id="{093DD56A-E318-421D-8C16-6A39ED72EDF2}"/>
                </a:ext>
              </a:extLst>
            </p:cNvPr>
            <p:cNvGraphicFramePr>
              <a:graphicFrameLocks/>
            </p:cNvGraphicFramePr>
            <p:nvPr>
              <p:custDataLst>
                <p:tags r:id="rId1"/>
              </p:custDataLst>
              <p:extLst>
                <p:ext uri="{D42A27DB-BD31-4B8C-83A1-F6EECF244321}">
                  <p14:modId xmlns:p14="http://schemas.microsoft.com/office/powerpoint/2010/main" val="2214730124"/>
                </p:ext>
              </p:extLst>
            </p:nvPr>
          </p:nvGraphicFramePr>
          <p:xfrm>
            <a:off x="6019033" y="1059582"/>
            <a:ext cx="2092022" cy="165618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2"/>
            </a:graphicData>
          </a:graphic>
        </p:graphicFrame>
        <p:sp>
          <p:nvSpPr>
            <p:cNvPr id="30" name="矩形 29">
              <a:extLst>
                <a:ext uri="{FF2B5EF4-FFF2-40B4-BE49-F238E27FC236}">
                  <a16:creationId xmlns:a16="http://schemas.microsoft.com/office/drawing/2014/main" id="{D59BF15C-21E2-428C-9B2D-CE528C64B2E5}"/>
                </a:ext>
              </a:extLst>
            </p:cNvPr>
            <p:cNvSpPr/>
            <p:nvPr/>
          </p:nvSpPr>
          <p:spPr>
            <a:xfrm>
              <a:off x="6706239" y="1599473"/>
              <a:ext cx="904414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2800" b="1" dirty="0">
                  <a:solidFill>
                    <a:schemeClr val="bg1">
                      <a:lumMod val="50000"/>
                    </a:schemeClr>
                  </a:solidFill>
                  <a:cs typeface="+mn-ea"/>
                  <a:sym typeface="+mn-lt"/>
                </a:rPr>
                <a:t>80%</a:t>
              </a:r>
              <a:endParaRPr lang="zh-CN" altLang="en-US" sz="2800" b="1" dirty="0">
                <a:solidFill>
                  <a:schemeClr val="bg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</p:grpSp>
      <p:sp>
        <p:nvSpPr>
          <p:cNvPr id="31" name="TextBox 13">
            <a:extLst>
              <a:ext uri="{FF2B5EF4-FFF2-40B4-BE49-F238E27FC236}">
                <a16:creationId xmlns:a16="http://schemas.microsoft.com/office/drawing/2014/main" id="{37BC50BD-8508-4E2B-ADF8-050EC2E77721}"/>
              </a:ext>
            </a:extLst>
          </p:cNvPr>
          <p:cNvSpPr txBox="1"/>
          <p:nvPr/>
        </p:nvSpPr>
        <p:spPr>
          <a:xfrm>
            <a:off x="891098" y="2240400"/>
            <a:ext cx="2532685" cy="5744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zh-CN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Enter a specific description here to note the beauty of the layout.</a:t>
            </a:r>
            <a:endParaRPr lang="en-US" altLang="zh-CN" sz="11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85FECE5D-5CE7-47F0-885C-0E84B588B0B8}"/>
              </a:ext>
            </a:extLst>
          </p:cNvPr>
          <p:cNvSpPr/>
          <p:nvPr/>
        </p:nvSpPr>
        <p:spPr>
          <a:xfrm>
            <a:off x="700013" y="1860528"/>
            <a:ext cx="271850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2000" b="1" dirty="0">
                <a:solidFill>
                  <a:srgbClr val="535353"/>
                </a:solidFill>
                <a:cs typeface="+mn-ea"/>
                <a:sym typeface="+mn-lt"/>
              </a:rPr>
              <a:t>Enter the title.</a:t>
            </a:r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667AD50D-6D13-435A-A0FD-2FF103ADA384}"/>
              </a:ext>
            </a:extLst>
          </p:cNvPr>
          <p:cNvSpPr/>
          <p:nvPr/>
        </p:nvSpPr>
        <p:spPr>
          <a:xfrm>
            <a:off x="3423783" y="4840479"/>
            <a:ext cx="271850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2000" b="1" dirty="0">
                <a:solidFill>
                  <a:srgbClr val="535353"/>
                </a:solidFill>
                <a:cs typeface="+mn-ea"/>
                <a:sym typeface="+mn-lt"/>
              </a:rPr>
              <a:t>Enter the title.</a:t>
            </a: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2C0E83B6-DCE0-4A4F-8F49-BFB6E795AC4F}"/>
              </a:ext>
            </a:extLst>
          </p:cNvPr>
          <p:cNvSpPr/>
          <p:nvPr/>
        </p:nvSpPr>
        <p:spPr>
          <a:xfrm>
            <a:off x="5924131" y="1855264"/>
            <a:ext cx="271850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2000" b="1" dirty="0">
                <a:solidFill>
                  <a:srgbClr val="535353"/>
                </a:solidFill>
                <a:cs typeface="+mn-ea"/>
                <a:sym typeface="+mn-lt"/>
              </a:rPr>
              <a:t>Enter the title.</a:t>
            </a:r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1CEE18FB-028F-4C65-93D1-395E312B800A}"/>
              </a:ext>
            </a:extLst>
          </p:cNvPr>
          <p:cNvSpPr/>
          <p:nvPr/>
        </p:nvSpPr>
        <p:spPr>
          <a:xfrm>
            <a:off x="8572684" y="4840479"/>
            <a:ext cx="271850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2000" b="1" dirty="0">
                <a:solidFill>
                  <a:srgbClr val="535353"/>
                </a:solidFill>
                <a:cs typeface="+mn-ea"/>
                <a:sym typeface="+mn-lt"/>
              </a:rPr>
              <a:t>Enter the title.</a:t>
            </a:r>
          </a:p>
        </p:txBody>
      </p:sp>
      <p:sp>
        <p:nvSpPr>
          <p:cNvPr id="36" name="TextBox 13">
            <a:extLst>
              <a:ext uri="{FF2B5EF4-FFF2-40B4-BE49-F238E27FC236}">
                <a16:creationId xmlns:a16="http://schemas.microsoft.com/office/drawing/2014/main" id="{41E3C385-3ABF-4D1C-8F38-74F3A9DC38FB}"/>
              </a:ext>
            </a:extLst>
          </p:cNvPr>
          <p:cNvSpPr txBox="1"/>
          <p:nvPr/>
        </p:nvSpPr>
        <p:spPr>
          <a:xfrm>
            <a:off x="3579489" y="5283073"/>
            <a:ext cx="2562800" cy="5744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zh-CN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Enter a specific description here to note the beauty of the layout.</a:t>
            </a:r>
            <a:endParaRPr lang="en-US" altLang="zh-CN" sz="11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37" name="TextBox 13">
            <a:extLst>
              <a:ext uri="{FF2B5EF4-FFF2-40B4-BE49-F238E27FC236}">
                <a16:creationId xmlns:a16="http://schemas.microsoft.com/office/drawing/2014/main" id="{56164674-54C3-4E4C-A08D-49717606891D}"/>
              </a:ext>
            </a:extLst>
          </p:cNvPr>
          <p:cNvSpPr txBox="1"/>
          <p:nvPr/>
        </p:nvSpPr>
        <p:spPr>
          <a:xfrm>
            <a:off x="6085565" y="2297858"/>
            <a:ext cx="2562800" cy="5744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zh-CN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Enter a specific description here to note the beauty of the layout.</a:t>
            </a:r>
            <a:endParaRPr lang="en-US" altLang="zh-CN" sz="11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38" name="TextBox 13">
            <a:extLst>
              <a:ext uri="{FF2B5EF4-FFF2-40B4-BE49-F238E27FC236}">
                <a16:creationId xmlns:a16="http://schemas.microsoft.com/office/drawing/2014/main" id="{12EA72B7-0D5C-4E7E-A9AE-E8B881BD385A}"/>
              </a:ext>
            </a:extLst>
          </p:cNvPr>
          <p:cNvSpPr txBox="1"/>
          <p:nvPr/>
        </p:nvSpPr>
        <p:spPr>
          <a:xfrm>
            <a:off x="8732480" y="5283073"/>
            <a:ext cx="2562800" cy="5744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zh-CN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Enter a specific description here to note the beauty of the layout.</a:t>
            </a:r>
            <a:endParaRPr lang="en-US" altLang="zh-CN" sz="11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id="{FB615E00-51AF-4534-959F-0EB5EEDF7612}"/>
              </a:ext>
            </a:extLst>
          </p:cNvPr>
          <p:cNvSpPr txBox="1"/>
          <p:nvPr/>
        </p:nvSpPr>
        <p:spPr>
          <a:xfrm>
            <a:off x="3818697" y="90631"/>
            <a:ext cx="4662693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66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pPr>
              <a:lnSpc>
                <a:spcPts val="4000"/>
              </a:lnSpc>
            </a:pPr>
            <a:r>
              <a:rPr lang="zh-CN" altLang="en-US" sz="4000" dirty="0">
                <a:latin typeface="+mn-lt"/>
                <a:ea typeface="+mn-ea"/>
                <a:cs typeface="+mn-ea"/>
                <a:sym typeface="+mn-lt"/>
              </a:rPr>
              <a:t>Teaching design</a:t>
            </a:r>
          </a:p>
        </p:txBody>
      </p:sp>
    </p:spTree>
    <p:extLst>
      <p:ext uri="{BB962C8B-B14F-4D97-AF65-F5344CB8AC3E}">
        <p14:creationId xmlns:p14="http://schemas.microsoft.com/office/powerpoint/2010/main" val="1041157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 advClick="0" advTm="0">
        <p14:ripple/>
      </p:transition>
    </mc:Choice>
    <mc:Fallback xmlns:c="http://schemas.openxmlformats.org/drawingml/2006/chart" xmlns:a14="http://schemas.microsoft.com/office/drawing/2010/main" xmlns:a16="http://schemas.microsoft.com/office/drawing/2014/main"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500"/>
                            </p:stCondLst>
                            <p:childTnLst>
                              <p:par>
                                <p:cTn id="38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8" presetID="42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42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8" presetID="42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42" presetClass="entr" presetSubtype="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4750"/>
                            </p:stCondLst>
                            <p:childTnLst>
                              <p:par>
                                <p:cTn id="79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5" dur="500" tmFilter="0,0; .5, 1; 1, 1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31" grpId="0"/>
      <p:bldP spid="32" grpId="0"/>
      <p:bldP spid="33" grpId="0"/>
      <p:bldP spid="34" grpId="0"/>
      <p:bldP spid="35" grpId="0"/>
      <p:bldP spid="36" grpId="0"/>
      <p:bldP spid="37" grpId="0"/>
      <p:bldP spid="38" grpId="0"/>
      <p:bldP spid="39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B3643088-BADE-4B2C-8D16-84C355AB00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-4294"/>
            <a:ext cx="12202211" cy="6858000"/>
          </a:xfrm>
          <a:prstGeom prst="rect">
            <a:avLst/>
          </a:prstGeom>
          <a:ln>
            <a:noFill/>
          </a:ln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87218F93-96F9-462F-BAFB-7E145859AED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 flipH="1">
            <a:off x="99171" y="-99171"/>
            <a:ext cx="1058956" cy="1257300"/>
          </a:xfrm>
          <a:prstGeom prst="rect">
            <a:avLst/>
          </a:prstGeom>
        </p:spPr>
      </p:pic>
      <p:sp>
        <p:nvSpPr>
          <p:cNvPr id="8" name="TextBox 18">
            <a:extLst>
              <a:ext uri="{FF2B5EF4-FFF2-40B4-BE49-F238E27FC236}">
                <a16:creationId xmlns:a16="http://schemas.microsoft.com/office/drawing/2014/main" id="{EC3E81A0-9853-4F50-A63A-07CECD490F96}"/>
              </a:ext>
            </a:extLst>
          </p:cNvPr>
          <p:cNvSpPr txBox="1"/>
          <p:nvPr/>
        </p:nvSpPr>
        <p:spPr>
          <a:xfrm>
            <a:off x="1367227" y="80984"/>
            <a:ext cx="27918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spc="4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ART3</a:t>
            </a:r>
            <a:endParaRPr lang="zh-CN" altLang="en-US" sz="2400" b="1" spc="4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6" name="Oval 13">
            <a:extLst>
              <a:ext uri="{FF2B5EF4-FFF2-40B4-BE49-F238E27FC236}">
                <a16:creationId xmlns:a16="http://schemas.microsoft.com/office/drawing/2014/main" id="{FABDF060-14AF-4516-BC4C-EF0232A9F224}"/>
              </a:ext>
            </a:extLst>
          </p:cNvPr>
          <p:cNvSpPr/>
          <p:nvPr/>
        </p:nvSpPr>
        <p:spPr>
          <a:xfrm>
            <a:off x="956953" y="2384840"/>
            <a:ext cx="1792351" cy="1792351"/>
          </a:xfrm>
          <a:prstGeom prst="ellipse">
            <a:avLst/>
          </a:prstGeo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cs typeface="+mn-ea"/>
              <a:sym typeface="+mn-lt"/>
            </a:endParaRPr>
          </a:p>
        </p:txBody>
      </p:sp>
      <p:sp>
        <p:nvSpPr>
          <p:cNvPr id="10" name="Oval 14">
            <a:extLst>
              <a:ext uri="{FF2B5EF4-FFF2-40B4-BE49-F238E27FC236}">
                <a16:creationId xmlns:a16="http://schemas.microsoft.com/office/drawing/2014/main" id="{FA864A67-EE5B-488F-A32C-6CB294E515A7}"/>
              </a:ext>
            </a:extLst>
          </p:cNvPr>
          <p:cNvSpPr/>
          <p:nvPr/>
        </p:nvSpPr>
        <p:spPr>
          <a:xfrm>
            <a:off x="3666938" y="2384840"/>
            <a:ext cx="1792351" cy="1792351"/>
          </a:xfrm>
          <a:prstGeom prst="ellipse">
            <a:avLst/>
          </a:prstGeom>
          <a:blipFill dpi="0"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cs typeface="+mn-ea"/>
              <a:sym typeface="+mn-lt"/>
            </a:endParaRPr>
          </a:p>
        </p:txBody>
      </p:sp>
      <p:sp>
        <p:nvSpPr>
          <p:cNvPr id="11" name="Oval 15">
            <a:extLst>
              <a:ext uri="{FF2B5EF4-FFF2-40B4-BE49-F238E27FC236}">
                <a16:creationId xmlns:a16="http://schemas.microsoft.com/office/drawing/2014/main" id="{F7B57394-0D17-4C51-978B-0E98D98840DC}"/>
              </a:ext>
            </a:extLst>
          </p:cNvPr>
          <p:cNvSpPr/>
          <p:nvPr/>
        </p:nvSpPr>
        <p:spPr>
          <a:xfrm>
            <a:off x="6533981" y="2384840"/>
            <a:ext cx="1792351" cy="1792351"/>
          </a:xfrm>
          <a:prstGeom prst="ellipse">
            <a:avLst/>
          </a:prstGeo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cs typeface="+mn-ea"/>
              <a:sym typeface="+mn-lt"/>
            </a:endParaRPr>
          </a:p>
        </p:txBody>
      </p:sp>
      <p:sp>
        <p:nvSpPr>
          <p:cNvPr id="12" name="Oval 16">
            <a:extLst>
              <a:ext uri="{FF2B5EF4-FFF2-40B4-BE49-F238E27FC236}">
                <a16:creationId xmlns:a16="http://schemas.microsoft.com/office/drawing/2014/main" id="{9477AE7F-8374-4D88-BEEB-A2C9900452A7}"/>
              </a:ext>
            </a:extLst>
          </p:cNvPr>
          <p:cNvSpPr/>
          <p:nvPr/>
        </p:nvSpPr>
        <p:spPr>
          <a:xfrm>
            <a:off x="9415373" y="2384840"/>
            <a:ext cx="1792351" cy="1792351"/>
          </a:xfrm>
          <a:prstGeom prst="ellipse">
            <a:avLst/>
          </a:prstGeom>
          <a:blipFill dpi="0"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cs typeface="+mn-ea"/>
              <a:sym typeface="+mn-lt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85416332-020A-405D-ADBD-253A287558D7}"/>
              </a:ext>
            </a:extLst>
          </p:cNvPr>
          <p:cNvSpPr txBox="1">
            <a:spLocks/>
          </p:cNvSpPr>
          <p:nvPr/>
        </p:nvSpPr>
        <p:spPr>
          <a:xfrm>
            <a:off x="315357" y="4667308"/>
            <a:ext cx="2791819" cy="1189482"/>
          </a:xfrm>
          <a:prstGeom prst="rect">
            <a:avLst/>
          </a:prstGeom>
        </p:spPr>
        <p:txBody>
          <a:bodyPr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2"/>
                </a:solidFill>
                <a:latin typeface="钟齐陈伟勋硬笔行书字库" panose="02010600030101010101" pitchFamily="2" charset="-122"/>
                <a:ea typeface="+mn-ea"/>
                <a:cs typeface="Dancing Script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133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zh-CN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ea"/>
                <a:sym typeface="+mn-lt"/>
              </a:rPr>
              <a:t>Please enter the title.</a:t>
            </a:r>
            <a:endParaRPr lang="en-US" sz="2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ea"/>
              <a:sym typeface="+mn-lt"/>
            </a:endParaRPr>
          </a:p>
          <a:p>
            <a:pPr marL="0" indent="0" algn="ctr">
              <a:lnSpc>
                <a:spcPts val="2000"/>
              </a:lnSpc>
              <a:buNone/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ea"/>
                <a:sym typeface="+mn-lt"/>
              </a:rPr>
              <a:t>Enter a specific description here to note the beauty of the layout.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51D26FB7-6C3D-4FE7-A5BF-E0CFC152617C}"/>
              </a:ext>
            </a:extLst>
          </p:cNvPr>
          <p:cNvSpPr txBox="1">
            <a:spLocks/>
          </p:cNvSpPr>
          <p:nvPr/>
        </p:nvSpPr>
        <p:spPr>
          <a:xfrm>
            <a:off x="3095231" y="4666238"/>
            <a:ext cx="2791818" cy="1190211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zh-CN"/>
            </a:defPPr>
            <a:lvl1pPr indent="0" algn="ctr" defTabSz="609585">
              <a:spcBef>
                <a:spcPts val="0"/>
              </a:spcBef>
              <a:buFont typeface="Arial"/>
              <a:buNone/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  <a:latin typeface="钟齐陈伟勋硬笔行书字库" panose="02010600030101010101" pitchFamily="2" charset="-122"/>
                <a:cs typeface="Dancing Script"/>
              </a:defRPr>
            </a:lvl1pPr>
            <a:lvl2pPr marL="990575" indent="-380990" defTabSz="609585">
              <a:spcBef>
                <a:spcPct val="20000"/>
              </a:spcBef>
              <a:buFont typeface="Arial"/>
              <a:buChar char="–"/>
              <a:defRPr sz="2667">
                <a:latin typeface="钟齐陈伟勋硬笔行书字库" panose="02010600030101010101" pitchFamily="2" charset="-122"/>
              </a:defRPr>
            </a:lvl2pPr>
            <a:lvl3pPr marL="1523962" indent="-304792" defTabSz="609585">
              <a:spcBef>
                <a:spcPct val="20000"/>
              </a:spcBef>
              <a:buFont typeface="Arial"/>
              <a:buChar char="•"/>
              <a:defRPr sz="2400">
                <a:latin typeface="钟齐陈伟勋硬笔行书字库" panose="02010600030101010101" pitchFamily="2" charset="-122"/>
              </a:defRPr>
            </a:lvl3pPr>
            <a:lvl4pPr marL="2133547" indent="-304792" defTabSz="609585">
              <a:spcBef>
                <a:spcPct val="20000"/>
              </a:spcBef>
              <a:buFont typeface="Arial"/>
              <a:buChar char="–"/>
              <a:defRPr sz="2133">
                <a:latin typeface="钟齐陈伟勋硬笔行书字库" panose="02010600030101010101" pitchFamily="2" charset="-122"/>
              </a:defRPr>
            </a:lvl4pPr>
            <a:lvl5pPr marL="2743131" indent="-304792" defTabSz="609585">
              <a:spcBef>
                <a:spcPct val="20000"/>
              </a:spcBef>
              <a:buFont typeface="Arial"/>
              <a:buChar char="»"/>
              <a:defRPr sz="2133">
                <a:latin typeface="钟齐陈伟勋硬笔行书字库" panose="02010600030101010101" pitchFamily="2" charset="-122"/>
              </a:defRPr>
            </a:lvl5pPr>
            <a:lvl6pPr marL="3352716" indent="-304792" defTabSz="609585">
              <a:spcBef>
                <a:spcPct val="20000"/>
              </a:spcBef>
              <a:buFont typeface="Arial"/>
              <a:buChar char="•"/>
              <a:defRPr sz="2667"/>
            </a:lvl6pPr>
            <a:lvl7pPr marL="3962301" indent="-304792" defTabSz="609585">
              <a:spcBef>
                <a:spcPct val="20000"/>
              </a:spcBef>
              <a:buFont typeface="Arial"/>
              <a:buChar char="•"/>
              <a:defRPr sz="2667"/>
            </a:lvl7pPr>
            <a:lvl8pPr marL="4571886" indent="-304792" defTabSz="609585">
              <a:spcBef>
                <a:spcPct val="20000"/>
              </a:spcBef>
              <a:buFont typeface="Arial"/>
              <a:buChar char="•"/>
              <a:defRPr sz="2667"/>
            </a:lvl8pPr>
            <a:lvl9pPr marL="5181470" indent="-304792" defTabSz="609585">
              <a:spcBef>
                <a:spcPct val="20000"/>
              </a:spcBef>
              <a:buFont typeface="Arial"/>
              <a:buChar char="•"/>
              <a:defRPr sz="2667"/>
            </a:lvl9pPr>
          </a:lstStyle>
          <a:p>
            <a:r>
              <a:rPr lang="zh-CN" altLang="en-US" dirty="0">
                <a:latin typeface="+mn-lt"/>
                <a:cs typeface="+mn-ea"/>
                <a:sym typeface="+mn-lt"/>
              </a:rPr>
              <a:t>Please enter the title.</a:t>
            </a:r>
            <a:endParaRPr lang="en-US" dirty="0">
              <a:latin typeface="+mn-lt"/>
              <a:cs typeface="+mn-ea"/>
              <a:sym typeface="+mn-lt"/>
            </a:endParaRPr>
          </a:p>
          <a:p>
            <a:pPr>
              <a:lnSpc>
                <a:spcPts val="2000"/>
              </a:lnSpc>
              <a:spcBef>
                <a:spcPct val="20000"/>
              </a:spcBef>
            </a:pPr>
            <a:r>
              <a:rPr lang="zh-CN" altLang="en-US" sz="1200" b="0" dirty="0">
                <a:latin typeface="+mn-lt"/>
                <a:cs typeface="+mn-ea"/>
                <a:sym typeface="+mn-lt"/>
              </a:rPr>
              <a:t>Enter a specific description here to note the beauty of the layout.</a:t>
            </a:r>
            <a:endParaRPr lang="en-US" altLang="zh-CN" sz="1200" b="0" dirty="0">
              <a:latin typeface="+mn-lt"/>
              <a:cs typeface="+mn-ea"/>
              <a:sym typeface="+mn-lt"/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979BD42-3256-458E-B2D6-F631DACFFE21}"/>
              </a:ext>
            </a:extLst>
          </p:cNvPr>
          <p:cNvSpPr txBox="1">
            <a:spLocks/>
          </p:cNvSpPr>
          <p:nvPr/>
        </p:nvSpPr>
        <p:spPr>
          <a:xfrm>
            <a:off x="6170064" y="4667309"/>
            <a:ext cx="2549248" cy="1189483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zh-CN"/>
            </a:defPPr>
            <a:lvl1pPr indent="0" algn="ctr" defTabSz="609585">
              <a:spcBef>
                <a:spcPts val="0"/>
              </a:spcBef>
              <a:buFont typeface="Arial"/>
              <a:buNone/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  <a:latin typeface="钟齐陈伟勋硬笔行书字库" panose="02010600030101010101" pitchFamily="2" charset="-122"/>
                <a:cs typeface="Dancing Script"/>
              </a:defRPr>
            </a:lvl1pPr>
            <a:lvl2pPr marL="990575" indent="-380990" defTabSz="609585">
              <a:spcBef>
                <a:spcPct val="20000"/>
              </a:spcBef>
              <a:buFont typeface="Arial"/>
              <a:buChar char="–"/>
              <a:defRPr sz="2667">
                <a:latin typeface="钟齐陈伟勋硬笔行书字库" panose="02010600030101010101" pitchFamily="2" charset="-122"/>
              </a:defRPr>
            </a:lvl2pPr>
            <a:lvl3pPr marL="1523962" indent="-304792" defTabSz="609585">
              <a:spcBef>
                <a:spcPct val="20000"/>
              </a:spcBef>
              <a:buFont typeface="Arial"/>
              <a:buChar char="•"/>
              <a:defRPr sz="2400">
                <a:latin typeface="钟齐陈伟勋硬笔行书字库" panose="02010600030101010101" pitchFamily="2" charset="-122"/>
              </a:defRPr>
            </a:lvl3pPr>
            <a:lvl4pPr marL="2133547" indent="-304792" defTabSz="609585">
              <a:spcBef>
                <a:spcPct val="20000"/>
              </a:spcBef>
              <a:buFont typeface="Arial"/>
              <a:buChar char="–"/>
              <a:defRPr sz="2133">
                <a:latin typeface="钟齐陈伟勋硬笔行书字库" panose="02010600030101010101" pitchFamily="2" charset="-122"/>
              </a:defRPr>
            </a:lvl4pPr>
            <a:lvl5pPr marL="2743131" indent="-304792" defTabSz="609585">
              <a:spcBef>
                <a:spcPct val="20000"/>
              </a:spcBef>
              <a:buFont typeface="Arial"/>
              <a:buChar char="»"/>
              <a:defRPr sz="2133">
                <a:latin typeface="钟齐陈伟勋硬笔行书字库" panose="02010600030101010101" pitchFamily="2" charset="-122"/>
              </a:defRPr>
            </a:lvl5pPr>
            <a:lvl6pPr marL="3352716" indent="-304792" defTabSz="609585">
              <a:spcBef>
                <a:spcPct val="20000"/>
              </a:spcBef>
              <a:buFont typeface="Arial"/>
              <a:buChar char="•"/>
              <a:defRPr sz="2667"/>
            </a:lvl6pPr>
            <a:lvl7pPr marL="3962301" indent="-304792" defTabSz="609585">
              <a:spcBef>
                <a:spcPct val="20000"/>
              </a:spcBef>
              <a:buFont typeface="Arial"/>
              <a:buChar char="•"/>
              <a:defRPr sz="2667"/>
            </a:lvl7pPr>
            <a:lvl8pPr marL="4571886" indent="-304792" defTabSz="609585">
              <a:spcBef>
                <a:spcPct val="20000"/>
              </a:spcBef>
              <a:buFont typeface="Arial"/>
              <a:buChar char="•"/>
              <a:defRPr sz="2667"/>
            </a:lvl8pPr>
            <a:lvl9pPr marL="5181470" indent="-304792" defTabSz="609585">
              <a:spcBef>
                <a:spcPct val="20000"/>
              </a:spcBef>
              <a:buFont typeface="Arial"/>
              <a:buChar char="•"/>
              <a:defRPr sz="2667"/>
            </a:lvl9pPr>
          </a:lstStyle>
          <a:p>
            <a:r>
              <a:rPr lang="zh-CN" altLang="en-US" b="0" dirty="0">
                <a:latin typeface="+mn-lt"/>
                <a:cs typeface="+mn-ea"/>
                <a:sym typeface="+mn-lt"/>
              </a:rPr>
              <a:t>Please enter the title.</a:t>
            </a:r>
            <a:endParaRPr lang="en-US" sz="1200" b="0" dirty="0">
              <a:latin typeface="+mn-lt"/>
              <a:cs typeface="+mn-ea"/>
              <a:sym typeface="+mn-lt"/>
            </a:endParaRPr>
          </a:p>
          <a:p>
            <a:pPr>
              <a:lnSpc>
                <a:spcPts val="2000"/>
              </a:lnSpc>
              <a:spcBef>
                <a:spcPct val="20000"/>
              </a:spcBef>
            </a:pPr>
            <a:r>
              <a:rPr lang="zh-CN" altLang="en-US" sz="1200" b="0" dirty="0">
                <a:latin typeface="+mn-lt"/>
                <a:cs typeface="+mn-ea"/>
                <a:sym typeface="+mn-lt"/>
              </a:rPr>
              <a:t>Enter a specific description here to note the beauty of the layout.</a:t>
            </a:r>
            <a:endParaRPr lang="en-US" altLang="zh-CN" sz="1200" b="0" dirty="0">
              <a:latin typeface="+mn-lt"/>
              <a:cs typeface="+mn-ea"/>
              <a:sym typeface="+mn-lt"/>
            </a:endParaRP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FA2D1428-2055-40F7-9734-ADEAE671921F}"/>
              </a:ext>
            </a:extLst>
          </p:cNvPr>
          <p:cNvSpPr txBox="1">
            <a:spLocks/>
          </p:cNvSpPr>
          <p:nvPr/>
        </p:nvSpPr>
        <p:spPr>
          <a:xfrm>
            <a:off x="9002329" y="4666238"/>
            <a:ext cx="2617243" cy="1190211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zh-CN"/>
            </a:defPPr>
            <a:lvl1pPr indent="0" algn="ctr" defTabSz="609585">
              <a:spcBef>
                <a:spcPts val="0"/>
              </a:spcBef>
              <a:buFont typeface="Arial"/>
              <a:buNone/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  <a:latin typeface="钟齐陈伟勋硬笔行书字库" panose="02010600030101010101" pitchFamily="2" charset="-122"/>
                <a:cs typeface="Dancing Script"/>
              </a:defRPr>
            </a:lvl1pPr>
            <a:lvl2pPr marL="990575" indent="-380990" defTabSz="609585">
              <a:spcBef>
                <a:spcPct val="20000"/>
              </a:spcBef>
              <a:buFont typeface="Arial"/>
              <a:buChar char="–"/>
              <a:defRPr sz="2667">
                <a:latin typeface="钟齐陈伟勋硬笔行书字库" panose="02010600030101010101" pitchFamily="2" charset="-122"/>
              </a:defRPr>
            </a:lvl2pPr>
            <a:lvl3pPr marL="1523962" indent="-304792" defTabSz="609585">
              <a:spcBef>
                <a:spcPct val="20000"/>
              </a:spcBef>
              <a:buFont typeface="Arial"/>
              <a:buChar char="•"/>
              <a:defRPr sz="2400">
                <a:latin typeface="钟齐陈伟勋硬笔行书字库" panose="02010600030101010101" pitchFamily="2" charset="-122"/>
              </a:defRPr>
            </a:lvl3pPr>
            <a:lvl4pPr marL="2133547" indent="-304792" defTabSz="609585">
              <a:spcBef>
                <a:spcPct val="20000"/>
              </a:spcBef>
              <a:buFont typeface="Arial"/>
              <a:buChar char="–"/>
              <a:defRPr sz="2133">
                <a:latin typeface="钟齐陈伟勋硬笔行书字库" panose="02010600030101010101" pitchFamily="2" charset="-122"/>
              </a:defRPr>
            </a:lvl4pPr>
            <a:lvl5pPr marL="2743131" indent="-304792" defTabSz="609585">
              <a:spcBef>
                <a:spcPct val="20000"/>
              </a:spcBef>
              <a:buFont typeface="Arial"/>
              <a:buChar char="»"/>
              <a:defRPr sz="2133">
                <a:latin typeface="钟齐陈伟勋硬笔行书字库" panose="02010600030101010101" pitchFamily="2" charset="-122"/>
              </a:defRPr>
            </a:lvl5pPr>
            <a:lvl6pPr marL="3352716" indent="-304792" defTabSz="609585">
              <a:spcBef>
                <a:spcPct val="20000"/>
              </a:spcBef>
              <a:buFont typeface="Arial"/>
              <a:buChar char="•"/>
              <a:defRPr sz="2667"/>
            </a:lvl6pPr>
            <a:lvl7pPr marL="3962301" indent="-304792" defTabSz="609585">
              <a:spcBef>
                <a:spcPct val="20000"/>
              </a:spcBef>
              <a:buFont typeface="Arial"/>
              <a:buChar char="•"/>
              <a:defRPr sz="2667"/>
            </a:lvl7pPr>
            <a:lvl8pPr marL="4571886" indent="-304792" defTabSz="609585">
              <a:spcBef>
                <a:spcPct val="20000"/>
              </a:spcBef>
              <a:buFont typeface="Arial"/>
              <a:buChar char="•"/>
              <a:defRPr sz="2667"/>
            </a:lvl8pPr>
            <a:lvl9pPr marL="5181470" indent="-304792" defTabSz="609585">
              <a:spcBef>
                <a:spcPct val="20000"/>
              </a:spcBef>
              <a:buFont typeface="Arial"/>
              <a:buChar char="•"/>
              <a:defRPr sz="2667"/>
            </a:lvl9pPr>
          </a:lstStyle>
          <a:p>
            <a:r>
              <a:rPr lang="zh-CN" altLang="en-US" b="0" dirty="0">
                <a:latin typeface="+mn-lt"/>
                <a:cs typeface="+mn-ea"/>
                <a:sym typeface="+mn-lt"/>
              </a:rPr>
              <a:t>Please enter the title.</a:t>
            </a:r>
            <a:endParaRPr lang="en-US" sz="1200" b="0" dirty="0">
              <a:latin typeface="+mn-lt"/>
              <a:cs typeface="+mn-ea"/>
              <a:sym typeface="+mn-lt"/>
            </a:endParaRPr>
          </a:p>
          <a:p>
            <a:pPr>
              <a:lnSpc>
                <a:spcPts val="2000"/>
              </a:lnSpc>
              <a:spcBef>
                <a:spcPct val="20000"/>
              </a:spcBef>
            </a:pPr>
            <a:r>
              <a:rPr lang="zh-CN" altLang="en-US" sz="1200" b="0" dirty="0">
                <a:latin typeface="+mn-lt"/>
                <a:cs typeface="+mn-ea"/>
                <a:sym typeface="+mn-lt"/>
              </a:rPr>
              <a:t>Enter a specific description here to note the beauty of the layout.</a:t>
            </a:r>
            <a:endParaRPr lang="en-US" altLang="zh-CN" sz="1200" b="0" dirty="0">
              <a:latin typeface="+mn-lt"/>
              <a:cs typeface="+mn-ea"/>
              <a:sym typeface="+mn-lt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CF74FB52-C2E6-4643-8C61-F2FC888C72A6}"/>
              </a:ext>
            </a:extLst>
          </p:cNvPr>
          <p:cNvSpPr txBox="1"/>
          <p:nvPr/>
        </p:nvSpPr>
        <p:spPr>
          <a:xfrm>
            <a:off x="3818697" y="90631"/>
            <a:ext cx="4662693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66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pPr>
              <a:lnSpc>
                <a:spcPts val="4000"/>
              </a:lnSpc>
            </a:pPr>
            <a:r>
              <a:rPr lang="zh-CN" altLang="en-US" sz="4000" dirty="0">
                <a:latin typeface="+mn-lt"/>
                <a:ea typeface="+mn-ea"/>
                <a:cs typeface="+mn-ea"/>
                <a:sym typeface="+mn-lt"/>
              </a:rPr>
              <a:t>Teaching design</a:t>
            </a:r>
          </a:p>
        </p:txBody>
      </p:sp>
    </p:spTree>
    <p:extLst>
      <p:ext uri="{BB962C8B-B14F-4D97-AF65-F5344CB8AC3E}">
        <p14:creationId xmlns:p14="http://schemas.microsoft.com/office/powerpoint/2010/main" val="3141911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 advClick="0" advTm="0">
        <p:dissolve/>
      </p:transition>
    </mc:Choice>
    <mc:Fallback xmlns:a14="http://schemas.microsoft.com/office/drawing/2010/main" xmlns:a16="http://schemas.microsoft.com/office/drawing/2014/main" xmlns="">
      <p:transition spd="slow" advClick="0" advTm="0">
        <p:dissolv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750"/>
                            </p:stCondLst>
                            <p:childTnLst>
                              <p:par>
                                <p:cTn id="17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500"/>
                            </p:stCondLst>
                            <p:childTnLst>
                              <p:par>
                                <p:cTn id="21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250"/>
                            </p:stCondLst>
                            <p:childTnLst>
                              <p:par>
                                <p:cTn id="25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00"/>
                            </p:stCondLst>
                            <p:childTnLst>
                              <p:par>
                                <p:cTn id="29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900" decel="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37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900" decel="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3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900" decel="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37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900" decel="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750"/>
                            </p:stCondLst>
                            <p:childTnLst>
                              <p:par>
                                <p:cTn id="54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0" dur="500" tmFilter="0,0; .5, 1; 1, 1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6" grpId="0" animBg="1"/>
      <p:bldP spid="10" grpId="0" animBg="1"/>
      <p:bldP spid="11" grpId="0" animBg="1"/>
      <p:bldP spid="12" grpId="0" animBg="1"/>
      <p:bldP spid="13" grpId="0"/>
      <p:bldP spid="14" grpId="0"/>
      <p:bldP spid="15" grpId="0"/>
      <p:bldP spid="16" grpId="0"/>
      <p:bldP spid="17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B3643088-BADE-4B2C-8D16-84C355AB00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25203"/>
            <a:ext cx="12202211" cy="6858000"/>
          </a:xfrm>
          <a:prstGeom prst="rect">
            <a:avLst/>
          </a:prstGeom>
          <a:ln>
            <a:noFill/>
          </a:ln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87218F93-96F9-462F-BAFB-7E145859AED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 flipH="1">
            <a:off x="99171" y="-99171"/>
            <a:ext cx="1058956" cy="1257300"/>
          </a:xfrm>
          <a:prstGeom prst="rect">
            <a:avLst/>
          </a:prstGeom>
        </p:spPr>
      </p:pic>
      <p:sp>
        <p:nvSpPr>
          <p:cNvPr id="8" name="TextBox 18">
            <a:extLst>
              <a:ext uri="{FF2B5EF4-FFF2-40B4-BE49-F238E27FC236}">
                <a16:creationId xmlns:a16="http://schemas.microsoft.com/office/drawing/2014/main" id="{EC3E81A0-9853-4F50-A63A-07CECD490F96}"/>
              </a:ext>
            </a:extLst>
          </p:cNvPr>
          <p:cNvSpPr txBox="1"/>
          <p:nvPr/>
        </p:nvSpPr>
        <p:spPr>
          <a:xfrm>
            <a:off x="1367227" y="80984"/>
            <a:ext cx="27918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spc="4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ART3</a:t>
            </a:r>
            <a:endParaRPr lang="zh-CN" altLang="en-US" sz="2400" b="1" spc="4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6" name="任意多边形 35">
            <a:extLst>
              <a:ext uri="{FF2B5EF4-FFF2-40B4-BE49-F238E27FC236}">
                <a16:creationId xmlns:a16="http://schemas.microsoft.com/office/drawing/2014/main" id="{1825F735-596C-4056-A2E4-560B9A0083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84071" y="3134189"/>
            <a:ext cx="1968060" cy="2540922"/>
          </a:xfrm>
          <a:custGeom>
            <a:avLst/>
            <a:gdLst>
              <a:gd name="T0" fmla="*/ 901473 w 1352638"/>
              <a:gd name="T1" fmla="*/ 16 h 1747217"/>
              <a:gd name="T2" fmla="*/ 974192 w 1352638"/>
              <a:gd name="T3" fmla="*/ 31619 h 1747217"/>
              <a:gd name="T4" fmla="*/ 1352550 w 1352638"/>
              <a:gd name="T5" fmla="*/ 423231 h 1747217"/>
              <a:gd name="T6" fmla="*/ 948292 w 1352638"/>
              <a:gd name="T7" fmla="*/ 813428 h 1747217"/>
              <a:gd name="T8" fmla="*/ 945734 w 1352638"/>
              <a:gd name="T9" fmla="*/ 959852 h 1747217"/>
              <a:gd name="T10" fmla="*/ 1312064 w 1352638"/>
              <a:gd name="T11" fmla="*/ 1339012 h 1747217"/>
              <a:gd name="T12" fmla="*/ 920260 w 1352638"/>
              <a:gd name="T13" fmla="*/ 1717186 h 1747217"/>
              <a:gd name="T14" fmla="*/ 773764 w 1352638"/>
              <a:gd name="T15" fmla="*/ 1714631 h 1747217"/>
              <a:gd name="T16" fmla="*/ 29077 w 1352638"/>
              <a:gd name="T17" fmla="*/ 943861 h 1747217"/>
              <a:gd name="T18" fmla="*/ 15 w 1352638"/>
              <a:gd name="T19" fmla="*/ 870119 h 1747217"/>
              <a:gd name="T20" fmla="*/ 31634 w 1352638"/>
              <a:gd name="T21" fmla="*/ 797436 h 1747217"/>
              <a:gd name="T22" fmla="*/ 827695 w 1352638"/>
              <a:gd name="T23" fmla="*/ 29064 h 1747217"/>
              <a:gd name="T24" fmla="*/ 901473 w 1352638"/>
              <a:gd name="T25" fmla="*/ 16 h 1747217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352638"/>
              <a:gd name="T40" fmla="*/ 0 h 1747217"/>
              <a:gd name="T41" fmla="*/ 1352638 w 1352638"/>
              <a:gd name="T42" fmla="*/ 1747217 h 1747217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352638" h="1747217">
                <a:moveTo>
                  <a:pt x="901532" y="16"/>
                </a:moveTo>
                <a:cubicBezTo>
                  <a:pt x="928044" y="479"/>
                  <a:pt x="954380" y="11056"/>
                  <a:pt x="974255" y="31637"/>
                </a:cubicBezTo>
                <a:lnTo>
                  <a:pt x="1352638" y="423465"/>
                </a:lnTo>
                <a:lnTo>
                  <a:pt x="948354" y="813878"/>
                </a:lnTo>
                <a:cubicBezTo>
                  <a:pt x="907190" y="853629"/>
                  <a:pt x="906046" y="919221"/>
                  <a:pt x="945796" y="960384"/>
                </a:cubicBezTo>
                <a:lnTo>
                  <a:pt x="1312149" y="1339753"/>
                </a:lnTo>
                <a:lnTo>
                  <a:pt x="920320" y="1718137"/>
                </a:lnTo>
                <a:cubicBezTo>
                  <a:pt x="879157" y="1757888"/>
                  <a:pt x="813565" y="1756743"/>
                  <a:pt x="773814" y="1715580"/>
                </a:cubicBezTo>
                <a:lnTo>
                  <a:pt x="29079" y="944384"/>
                </a:lnTo>
                <a:cubicBezTo>
                  <a:pt x="9203" y="923802"/>
                  <a:pt x="-448" y="897114"/>
                  <a:pt x="15" y="870601"/>
                </a:cubicBezTo>
                <a:cubicBezTo>
                  <a:pt x="478" y="844089"/>
                  <a:pt x="11055" y="817753"/>
                  <a:pt x="31636" y="797878"/>
                </a:cubicBezTo>
                <a:lnTo>
                  <a:pt x="827749" y="29080"/>
                </a:lnTo>
                <a:cubicBezTo>
                  <a:pt x="848331" y="9205"/>
                  <a:pt x="875020" y="-446"/>
                  <a:pt x="901532" y="16"/>
                </a:cubicBezTo>
                <a:close/>
              </a:path>
            </a:pathLst>
          </a:custGeom>
          <a:solidFill>
            <a:srgbClr val="6FCEFE"/>
          </a:solidFill>
          <a:ln>
            <a:noFill/>
          </a:ln>
        </p:spPr>
        <p:txBody>
          <a:bodyPr lIns="216000" tIns="0" rIns="0" bIns="0" anchor="ctr"/>
          <a:lstStyle/>
          <a:p>
            <a:pPr>
              <a:defRPr/>
            </a:pPr>
            <a:r>
              <a:rPr lang="zh-CN" altLang="en-US" b="1" kern="0" dirty="0">
                <a:solidFill>
                  <a:schemeClr val="bg1"/>
                </a:solidFill>
                <a:cs typeface="+mn-ea"/>
                <a:sym typeface="+mn-lt"/>
              </a:rPr>
              <a:t>Title.</a:t>
            </a:r>
          </a:p>
        </p:txBody>
      </p:sp>
      <p:sp>
        <p:nvSpPr>
          <p:cNvPr id="10" name="任意多边形 36">
            <a:extLst>
              <a:ext uri="{FF2B5EF4-FFF2-40B4-BE49-F238E27FC236}">
                <a16:creationId xmlns:a16="http://schemas.microsoft.com/office/drawing/2014/main" id="{11622F55-0385-4CAA-B844-61E7811D18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0271" y="1736688"/>
            <a:ext cx="2545540" cy="1956508"/>
          </a:xfrm>
          <a:custGeom>
            <a:avLst/>
            <a:gdLst>
              <a:gd name="T0" fmla="*/ 861672 w 1747878"/>
              <a:gd name="T1" fmla="*/ 0 h 1344614"/>
              <a:gd name="T2" fmla="*/ 934935 w 1747878"/>
              <a:gd name="T3" fmla="*/ 30347 h 1344614"/>
              <a:gd name="T4" fmla="*/ 1717492 w 1747878"/>
              <a:gd name="T5" fmla="*/ 812921 h 1344614"/>
              <a:gd name="T6" fmla="*/ 1717492 w 1747878"/>
              <a:gd name="T7" fmla="*/ 959449 h 1344614"/>
              <a:gd name="T8" fmla="*/ 1332337 w 1747878"/>
              <a:gd name="T9" fmla="*/ 1344613 h 1344614"/>
              <a:gd name="T10" fmla="*/ 934936 w 1747878"/>
              <a:gd name="T11" fmla="*/ 947204 h 1344614"/>
              <a:gd name="T12" fmla="*/ 788411 w 1747878"/>
              <a:gd name="T13" fmla="*/ 947204 h 1344614"/>
              <a:gd name="T14" fmla="*/ 415502 w 1747878"/>
              <a:gd name="T15" fmla="*/ 1320121 h 1344614"/>
              <a:gd name="T16" fmla="*/ 30346 w 1747878"/>
              <a:gd name="T17" fmla="*/ 934956 h 1344614"/>
              <a:gd name="T18" fmla="*/ 30346 w 1747878"/>
              <a:gd name="T19" fmla="*/ 788428 h 1344614"/>
              <a:gd name="T20" fmla="*/ 788410 w 1747878"/>
              <a:gd name="T21" fmla="*/ 30347 h 1344614"/>
              <a:gd name="T22" fmla="*/ 861672 w 1747878"/>
              <a:gd name="T23" fmla="*/ 0 h 134461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747878"/>
              <a:gd name="T37" fmla="*/ 0 h 1344614"/>
              <a:gd name="T38" fmla="*/ 1747878 w 1747878"/>
              <a:gd name="T39" fmla="*/ 1344614 h 1344614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747878" h="1344614">
                <a:moveTo>
                  <a:pt x="861692" y="0"/>
                </a:moveTo>
                <a:cubicBezTo>
                  <a:pt x="888209" y="0"/>
                  <a:pt x="914725" y="10116"/>
                  <a:pt x="934956" y="30347"/>
                </a:cubicBezTo>
                <a:lnTo>
                  <a:pt x="1717531" y="812922"/>
                </a:lnTo>
                <a:cubicBezTo>
                  <a:pt x="1757994" y="853385"/>
                  <a:pt x="1757994" y="918988"/>
                  <a:pt x="1717531" y="959450"/>
                </a:cubicBezTo>
                <a:lnTo>
                  <a:pt x="1332367" y="1344614"/>
                </a:lnTo>
                <a:lnTo>
                  <a:pt x="934957" y="947205"/>
                </a:lnTo>
                <a:cubicBezTo>
                  <a:pt x="894494" y="906741"/>
                  <a:pt x="828892" y="906742"/>
                  <a:pt x="788429" y="947205"/>
                </a:cubicBezTo>
                <a:lnTo>
                  <a:pt x="415512" y="1320122"/>
                </a:lnTo>
                <a:lnTo>
                  <a:pt x="30347" y="934957"/>
                </a:lnTo>
                <a:cubicBezTo>
                  <a:pt x="-10116" y="894494"/>
                  <a:pt x="-10116" y="828891"/>
                  <a:pt x="30347" y="788429"/>
                </a:cubicBezTo>
                <a:lnTo>
                  <a:pt x="788428" y="30347"/>
                </a:lnTo>
                <a:cubicBezTo>
                  <a:pt x="808660" y="10115"/>
                  <a:pt x="835176" y="0"/>
                  <a:pt x="861692" y="0"/>
                </a:cubicBezTo>
                <a:close/>
              </a:path>
            </a:pathLst>
          </a:custGeom>
          <a:solidFill>
            <a:srgbClr val="D00000"/>
          </a:solidFill>
          <a:ln>
            <a:noFill/>
          </a:ln>
        </p:spPr>
        <p:txBody>
          <a:bodyPr lIns="0" tIns="0" rIns="0" bIns="216000" anchor="ctr"/>
          <a:lstStyle/>
          <a:p>
            <a:pPr>
              <a:defRPr/>
            </a:pPr>
            <a:r>
              <a:rPr lang="zh-CN" altLang="en-US" b="1" kern="0" dirty="0">
                <a:solidFill>
                  <a:schemeClr val="bg1"/>
                </a:solidFill>
                <a:cs typeface="+mn-ea"/>
                <a:sym typeface="+mn-lt"/>
              </a:rPr>
              <a:t>        </a:t>
            </a:r>
            <a:endParaRPr lang="en-US" altLang="zh-CN" b="1" kern="0" dirty="0">
              <a:solidFill>
                <a:schemeClr val="bg1"/>
              </a:solidFill>
              <a:cs typeface="+mn-ea"/>
              <a:sym typeface="+mn-lt"/>
            </a:endParaRPr>
          </a:p>
          <a:p>
            <a:pPr>
              <a:defRPr/>
            </a:pPr>
            <a:r>
              <a:rPr lang="en-US" altLang="zh-CN" b="1" kern="0" dirty="0">
                <a:solidFill>
                  <a:schemeClr val="bg1"/>
                </a:solidFill>
                <a:cs typeface="+mn-ea"/>
                <a:sym typeface="+mn-lt"/>
              </a:rPr>
              <a:t>  </a:t>
            </a:r>
          </a:p>
          <a:p>
            <a:pPr>
              <a:defRPr/>
            </a:pPr>
            <a:r>
              <a:rPr lang="en-US" altLang="zh-CN" b="1" kern="0" dirty="0">
                <a:solidFill>
                  <a:schemeClr val="bg1"/>
                </a:solidFill>
                <a:cs typeface="+mn-ea"/>
                <a:sym typeface="+mn-lt"/>
              </a:rPr>
              <a:t>     </a:t>
            </a:r>
            <a:r>
              <a:rPr lang="zh-CN" altLang="en-US" b="1" kern="0" dirty="0">
                <a:solidFill>
                  <a:schemeClr val="bg1"/>
                </a:solidFill>
                <a:cs typeface="+mn-ea"/>
                <a:sym typeface="+mn-lt"/>
              </a:rPr>
              <a:t>Title.</a:t>
            </a:r>
          </a:p>
        </p:txBody>
      </p:sp>
      <p:sp>
        <p:nvSpPr>
          <p:cNvPr id="11" name="任意多边形 37">
            <a:extLst>
              <a:ext uri="{FF2B5EF4-FFF2-40B4-BE49-F238E27FC236}">
                <a16:creationId xmlns:a16="http://schemas.microsoft.com/office/drawing/2014/main" id="{55C6C84D-3244-4CAB-A2D6-6B8443E2AC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16807" y="1782887"/>
            <a:ext cx="1968060" cy="2543229"/>
          </a:xfrm>
          <a:custGeom>
            <a:avLst/>
            <a:gdLst>
              <a:gd name="T0" fmla="*/ 506068 w 1352638"/>
              <a:gd name="T1" fmla="*/ 15 h 1747216"/>
              <a:gd name="T2" fmla="*/ 578786 w 1352638"/>
              <a:gd name="T3" fmla="*/ 31647 h 1747216"/>
              <a:gd name="T4" fmla="*/ 1323474 w 1352638"/>
              <a:gd name="T5" fmla="*/ 803119 h 1747216"/>
              <a:gd name="T6" fmla="*/ 1352535 w 1352638"/>
              <a:gd name="T7" fmla="*/ 876927 h 1747216"/>
              <a:gd name="T8" fmla="*/ 1320917 w 1352638"/>
              <a:gd name="T9" fmla="*/ 949676 h 1747216"/>
              <a:gd name="T10" fmla="*/ 524855 w 1352638"/>
              <a:gd name="T11" fmla="*/ 1718748 h 1747216"/>
              <a:gd name="T12" fmla="*/ 378358 w 1352638"/>
              <a:gd name="T13" fmla="*/ 1716190 h 1747216"/>
              <a:gd name="T14" fmla="*/ 0 w 1352638"/>
              <a:gd name="T15" fmla="*/ 1324223 h 1747216"/>
              <a:gd name="T16" fmla="*/ 404259 w 1352638"/>
              <a:gd name="T17" fmla="*/ 933670 h 1747216"/>
              <a:gd name="T18" fmla="*/ 406816 w 1352638"/>
              <a:gd name="T19" fmla="*/ 787113 h 1747216"/>
              <a:gd name="T20" fmla="*/ 40487 w 1352638"/>
              <a:gd name="T21" fmla="*/ 407608 h 1747216"/>
              <a:gd name="T22" fmla="*/ 432290 w 1352638"/>
              <a:gd name="T23" fmla="*/ 29089 h 1747216"/>
              <a:gd name="T24" fmla="*/ 506068 w 1352638"/>
              <a:gd name="T25" fmla="*/ 15 h 174721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352638"/>
              <a:gd name="T40" fmla="*/ 0 h 1747216"/>
              <a:gd name="T41" fmla="*/ 1352638 w 1352638"/>
              <a:gd name="T42" fmla="*/ 1747216 h 174721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352638" h="1747216">
                <a:moveTo>
                  <a:pt x="506101" y="15"/>
                </a:moveTo>
                <a:cubicBezTo>
                  <a:pt x="532613" y="478"/>
                  <a:pt x="558949" y="11055"/>
                  <a:pt x="578824" y="31636"/>
                </a:cubicBezTo>
                <a:lnTo>
                  <a:pt x="1323560" y="802833"/>
                </a:lnTo>
                <a:cubicBezTo>
                  <a:pt x="1343435" y="823414"/>
                  <a:pt x="1353086" y="850103"/>
                  <a:pt x="1352623" y="876615"/>
                </a:cubicBezTo>
                <a:cubicBezTo>
                  <a:pt x="1352161" y="903128"/>
                  <a:pt x="1341584" y="929463"/>
                  <a:pt x="1321003" y="949338"/>
                </a:cubicBezTo>
                <a:lnTo>
                  <a:pt x="524889" y="1718136"/>
                </a:lnTo>
                <a:cubicBezTo>
                  <a:pt x="483726" y="1757887"/>
                  <a:pt x="418134" y="1756742"/>
                  <a:pt x="378383" y="1715579"/>
                </a:cubicBezTo>
                <a:lnTo>
                  <a:pt x="0" y="1323752"/>
                </a:lnTo>
                <a:lnTo>
                  <a:pt x="404285" y="933338"/>
                </a:lnTo>
                <a:cubicBezTo>
                  <a:pt x="445448" y="893587"/>
                  <a:pt x="446593" y="827995"/>
                  <a:pt x="406842" y="786833"/>
                </a:cubicBezTo>
                <a:lnTo>
                  <a:pt x="40490" y="407463"/>
                </a:lnTo>
                <a:lnTo>
                  <a:pt x="432318" y="29079"/>
                </a:lnTo>
                <a:cubicBezTo>
                  <a:pt x="452900" y="9204"/>
                  <a:pt x="479589" y="-448"/>
                  <a:pt x="506101" y="15"/>
                </a:cubicBezTo>
                <a:close/>
              </a:path>
            </a:pathLst>
          </a:custGeom>
          <a:solidFill>
            <a:srgbClr val="60A757"/>
          </a:solidFill>
          <a:ln>
            <a:noFill/>
          </a:ln>
        </p:spPr>
        <p:txBody>
          <a:bodyPr lIns="0" tIns="0" rIns="216000" bIns="0" anchor="ctr"/>
          <a:lstStyle/>
          <a:p>
            <a:pPr algn="r">
              <a:defRPr/>
            </a:pPr>
            <a:r>
              <a:rPr lang="zh-CN" altLang="en-US" b="1" kern="0" dirty="0">
                <a:solidFill>
                  <a:schemeClr val="bg1"/>
                </a:solidFill>
                <a:cs typeface="+mn-ea"/>
                <a:sym typeface="+mn-lt"/>
              </a:rPr>
              <a:t>Title.</a:t>
            </a:r>
          </a:p>
        </p:txBody>
      </p:sp>
      <p:sp>
        <p:nvSpPr>
          <p:cNvPr id="12" name="任意多边形 38">
            <a:extLst>
              <a:ext uri="{FF2B5EF4-FFF2-40B4-BE49-F238E27FC236}">
                <a16:creationId xmlns:a16="http://schemas.microsoft.com/office/drawing/2014/main" id="{8431EFBE-3D52-4F46-A179-A64A8A8716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83890" y="3771733"/>
            <a:ext cx="2545540" cy="1968060"/>
          </a:xfrm>
          <a:custGeom>
            <a:avLst/>
            <a:gdLst>
              <a:gd name="T0" fmla="*/ 423615 w 1747216"/>
              <a:gd name="T1" fmla="*/ 0 h 1352638"/>
              <a:gd name="T2" fmla="*/ 814167 w 1747216"/>
              <a:gd name="T3" fmla="*/ 404259 h 1352638"/>
              <a:gd name="T4" fmla="*/ 960725 w 1747216"/>
              <a:gd name="T5" fmla="*/ 406816 h 1352638"/>
              <a:gd name="T6" fmla="*/ 1340229 w 1747216"/>
              <a:gd name="T7" fmla="*/ 40487 h 1352638"/>
              <a:gd name="T8" fmla="*/ 1718748 w 1747216"/>
              <a:gd name="T9" fmla="*/ 432290 h 1352638"/>
              <a:gd name="T10" fmla="*/ 1716190 w 1747216"/>
              <a:gd name="T11" fmla="*/ 578786 h 1352638"/>
              <a:gd name="T12" fmla="*/ 944719 w 1747216"/>
              <a:gd name="T13" fmla="*/ 1323474 h 1352638"/>
              <a:gd name="T14" fmla="*/ 870910 w 1747216"/>
              <a:gd name="T15" fmla="*/ 1352535 h 1352638"/>
              <a:gd name="T16" fmla="*/ 798161 w 1747216"/>
              <a:gd name="T17" fmla="*/ 1320917 h 1352638"/>
              <a:gd name="T18" fmla="*/ 29089 w 1747216"/>
              <a:gd name="T19" fmla="*/ 524855 h 1352638"/>
              <a:gd name="T20" fmla="*/ 31647 w 1747216"/>
              <a:gd name="T21" fmla="*/ 378358 h 135263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747216"/>
              <a:gd name="T34" fmla="*/ 0 h 1352638"/>
              <a:gd name="T35" fmla="*/ 1747216 w 1747216"/>
              <a:gd name="T36" fmla="*/ 1352638 h 1352638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747216" h="1352638">
                <a:moveTo>
                  <a:pt x="423464" y="0"/>
                </a:moveTo>
                <a:lnTo>
                  <a:pt x="813877" y="404285"/>
                </a:lnTo>
                <a:cubicBezTo>
                  <a:pt x="853628" y="445448"/>
                  <a:pt x="919220" y="446592"/>
                  <a:pt x="960383" y="406842"/>
                </a:cubicBezTo>
                <a:lnTo>
                  <a:pt x="1339752" y="40490"/>
                </a:lnTo>
                <a:lnTo>
                  <a:pt x="1718136" y="432318"/>
                </a:lnTo>
                <a:cubicBezTo>
                  <a:pt x="1757887" y="473481"/>
                  <a:pt x="1756742" y="539074"/>
                  <a:pt x="1715579" y="578824"/>
                </a:cubicBezTo>
                <a:lnTo>
                  <a:pt x="944383" y="1323560"/>
                </a:lnTo>
                <a:cubicBezTo>
                  <a:pt x="923801" y="1343435"/>
                  <a:pt x="897113" y="1353086"/>
                  <a:pt x="870600" y="1352623"/>
                </a:cubicBezTo>
                <a:cubicBezTo>
                  <a:pt x="844088" y="1352161"/>
                  <a:pt x="817752" y="1341584"/>
                  <a:pt x="797877" y="1321003"/>
                </a:cubicBezTo>
                <a:lnTo>
                  <a:pt x="29079" y="524889"/>
                </a:lnTo>
                <a:cubicBezTo>
                  <a:pt x="-10671" y="483726"/>
                  <a:pt x="-9526" y="418134"/>
                  <a:pt x="31636" y="378383"/>
                </a:cubicBezTo>
                <a:lnTo>
                  <a:pt x="423464" y="0"/>
                </a:lnTo>
                <a:close/>
              </a:path>
            </a:pathLst>
          </a:custGeom>
          <a:solidFill>
            <a:srgbClr val="F57B26"/>
          </a:solidFill>
          <a:ln>
            <a:noFill/>
          </a:ln>
        </p:spPr>
        <p:txBody>
          <a:bodyPr lIns="0" tIns="216000" rIns="0" bIns="0" anchor="ctr"/>
          <a:lstStyle/>
          <a:p>
            <a:pPr algn="ctr">
              <a:defRPr/>
            </a:pPr>
            <a:r>
              <a:rPr lang="zh-CN" altLang="en-US" b="1" kern="0" dirty="0">
                <a:solidFill>
                  <a:schemeClr val="bg1"/>
                </a:solidFill>
                <a:cs typeface="+mn-ea"/>
                <a:sym typeface="+mn-lt"/>
              </a:rPr>
              <a:t>            Title.</a:t>
            </a:r>
          </a:p>
        </p:txBody>
      </p:sp>
      <p:grpSp>
        <p:nvGrpSpPr>
          <p:cNvPr id="17" name="Group 18">
            <a:extLst>
              <a:ext uri="{FF2B5EF4-FFF2-40B4-BE49-F238E27FC236}">
                <a16:creationId xmlns:a16="http://schemas.microsoft.com/office/drawing/2014/main" id="{1F3CE9EE-67CF-45B3-9CE3-9075DA0EA066}"/>
              </a:ext>
            </a:extLst>
          </p:cNvPr>
          <p:cNvGrpSpPr>
            <a:grpSpLocks/>
          </p:cNvGrpSpPr>
          <p:nvPr/>
        </p:nvGrpSpPr>
        <p:grpSpPr bwMode="auto">
          <a:xfrm>
            <a:off x="5958315" y="1880551"/>
            <a:ext cx="5616651" cy="882263"/>
            <a:chOff x="0" y="0"/>
            <a:chExt cx="3850501" cy="883533"/>
          </a:xfrm>
        </p:grpSpPr>
        <p:sp>
          <p:nvSpPr>
            <p:cNvPr id="18" name="文本框 44">
              <a:extLst>
                <a:ext uri="{FF2B5EF4-FFF2-40B4-BE49-F238E27FC236}">
                  <a16:creationId xmlns:a16="http://schemas.microsoft.com/office/drawing/2014/main" id="{E5E21261-0F82-494A-9F91-592BFCF695A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0" y="0"/>
              <a:ext cx="2674843" cy="3698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9pPr>
            </a:lstStyle>
            <a:p>
              <a:pPr>
                <a:spcBef>
                  <a:spcPct val="20000"/>
                </a:spcBef>
              </a:pPr>
              <a:r>
                <a:rPr lang="zh-CN" altLang="en-US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Click to edit the title.</a:t>
              </a:r>
              <a:endPara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9C62AFF6-C265-4A8E-A7AA-11610B2094C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0" y="353202"/>
              <a:ext cx="3850501" cy="530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9pPr>
            </a:lstStyle>
            <a:p>
              <a:pPr>
                <a:lnSpc>
                  <a:spcPts val="1800"/>
                </a:lnSpc>
              </a:pPr>
              <a:r>
                <a:rPr lang="zh-CN" altLang="en-US" sz="11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Please enter a specific description here, the text as simple as possible, the meaning can be, do not have to be too cumbersome, pay attention to the beauty of the layout.</a:t>
              </a:r>
              <a:endParaRPr lang="en-US" altLang="zh-CN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</p:grpSp>
      <p:grpSp>
        <p:nvGrpSpPr>
          <p:cNvPr id="20" name="Group 21">
            <a:extLst>
              <a:ext uri="{FF2B5EF4-FFF2-40B4-BE49-F238E27FC236}">
                <a16:creationId xmlns:a16="http://schemas.microsoft.com/office/drawing/2014/main" id="{988AEE2C-D528-430B-9276-D6ED6E0762BA}"/>
              </a:ext>
            </a:extLst>
          </p:cNvPr>
          <p:cNvGrpSpPr>
            <a:grpSpLocks/>
          </p:cNvGrpSpPr>
          <p:nvPr/>
        </p:nvGrpSpPr>
        <p:grpSpPr bwMode="auto">
          <a:xfrm>
            <a:off x="5958315" y="3307710"/>
            <a:ext cx="5616651" cy="882861"/>
            <a:chOff x="0" y="0"/>
            <a:chExt cx="5325006" cy="882634"/>
          </a:xfrm>
        </p:grpSpPr>
        <p:sp>
          <p:nvSpPr>
            <p:cNvPr id="21" name="文本框 47">
              <a:extLst>
                <a:ext uri="{FF2B5EF4-FFF2-40B4-BE49-F238E27FC236}">
                  <a16:creationId xmlns:a16="http://schemas.microsoft.com/office/drawing/2014/main" id="{05AA6CFF-0AC7-488A-9FA3-4A32946290A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0" y="0"/>
              <a:ext cx="2674843" cy="369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9pPr>
            </a:lstStyle>
            <a:p>
              <a:pPr>
                <a:spcBef>
                  <a:spcPct val="20000"/>
                </a:spcBef>
              </a:pPr>
              <a:r>
                <a:rPr lang="zh-CN" altLang="en-US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Click to edit the title.</a:t>
              </a:r>
              <a:endPara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22" name="文本框 21">
              <a:extLst>
                <a:ext uri="{FF2B5EF4-FFF2-40B4-BE49-F238E27FC236}">
                  <a16:creationId xmlns:a16="http://schemas.microsoft.com/office/drawing/2014/main" id="{D747E4AF-6692-4D13-99DC-C2A0C4E0379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0" y="353201"/>
              <a:ext cx="5325006" cy="5294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zh-CN"/>
              </a:defPPr>
              <a:lvl1pPr>
                <a:lnSpc>
                  <a:spcPts val="1800"/>
                </a:lnSpc>
                <a:defRPr sz="11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</a:defRPr>
              </a:lvl1pPr>
              <a:lvl2pPr marL="742950" indent="-285750">
                <a:defRPr>
                  <a:latin typeface="Calibri" pitchFamily="34" charset="0"/>
                  <a:ea typeface="宋体" pitchFamily="2" charset="-122"/>
                </a:defRPr>
              </a:lvl2pPr>
              <a:lvl3pPr marL="1143000" indent="-228600">
                <a:defRPr>
                  <a:latin typeface="Calibri" pitchFamily="34" charset="0"/>
                  <a:ea typeface="宋体" pitchFamily="2" charset="-122"/>
                </a:defRPr>
              </a:lvl3pPr>
              <a:lvl4pPr marL="1600200" indent="-228600">
                <a:defRPr>
                  <a:latin typeface="Calibri" pitchFamily="34" charset="0"/>
                  <a:ea typeface="宋体" pitchFamily="2" charset="-122"/>
                </a:defRPr>
              </a:lvl4pPr>
              <a:lvl5pPr marL="2057400" indent="-228600">
                <a:defRPr>
                  <a:latin typeface="Calibri" pitchFamily="34" charset="0"/>
                  <a:ea typeface="宋体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latin typeface="Calibri" pitchFamily="34" charset="0"/>
                  <a:ea typeface="宋体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latin typeface="Calibri" pitchFamily="34" charset="0"/>
                  <a:ea typeface="宋体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latin typeface="Calibri" pitchFamily="34" charset="0"/>
                  <a:ea typeface="宋体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latin typeface="Calibri" pitchFamily="34" charset="0"/>
                  <a:ea typeface="宋体" pitchFamily="2" charset="-122"/>
                </a:defRPr>
              </a:lvl9pPr>
            </a:lstStyle>
            <a:p>
              <a:r>
                <a:rPr lang="zh-CN" altLang="en-US" dirty="0">
                  <a:latin typeface="+mn-lt"/>
                  <a:cs typeface="+mn-ea"/>
                  <a:sym typeface="+mn-lt"/>
                </a:rPr>
                <a:t>Please enter a specific description here, the text as simple as possible, the meaning can be, do not have to be too cumbersome, pay attention to the beauty of the layout.</a:t>
              </a:r>
              <a:endParaRPr lang="en-US" altLang="zh-CN" dirty="0">
                <a:latin typeface="+mn-lt"/>
                <a:cs typeface="+mn-ea"/>
                <a:sym typeface="+mn-lt"/>
              </a:endParaRPr>
            </a:p>
          </p:txBody>
        </p:sp>
      </p:grpSp>
      <p:grpSp>
        <p:nvGrpSpPr>
          <p:cNvPr id="23" name="Group 24">
            <a:extLst>
              <a:ext uri="{FF2B5EF4-FFF2-40B4-BE49-F238E27FC236}">
                <a16:creationId xmlns:a16="http://schemas.microsoft.com/office/drawing/2014/main" id="{76DADF51-8247-4F7A-8D2B-D9EA670842FF}"/>
              </a:ext>
            </a:extLst>
          </p:cNvPr>
          <p:cNvGrpSpPr>
            <a:grpSpLocks/>
          </p:cNvGrpSpPr>
          <p:nvPr/>
        </p:nvGrpSpPr>
        <p:grpSpPr bwMode="auto">
          <a:xfrm>
            <a:off x="5958315" y="4736460"/>
            <a:ext cx="5616651" cy="882861"/>
            <a:chOff x="0" y="0"/>
            <a:chExt cx="5325006" cy="882634"/>
          </a:xfrm>
        </p:grpSpPr>
        <p:sp>
          <p:nvSpPr>
            <p:cNvPr id="24" name="文本框 50">
              <a:extLst>
                <a:ext uri="{FF2B5EF4-FFF2-40B4-BE49-F238E27FC236}">
                  <a16:creationId xmlns:a16="http://schemas.microsoft.com/office/drawing/2014/main" id="{6D349355-5356-42D3-A500-0ADA56CF23C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0" y="0"/>
              <a:ext cx="2674843" cy="369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9pPr>
            </a:lstStyle>
            <a:p>
              <a:pPr>
                <a:spcBef>
                  <a:spcPct val="20000"/>
                </a:spcBef>
              </a:pPr>
              <a:r>
                <a:rPr lang="zh-CN" altLang="en-US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Click to edit the title.</a:t>
              </a:r>
              <a:endPara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25" name="文本框 14">
              <a:extLst>
                <a:ext uri="{FF2B5EF4-FFF2-40B4-BE49-F238E27FC236}">
                  <a16:creationId xmlns:a16="http://schemas.microsoft.com/office/drawing/2014/main" id="{F60CDA03-D994-46B4-A5C4-A1E94BD4571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0" y="353201"/>
              <a:ext cx="5325006" cy="5294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zh-CN"/>
              </a:defPPr>
              <a:lvl1pPr>
                <a:lnSpc>
                  <a:spcPts val="1800"/>
                </a:lnSpc>
                <a:defRPr sz="11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ea"/>
                </a:defRPr>
              </a:lvl1pPr>
              <a:lvl2pPr marL="742950" indent="-285750">
                <a:defRPr>
                  <a:latin typeface="Calibri" pitchFamily="34" charset="0"/>
                  <a:ea typeface="宋体" pitchFamily="2" charset="-122"/>
                </a:defRPr>
              </a:lvl2pPr>
              <a:lvl3pPr marL="1143000" indent="-228600">
                <a:defRPr>
                  <a:latin typeface="Calibri" pitchFamily="34" charset="0"/>
                  <a:ea typeface="宋体" pitchFamily="2" charset="-122"/>
                </a:defRPr>
              </a:lvl3pPr>
              <a:lvl4pPr marL="1600200" indent="-228600">
                <a:defRPr>
                  <a:latin typeface="Calibri" pitchFamily="34" charset="0"/>
                  <a:ea typeface="宋体" pitchFamily="2" charset="-122"/>
                </a:defRPr>
              </a:lvl4pPr>
              <a:lvl5pPr marL="2057400" indent="-228600">
                <a:defRPr>
                  <a:latin typeface="Calibri" pitchFamily="34" charset="0"/>
                  <a:ea typeface="宋体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latin typeface="Calibri" pitchFamily="34" charset="0"/>
                  <a:ea typeface="宋体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latin typeface="Calibri" pitchFamily="34" charset="0"/>
                  <a:ea typeface="宋体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latin typeface="Calibri" pitchFamily="34" charset="0"/>
                  <a:ea typeface="宋体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>
                  <a:latin typeface="Calibri" pitchFamily="34" charset="0"/>
                  <a:ea typeface="宋体" pitchFamily="2" charset="-122"/>
                </a:defRPr>
              </a:lvl9pPr>
            </a:lstStyle>
            <a:p>
              <a:r>
                <a:rPr lang="zh-CN" altLang="en-US" dirty="0">
                  <a:latin typeface="+mn-lt"/>
                  <a:cs typeface="+mn-ea"/>
                  <a:sym typeface="+mn-lt"/>
                </a:rPr>
                <a:t>Please enter a specific description here, the text as simple as possible, the meaning can be, do not have to be too cumbersome, pay attention to the beauty of the layout.</a:t>
              </a:r>
              <a:endParaRPr lang="en-US" altLang="zh-CN" dirty="0">
                <a:latin typeface="+mn-lt"/>
                <a:cs typeface="+mn-ea"/>
                <a:sym typeface="+mn-lt"/>
              </a:endParaRPr>
            </a:p>
          </p:txBody>
        </p:sp>
      </p:grpSp>
      <p:sp>
        <p:nvSpPr>
          <p:cNvPr id="26" name="文本框 25">
            <a:extLst>
              <a:ext uri="{FF2B5EF4-FFF2-40B4-BE49-F238E27FC236}">
                <a16:creationId xmlns:a16="http://schemas.microsoft.com/office/drawing/2014/main" id="{459FB3A9-CD16-4E37-90D9-DAC294392288}"/>
              </a:ext>
            </a:extLst>
          </p:cNvPr>
          <p:cNvSpPr txBox="1"/>
          <p:nvPr/>
        </p:nvSpPr>
        <p:spPr>
          <a:xfrm>
            <a:off x="3818697" y="90631"/>
            <a:ext cx="4662693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66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pPr>
              <a:lnSpc>
                <a:spcPts val="4000"/>
              </a:lnSpc>
            </a:pPr>
            <a:r>
              <a:rPr lang="zh-CN" altLang="en-US" sz="4000" dirty="0">
                <a:latin typeface="+mn-lt"/>
                <a:ea typeface="+mn-ea"/>
                <a:cs typeface="+mn-ea"/>
                <a:sym typeface="+mn-lt"/>
              </a:rPr>
              <a:t>Teaching design</a:t>
            </a:r>
          </a:p>
        </p:txBody>
      </p:sp>
    </p:spTree>
    <p:extLst>
      <p:ext uri="{BB962C8B-B14F-4D97-AF65-F5344CB8AC3E}">
        <p14:creationId xmlns:p14="http://schemas.microsoft.com/office/powerpoint/2010/main" val="1572653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400" advClick="0" advTm="0">
        <p14:honeycomb/>
      </p:transition>
    </mc:Choice>
    <mc:Fallback xmlns:a14="http://schemas.microsoft.com/office/drawing/2010/main" xmlns:a16="http://schemas.microsoft.com/office/drawing/2014/main"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500"/>
                            </p:stCondLst>
                            <p:childTnLst>
                              <p:par>
                                <p:cTn id="3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000"/>
                            </p:stCondLst>
                            <p:childTnLst>
                              <p:par>
                                <p:cTn id="3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2500"/>
                            </p:stCondLst>
                            <p:childTnLst>
                              <p:par>
                                <p:cTn id="4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3000"/>
                            </p:stCondLst>
                            <p:childTnLst>
                              <p:par>
                                <p:cTn id="46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 tmFilter="0,0; .5, 1; 1, 1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6" grpId="0" animBg="1"/>
      <p:bldP spid="10" grpId="0" animBg="1"/>
      <p:bldP spid="11" grpId="0" animBg="1"/>
      <p:bldP spid="12" grpId="0" animBg="1"/>
      <p:bldP spid="26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C6002DE4-0B35-4ACB-96DD-668FCFEE0D7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-4294"/>
            <a:ext cx="12202211" cy="6858000"/>
          </a:xfrm>
          <a:prstGeom prst="rect">
            <a:avLst/>
          </a:prstGeom>
          <a:ln>
            <a:noFill/>
          </a:ln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0B31D1B4-30DB-4C87-A153-EF6EA5C3DE6E}"/>
              </a:ext>
            </a:extLst>
          </p:cNvPr>
          <p:cNvSpPr/>
          <p:nvPr/>
        </p:nvSpPr>
        <p:spPr>
          <a:xfrm>
            <a:off x="2255573" y="1374674"/>
            <a:ext cx="8352928" cy="4224469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  <a:effectLst>
            <a:outerShdw blurRad="152400" dist="762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cs typeface="+mn-ea"/>
              <a:sym typeface="+mn-lt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0DFD6F58-1456-4565-A7FA-4889094FD26C}"/>
              </a:ext>
            </a:extLst>
          </p:cNvPr>
          <p:cNvSpPr/>
          <p:nvPr/>
        </p:nvSpPr>
        <p:spPr>
          <a:xfrm>
            <a:off x="1679509" y="1374673"/>
            <a:ext cx="7488832" cy="345638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77800" sx="103000" sy="103000" algn="ctr" rotWithShape="0">
              <a:prstClr val="black">
                <a:alpha val="3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DDC0E3D9-958C-4060-B1A9-C07ADD40EEA3}"/>
              </a:ext>
            </a:extLst>
          </p:cNvPr>
          <p:cNvSpPr/>
          <p:nvPr/>
        </p:nvSpPr>
        <p:spPr>
          <a:xfrm>
            <a:off x="7655562" y="605813"/>
            <a:ext cx="2210519" cy="2210518"/>
          </a:xfrm>
          <a:prstGeom prst="rect">
            <a:avLst/>
          </a:prstGeom>
          <a:solidFill>
            <a:srgbClr val="D00000"/>
          </a:solidFill>
          <a:ln>
            <a:noFill/>
          </a:ln>
          <a:effectLst>
            <a:outerShdw blurRad="114300" dist="38100" dir="2700000" sx="101000" sy="101000" algn="tl" rotWithShape="0">
              <a:prstClr val="black">
                <a:alpha val="3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241CF7B9-B014-49C9-96C0-4A630E09C08D}"/>
              </a:ext>
            </a:extLst>
          </p:cNvPr>
          <p:cNvSpPr/>
          <p:nvPr/>
        </p:nvSpPr>
        <p:spPr>
          <a:xfrm>
            <a:off x="1980688" y="3429000"/>
            <a:ext cx="3299221" cy="1384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933" dirty="0">
                <a:solidFill>
                  <a:schemeClr val="bg1"/>
                </a:solidFill>
                <a:cs typeface="+mn-ea"/>
                <a:sym typeface="+mn-lt"/>
              </a:rPr>
              <a:t>OF THIS SCHEME, WE THANK YOU FOR YOUR READING, THE PROPOSAL IS WE UNDERSTAND YOUR COMPANY FOR THE REQUIREMENTS, AND PROPOSAL INFORMATION, THIS PAPERS THE SPECIFIC. REQUIREMENTS.</a:t>
            </a:r>
          </a:p>
        </p:txBody>
      </p:sp>
      <p:sp>
        <p:nvSpPr>
          <p:cNvPr id="18" name="TextBox 18">
            <a:extLst>
              <a:ext uri="{FF2B5EF4-FFF2-40B4-BE49-F238E27FC236}">
                <a16:creationId xmlns:a16="http://schemas.microsoft.com/office/drawing/2014/main" id="{CEE4B56E-805F-42BD-B0BA-A50E9420F11C}"/>
              </a:ext>
            </a:extLst>
          </p:cNvPr>
          <p:cNvSpPr txBox="1"/>
          <p:nvPr/>
        </p:nvSpPr>
        <p:spPr>
          <a:xfrm>
            <a:off x="8174190" y="987799"/>
            <a:ext cx="120009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8000" spc="400">
                <a:solidFill>
                  <a:schemeClr val="bg1"/>
                </a:solidFill>
                <a:latin typeface="Agency FB" panose="020B0503020202020204" pitchFamily="34" charset="0"/>
                <a:cs typeface="+mn-ea"/>
              </a:defRPr>
            </a:lvl1pPr>
          </a:lstStyle>
          <a:p>
            <a:r>
              <a:rPr lang="en-US" altLang="zh-CN" dirty="0">
                <a:sym typeface="+mn-lt"/>
              </a:rPr>
              <a:t>04</a:t>
            </a:r>
            <a:endParaRPr lang="zh-CN" altLang="en-US" dirty="0">
              <a:sym typeface="+mn-lt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23FC91EC-A33E-474B-8946-3468139A7936}"/>
              </a:ext>
            </a:extLst>
          </p:cNvPr>
          <p:cNvSpPr txBox="1"/>
          <p:nvPr/>
        </p:nvSpPr>
        <p:spPr>
          <a:xfrm>
            <a:off x="1583500" y="2198027"/>
            <a:ext cx="6208778" cy="6171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66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pPr>
              <a:lnSpc>
                <a:spcPts val="4000"/>
              </a:lnSpc>
            </a:pPr>
            <a:r>
              <a:rPr lang="zh-CN" altLang="en-US" sz="4800" dirty="0">
                <a:solidFill>
                  <a:srgbClr val="D00000"/>
                </a:solidFill>
                <a:latin typeface="+mn-lt"/>
                <a:ea typeface="+mn-ea"/>
                <a:cs typeface="+mn-ea"/>
                <a:sym typeface="+mn-lt"/>
              </a:rPr>
              <a:t>Teaching reflection</a:t>
            </a: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8E8B6E05-31A9-41F9-80B0-911FDFB1F350}"/>
              </a:ext>
            </a:extLst>
          </p:cNvPr>
          <p:cNvSpPr/>
          <p:nvPr/>
        </p:nvSpPr>
        <p:spPr>
          <a:xfrm>
            <a:off x="2772230" y="3515783"/>
            <a:ext cx="4686031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zh-CN" altLang="en-US" sz="1050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  <a:sym typeface="+mn-lt"/>
              </a:rPr>
              <a:t>Please enter a specific description here, the text as simple as possible, the meaning can be, do not have to be too cumbersome, pay attention to the beauty of the layout.</a:t>
            </a: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98B2FC46-A089-4BDC-97CB-94226A8A2FE2}"/>
              </a:ext>
            </a:extLst>
          </p:cNvPr>
          <p:cNvSpPr/>
          <p:nvPr/>
        </p:nvSpPr>
        <p:spPr>
          <a:xfrm>
            <a:off x="2657654" y="2796456"/>
            <a:ext cx="49979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spc="4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SING REFLECTION</a:t>
            </a:r>
            <a:endParaRPr lang="zh-CN" altLang="en-US" sz="2400" b="1" spc="4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42819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 advClick="0" advTm="0">
        <p14:doors dir="vert"/>
      </p:transition>
    </mc:Choice>
    <mc:Fallback xmlns:a14="http://schemas.microsoft.com/office/drawing/2010/main" xmlns:a16="http://schemas.microsoft.com/office/drawing/2014/main" xmlns="">
      <p:transition spd="slow" advClick="0" advTm="0">
        <p:fade/>
      </p:transition>
    </mc:Fallback>
  </mc:AlternateContent>
  <mc:AlternateContent xmlns:mc="http://schemas.openxmlformats.org/markup-compatibility/2006">
    <mc:Choice xmlns:p14="http://schemas.microsoft.com/office/powerpoint/2010/main"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afterEffect" p14:presetBounceEnd="64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4000">
                                          <p:cBhvr additive="base">
                                            <p:cTn id="7" dur="3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4000">
                                          <p:cBhvr additive="base">
                                            <p:cTn id="8" dur="3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 p14:presetBounceEnd="42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2000">
                                          <p:cBhvr additive="base">
                                            <p:cTn id="11" dur="2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2000">
                                          <p:cBhvr additive="base">
                                            <p:cTn id="12" dur="2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 p14:presetBounceEnd="52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2000">
                                          <p:cBhvr additive="base">
                                            <p:cTn id="15" dur="3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2000">
                                          <p:cBhvr additive="base">
                                            <p:cTn id="16" dur="3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1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22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4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5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6" dur="500"/>
                                            <p:tgtEl>
                                              <p:spTgt spid="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7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28" presetID="41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0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x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1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h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w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4" dur="500" tmFilter="0,0; .5, 1; 1, 1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5" fill="hold">
                                <p:stCondLst>
                                  <p:cond delay="4850"/>
                                </p:stCondLst>
                                <p:childTnLst>
                                  <p:par>
                                    <p:cTn id="36" presetID="16" presetClass="entr" presetSubtype="37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outVertical)">
                                          <p:cBhvr>
                                            <p:cTn id="38" dur="5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9" fill="hold">
                                <p:stCondLst>
                                  <p:cond delay="5350"/>
                                </p:stCondLst>
                                <p:childTnLst>
                                  <p:par>
                                    <p:cTn id="40" presetID="37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1000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43" dur="1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4" dur="900" decel="100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-.03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5" dur="100" accel="100000" fill="hold">
                                              <p:stCondLst>
                                                <p:cond delay="90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.03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6" grpId="0" animBg="1"/>
          <p:bldP spid="7" grpId="0" animBg="1"/>
          <p:bldP spid="13" grpId="0"/>
          <p:bldP spid="18" grpId="0"/>
          <p:bldP spid="19" grpId="0"/>
          <p:bldP spid="21" grpId="0"/>
          <p:bldP spid="23" grpId="0"/>
        </p:bldLst>
      </p:timing>
    </mc:Choice>
    <mc:Fallback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3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3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2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2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3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3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1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22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4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5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6" dur="500"/>
                                            <p:tgtEl>
                                              <p:spTgt spid="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7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28" presetID="41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0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x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1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h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w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4" dur="500" tmFilter="0,0; .5, 1; 1, 1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5" fill="hold">
                                <p:stCondLst>
                                  <p:cond delay="4850"/>
                                </p:stCondLst>
                                <p:childTnLst>
                                  <p:par>
                                    <p:cTn id="36" presetID="16" presetClass="entr" presetSubtype="37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outVertical)">
                                          <p:cBhvr>
                                            <p:cTn id="38" dur="5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9" fill="hold">
                                <p:stCondLst>
                                  <p:cond delay="5350"/>
                                </p:stCondLst>
                                <p:childTnLst>
                                  <p:par>
                                    <p:cTn id="40" presetID="37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1000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43" dur="1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4" dur="900" decel="100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-.03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5" dur="100" accel="100000" fill="hold">
                                              <p:stCondLst>
                                                <p:cond delay="90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.03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6" grpId="0" animBg="1"/>
          <p:bldP spid="7" grpId="0" animBg="1"/>
          <p:bldP spid="13" grpId="0"/>
          <p:bldP spid="18" grpId="0"/>
          <p:bldP spid="19" grpId="0"/>
          <p:bldP spid="21" grpId="0"/>
          <p:bldP spid="23" grpId="0"/>
        </p:bldLst>
      </p:timing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51D13426-E8B1-423C-8E93-BE80157D7DC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-4294"/>
            <a:ext cx="12202211" cy="6858000"/>
          </a:xfrm>
          <a:prstGeom prst="rect">
            <a:avLst/>
          </a:prstGeom>
          <a:ln>
            <a:noFill/>
          </a:ln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3D9F80FB-CBE3-4852-A9DA-1663E36721BC}"/>
              </a:ext>
            </a:extLst>
          </p:cNvPr>
          <p:cNvSpPr/>
          <p:nvPr/>
        </p:nvSpPr>
        <p:spPr>
          <a:xfrm rot="10800000">
            <a:off x="1928944" y="1290168"/>
            <a:ext cx="10263053" cy="422447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77800" sx="103000" sy="103000" algn="ctr" rotWithShape="0">
              <a:prstClr val="black">
                <a:alpha val="3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BFFA9A78-F1B6-44F8-A607-B12B41B077D9}"/>
              </a:ext>
            </a:extLst>
          </p:cNvPr>
          <p:cNvSpPr txBox="1"/>
          <p:nvPr/>
        </p:nvSpPr>
        <p:spPr>
          <a:xfrm>
            <a:off x="2765010" y="3254991"/>
            <a:ext cx="273986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40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r>
              <a:rPr lang="en-US" altLang="zh-CN" sz="3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ea"/>
                <a:sym typeface="+mn-lt"/>
              </a:rPr>
              <a:t>CONTENTS</a:t>
            </a:r>
            <a:endParaRPr lang="zh-CN" altLang="en-US" sz="3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B5078C30-03E0-48B1-96ED-6013A5360D45}"/>
              </a:ext>
            </a:extLst>
          </p:cNvPr>
          <p:cNvSpPr/>
          <p:nvPr/>
        </p:nvSpPr>
        <p:spPr>
          <a:xfrm>
            <a:off x="5851415" y="2114549"/>
            <a:ext cx="476251" cy="476250"/>
          </a:xfrm>
          <a:prstGeom prst="roundRect">
            <a:avLst/>
          </a:prstGeom>
          <a:noFill/>
          <a:ln w="28575">
            <a:solidFill>
              <a:srgbClr val="60A757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srgbClr val="60A757"/>
                </a:solidFill>
                <a:latin typeface="Agency FB" panose="020B0503020202020204" pitchFamily="34" charset="0"/>
                <a:cs typeface="+mn-ea"/>
                <a:sym typeface="+mn-lt"/>
              </a:rPr>
              <a:t>01</a:t>
            </a:r>
            <a:endParaRPr lang="zh-CN" altLang="en-US" sz="1600" b="1" dirty="0">
              <a:solidFill>
                <a:srgbClr val="60A757"/>
              </a:solidFill>
              <a:latin typeface="Agency FB" panose="020B0503020202020204" pitchFamily="34" charset="0"/>
              <a:cs typeface="+mn-ea"/>
              <a:sym typeface="+mn-lt"/>
            </a:endParaRPr>
          </a:p>
        </p:txBody>
      </p:sp>
      <p:sp>
        <p:nvSpPr>
          <p:cNvPr id="12" name="矩形: 圆角 11">
            <a:extLst>
              <a:ext uri="{FF2B5EF4-FFF2-40B4-BE49-F238E27FC236}">
                <a16:creationId xmlns:a16="http://schemas.microsoft.com/office/drawing/2014/main" id="{8F824BBC-4118-4FD3-A083-BA9678A6B97F}"/>
              </a:ext>
            </a:extLst>
          </p:cNvPr>
          <p:cNvSpPr/>
          <p:nvPr/>
        </p:nvSpPr>
        <p:spPr>
          <a:xfrm>
            <a:off x="7002297" y="2120731"/>
            <a:ext cx="476251" cy="476250"/>
          </a:xfrm>
          <a:prstGeom prst="roundRect">
            <a:avLst/>
          </a:prstGeom>
          <a:noFill/>
          <a:ln w="28575">
            <a:solidFill>
              <a:srgbClr val="F57B26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srgbClr val="F57B26"/>
                </a:solidFill>
                <a:latin typeface="Agency FB" panose="020B0503020202020204" pitchFamily="34" charset="0"/>
                <a:cs typeface="+mn-ea"/>
                <a:sym typeface="+mn-lt"/>
              </a:rPr>
              <a:t>02</a:t>
            </a:r>
            <a:endParaRPr lang="zh-CN" altLang="en-US" sz="1600" b="1" dirty="0">
              <a:solidFill>
                <a:srgbClr val="F57B26"/>
              </a:solidFill>
              <a:latin typeface="Agency FB" panose="020B0503020202020204" pitchFamily="34" charset="0"/>
              <a:cs typeface="+mn-ea"/>
              <a:sym typeface="+mn-lt"/>
            </a:endParaRPr>
          </a:p>
        </p:txBody>
      </p: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D8C0E27F-E896-4140-AED5-E3930D58FDCD}"/>
              </a:ext>
            </a:extLst>
          </p:cNvPr>
          <p:cNvSpPr/>
          <p:nvPr/>
        </p:nvSpPr>
        <p:spPr>
          <a:xfrm>
            <a:off x="8250535" y="2114549"/>
            <a:ext cx="476251" cy="476250"/>
          </a:xfrm>
          <a:prstGeom prst="roundRect">
            <a:avLst/>
          </a:prstGeom>
          <a:noFill/>
          <a:ln w="28575">
            <a:solidFill>
              <a:srgbClr val="D54839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srgbClr val="D54839"/>
                </a:solidFill>
                <a:latin typeface="Agency FB" panose="020B0503020202020204" pitchFamily="34" charset="0"/>
                <a:cs typeface="+mn-ea"/>
                <a:sym typeface="+mn-lt"/>
              </a:rPr>
              <a:t>03</a:t>
            </a:r>
            <a:endParaRPr lang="zh-CN" altLang="en-US" sz="1600" b="1" dirty="0">
              <a:solidFill>
                <a:srgbClr val="D54839"/>
              </a:solidFill>
              <a:latin typeface="Agency FB" panose="020B0503020202020204" pitchFamily="34" charset="0"/>
              <a:cs typeface="+mn-ea"/>
              <a:sym typeface="+mn-lt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1F1AAF5F-2266-47DA-B9FB-1AC7263D043B}"/>
              </a:ext>
            </a:extLst>
          </p:cNvPr>
          <p:cNvSpPr/>
          <p:nvPr/>
        </p:nvSpPr>
        <p:spPr>
          <a:xfrm>
            <a:off x="9525937" y="2114549"/>
            <a:ext cx="476251" cy="476250"/>
          </a:xfrm>
          <a:prstGeom prst="roundRect">
            <a:avLst/>
          </a:prstGeom>
          <a:noFill/>
          <a:ln w="28575">
            <a:solidFill>
              <a:srgbClr val="6FCEFE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dirty="0">
                <a:solidFill>
                  <a:srgbClr val="6FCEFE"/>
                </a:solidFill>
                <a:latin typeface="Agency FB" panose="020B0503020202020204" pitchFamily="34" charset="0"/>
                <a:cs typeface="+mn-ea"/>
                <a:sym typeface="+mn-lt"/>
              </a:rPr>
              <a:t>04</a:t>
            </a:r>
            <a:endParaRPr lang="zh-CN" altLang="en-US" sz="1600" b="1" dirty="0">
              <a:solidFill>
                <a:srgbClr val="6FCEFE"/>
              </a:solidFill>
              <a:latin typeface="Agency FB" panose="020B0503020202020204" pitchFamily="34" charset="0"/>
              <a:cs typeface="+mn-ea"/>
              <a:sym typeface="+mn-lt"/>
            </a:endParaRPr>
          </a:p>
        </p:txBody>
      </p:sp>
      <p:pic>
        <p:nvPicPr>
          <p:cNvPr id="71" name="图片 70">
            <a:extLst>
              <a:ext uri="{FF2B5EF4-FFF2-40B4-BE49-F238E27FC236}">
                <a16:creationId xmlns:a16="http://schemas.microsoft.com/office/drawing/2014/main" id="{18486B74-5810-4F41-A734-D56FE55CED3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-23256"/>
            <a:ext cx="3090515" cy="6881255"/>
          </a:xfrm>
          <a:prstGeom prst="rect">
            <a:avLst/>
          </a:prstGeom>
        </p:spPr>
      </p:pic>
      <p:sp>
        <p:nvSpPr>
          <p:cNvPr id="72" name="矩形 71">
            <a:extLst>
              <a:ext uri="{FF2B5EF4-FFF2-40B4-BE49-F238E27FC236}">
                <a16:creationId xmlns:a16="http://schemas.microsoft.com/office/drawing/2014/main" id="{3DF46849-2962-40A2-B2FF-EF1655051869}"/>
              </a:ext>
            </a:extLst>
          </p:cNvPr>
          <p:cNvSpPr/>
          <p:nvPr/>
        </p:nvSpPr>
        <p:spPr>
          <a:xfrm>
            <a:off x="11658463" y="1290169"/>
            <a:ext cx="551575" cy="4224471"/>
          </a:xfrm>
          <a:prstGeom prst="rect">
            <a:avLst/>
          </a:prstGeom>
          <a:solidFill>
            <a:srgbClr val="D00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81A701EC-C077-4424-A0C2-DED31F087A2A}"/>
              </a:ext>
            </a:extLst>
          </p:cNvPr>
          <p:cNvSpPr txBox="1"/>
          <p:nvPr/>
        </p:nvSpPr>
        <p:spPr>
          <a:xfrm>
            <a:off x="9473137" y="2805168"/>
            <a:ext cx="677108" cy="1987826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sz="3200" dirty="0"/>
              <a:t>Text title</a:t>
            </a:r>
            <a:endParaRPr lang="zh-CN" altLang="en-US" sz="3200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337153C2-42CA-4BB4-9E94-195C53BD7BD0}"/>
              </a:ext>
            </a:extLst>
          </p:cNvPr>
          <p:cNvSpPr txBox="1"/>
          <p:nvPr/>
        </p:nvSpPr>
        <p:spPr>
          <a:xfrm>
            <a:off x="8150106" y="2805168"/>
            <a:ext cx="677108" cy="1987826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sz="3200" dirty="0"/>
              <a:t>Text title</a:t>
            </a:r>
            <a:endParaRPr lang="zh-CN" altLang="en-US" sz="3200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719AC499-A9B5-4015-83D3-A02826BAD549}"/>
              </a:ext>
            </a:extLst>
          </p:cNvPr>
          <p:cNvSpPr txBox="1"/>
          <p:nvPr/>
        </p:nvSpPr>
        <p:spPr>
          <a:xfrm>
            <a:off x="6931877" y="2805168"/>
            <a:ext cx="677108" cy="1987826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sz="3200" dirty="0"/>
              <a:t>Text title</a:t>
            </a:r>
            <a:endParaRPr lang="zh-CN" altLang="en-US" sz="3200" dirty="0"/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1DC1639B-8F46-4F8F-85B5-B7C37551E373}"/>
              </a:ext>
            </a:extLst>
          </p:cNvPr>
          <p:cNvSpPr txBox="1"/>
          <p:nvPr/>
        </p:nvSpPr>
        <p:spPr>
          <a:xfrm>
            <a:off x="5784698" y="2805168"/>
            <a:ext cx="677108" cy="1987826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en-US" altLang="zh-CN" sz="3200" dirty="0"/>
              <a:t>Text title</a:t>
            </a:r>
            <a:endParaRPr lang="zh-CN" altLang="en-US" sz="3200" dirty="0"/>
          </a:p>
        </p:txBody>
      </p:sp>
    </p:spTree>
    <p:extLst>
      <p:ext uri="{BB962C8B-B14F-4D97-AF65-F5344CB8AC3E}">
        <p14:creationId xmlns:p14="http://schemas.microsoft.com/office/powerpoint/2010/main" val="883246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3000">
        <p14:prism isInverted="1"/>
      </p:transition>
    </mc:Choice>
    <mc:Fallback xmlns:a14="http://schemas.microsoft.com/office/drawing/2010/main" xmlns:a16="http://schemas.microsoft.com/office/drawing/2014/main" xmlns="">
      <p:transition spd="slow" advClick="0" advTm="3000">
        <p:fade/>
      </p:transition>
    </mc:Fallback>
  </mc:AlternateContent>
  <mc:AlternateContent xmlns:mc="http://schemas.openxmlformats.org/markup-compatibility/2006">
    <mc:Choice xmlns:p14="http://schemas.microsoft.com/office/powerpoint/2010/main"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7" dur="500"/>
                                            <p:tgtEl>
                                              <p:spTgt spid="7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9" presetID="2" presetClass="entr" presetSubtype="2" fill="hold" grpId="0" nodeType="afterEffect" p14:presetBounceEnd="52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2000">
                                          <p:cBhvr additive="base">
                                            <p:cTn id="11" dur="2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2000">
                                          <p:cBhvr additive="base">
                                            <p:cTn id="12" dur="2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3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14" presetID="22" presetClass="entr" presetSubtype="1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16" dur="500"/>
                                            <p:tgtEl>
                                              <p:spTgt spid="7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18" presetID="42" presetClass="entr" presetSubtype="0" fill="hold" grpId="1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0" dur="50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21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2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3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24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6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7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8" dur="5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9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30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2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3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4" dur="500"/>
                                            <p:tgtEl>
                                              <p:spTgt spid="1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5" fill="hold">
                                <p:stCondLst>
                                  <p:cond delay="4500"/>
                                </p:stCondLst>
                                <p:childTnLst>
                                  <p:par>
                                    <p:cTn id="36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8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9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0" dur="50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1" fill="hold">
                                <p:stCondLst>
                                  <p:cond delay="5000"/>
                                </p:stCondLst>
                                <p:childTnLst>
                                  <p:par>
                                    <p:cTn id="42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4" dur="5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5" dur="5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6" dur="50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6" grpId="0"/>
          <p:bldP spid="6" grpId="1"/>
          <p:bldP spid="11" grpId="0" animBg="1"/>
          <p:bldP spid="12" grpId="0" animBg="1"/>
          <p:bldP spid="13" grpId="0" animBg="1"/>
          <p:bldP spid="14" grpId="0" animBg="1"/>
          <p:bldP spid="72" grpId="0" animBg="1"/>
        </p:bldLst>
      </p:timing>
    </mc:Choice>
    <mc:Fallback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7" dur="500"/>
                                            <p:tgtEl>
                                              <p:spTgt spid="7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9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2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2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3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14" presetID="22" presetClass="entr" presetSubtype="1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16" dur="500"/>
                                            <p:tgtEl>
                                              <p:spTgt spid="7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18" presetID="42" presetClass="entr" presetSubtype="0" fill="hold" grpId="1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0" dur="50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21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2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3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24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6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7" dur="500" fill="hold"/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8" dur="5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9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30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2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3" dur="500" fill="hold"/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4" dur="500"/>
                                            <p:tgtEl>
                                              <p:spTgt spid="1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5" fill="hold">
                                <p:stCondLst>
                                  <p:cond delay="4500"/>
                                </p:stCondLst>
                                <p:childTnLst>
                                  <p:par>
                                    <p:cTn id="36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8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9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0" dur="50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1" fill="hold">
                                <p:stCondLst>
                                  <p:cond delay="5000"/>
                                </p:stCondLst>
                                <p:childTnLst>
                                  <p:par>
                                    <p:cTn id="42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4" dur="5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5" dur="5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6" dur="50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6" grpId="0"/>
          <p:bldP spid="6" grpId="1"/>
          <p:bldP spid="11" grpId="0" animBg="1"/>
          <p:bldP spid="12" grpId="0" animBg="1"/>
          <p:bldP spid="13" grpId="0" animBg="1"/>
          <p:bldP spid="14" grpId="0" animBg="1"/>
          <p:bldP spid="72" grpId="0" animBg="1"/>
        </p:bldLst>
      </p:timing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B3643088-BADE-4B2C-8D16-84C355AB00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25203"/>
            <a:ext cx="12202211" cy="6858000"/>
          </a:xfrm>
          <a:prstGeom prst="rect">
            <a:avLst/>
          </a:prstGeom>
          <a:ln>
            <a:noFill/>
          </a:ln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87218F93-96F9-462F-BAFB-7E145859AED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 flipH="1">
            <a:off x="99171" y="-99171"/>
            <a:ext cx="1058956" cy="1257300"/>
          </a:xfrm>
          <a:prstGeom prst="rect">
            <a:avLst/>
          </a:prstGeom>
        </p:spPr>
      </p:pic>
      <p:sp>
        <p:nvSpPr>
          <p:cNvPr id="8" name="TextBox 18">
            <a:extLst>
              <a:ext uri="{FF2B5EF4-FFF2-40B4-BE49-F238E27FC236}">
                <a16:creationId xmlns:a16="http://schemas.microsoft.com/office/drawing/2014/main" id="{EC3E81A0-9853-4F50-A63A-07CECD490F96}"/>
              </a:ext>
            </a:extLst>
          </p:cNvPr>
          <p:cNvSpPr txBox="1"/>
          <p:nvPr/>
        </p:nvSpPr>
        <p:spPr>
          <a:xfrm>
            <a:off x="1367227" y="80984"/>
            <a:ext cx="24514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spc="4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ART FOUR</a:t>
            </a:r>
            <a:endParaRPr lang="zh-CN" altLang="en-US" sz="2400" b="1" spc="4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9873D27F-C381-4667-8DFD-AF65EE884426}"/>
              </a:ext>
            </a:extLst>
          </p:cNvPr>
          <p:cNvSpPr txBox="1">
            <a:spLocks/>
          </p:cNvSpPr>
          <p:nvPr/>
        </p:nvSpPr>
        <p:spPr>
          <a:xfrm>
            <a:off x="2298498" y="2466440"/>
            <a:ext cx="3018229" cy="841609"/>
          </a:xfrm>
          <a:prstGeom prst="rect">
            <a:avLst/>
          </a:prstGeom>
        </p:spPr>
        <p:txBody>
          <a:bodyPr>
            <a:norm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2"/>
                </a:solidFill>
                <a:latin typeface="钟齐陈伟勋硬笔行书字库" panose="02010600030101010101" pitchFamily="2" charset="-122"/>
                <a:ea typeface="+mn-ea"/>
                <a:cs typeface="Dancing Script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133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800"/>
              </a:lnSpc>
              <a:buNone/>
            </a:pPr>
            <a:r>
              <a:rPr lang="zh-CN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ea"/>
                <a:sym typeface="+mn-lt"/>
              </a:rPr>
              <a:t>Enter a specific description here to note the beauty of the layout.</a:t>
            </a:r>
            <a:endParaRPr lang="en-US" altLang="zh-CN" sz="11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A76CED7F-80BE-4A84-A869-E8EFF5F1DA80}"/>
              </a:ext>
            </a:extLst>
          </p:cNvPr>
          <p:cNvSpPr txBox="1">
            <a:spLocks/>
          </p:cNvSpPr>
          <p:nvPr/>
        </p:nvSpPr>
        <p:spPr>
          <a:xfrm>
            <a:off x="4554947" y="4777211"/>
            <a:ext cx="2844327" cy="1229407"/>
          </a:xfrm>
          <a:prstGeom prst="rect">
            <a:avLst/>
          </a:prstGeom>
        </p:spPr>
        <p:txBody>
          <a:bodyPr>
            <a:normAutofit/>
          </a:bodyPr>
          <a:lstStyle>
            <a:defPPr>
              <a:defRPr lang="zh-CN"/>
            </a:defPPr>
            <a:lvl1pPr indent="0" defTabSz="609585">
              <a:lnSpc>
                <a:spcPts val="1800"/>
              </a:lnSpc>
              <a:spcBef>
                <a:spcPct val="20000"/>
              </a:spcBef>
              <a:buFont typeface="Arial"/>
              <a:buNone/>
              <a:defRPr sz="110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Dancing Script"/>
              </a:defRPr>
            </a:lvl1pPr>
            <a:lvl2pPr marL="990575" indent="-380990" defTabSz="609585">
              <a:spcBef>
                <a:spcPct val="20000"/>
              </a:spcBef>
              <a:buFont typeface="Arial"/>
              <a:buChar char="–"/>
              <a:defRPr sz="2667">
                <a:latin typeface="钟齐陈伟勋硬笔行书字库" panose="02010600030101010101" pitchFamily="2" charset="-122"/>
              </a:defRPr>
            </a:lvl2pPr>
            <a:lvl3pPr marL="1523962" indent="-304792" defTabSz="609585">
              <a:spcBef>
                <a:spcPct val="20000"/>
              </a:spcBef>
              <a:buFont typeface="Arial"/>
              <a:buChar char="•"/>
              <a:defRPr sz="2400">
                <a:latin typeface="钟齐陈伟勋硬笔行书字库" panose="02010600030101010101" pitchFamily="2" charset="-122"/>
              </a:defRPr>
            </a:lvl3pPr>
            <a:lvl4pPr marL="2133547" indent="-304792" defTabSz="609585">
              <a:spcBef>
                <a:spcPct val="20000"/>
              </a:spcBef>
              <a:buFont typeface="Arial"/>
              <a:buChar char="–"/>
              <a:defRPr sz="2133">
                <a:latin typeface="钟齐陈伟勋硬笔行书字库" panose="02010600030101010101" pitchFamily="2" charset="-122"/>
              </a:defRPr>
            </a:lvl4pPr>
            <a:lvl5pPr marL="2743131" indent="-304792" defTabSz="609585">
              <a:spcBef>
                <a:spcPct val="20000"/>
              </a:spcBef>
              <a:buFont typeface="Arial"/>
              <a:buChar char="»"/>
              <a:defRPr sz="2133">
                <a:latin typeface="钟齐陈伟勋硬笔行书字库" panose="02010600030101010101" pitchFamily="2" charset="-122"/>
              </a:defRPr>
            </a:lvl5pPr>
            <a:lvl6pPr marL="3352716" indent="-304792" defTabSz="609585">
              <a:spcBef>
                <a:spcPct val="20000"/>
              </a:spcBef>
              <a:buFont typeface="Arial"/>
              <a:buChar char="•"/>
              <a:defRPr sz="2667"/>
            </a:lvl6pPr>
            <a:lvl7pPr marL="3962301" indent="-304792" defTabSz="609585">
              <a:spcBef>
                <a:spcPct val="20000"/>
              </a:spcBef>
              <a:buFont typeface="Arial"/>
              <a:buChar char="•"/>
              <a:defRPr sz="2667"/>
            </a:lvl7pPr>
            <a:lvl8pPr marL="4571886" indent="-304792" defTabSz="609585">
              <a:spcBef>
                <a:spcPct val="20000"/>
              </a:spcBef>
              <a:buFont typeface="Arial"/>
              <a:buChar char="•"/>
              <a:defRPr sz="2667"/>
            </a:lvl8pPr>
            <a:lvl9pPr marL="5181470" indent="-304792" defTabSz="609585">
              <a:spcBef>
                <a:spcPct val="20000"/>
              </a:spcBef>
              <a:buFont typeface="Arial"/>
              <a:buChar char="•"/>
              <a:defRPr sz="2667"/>
            </a:lvl9pPr>
          </a:lstStyle>
          <a:p>
            <a:r>
              <a:rPr lang="zh-CN" altLang="en-US" dirty="0">
                <a:latin typeface="+mn-lt"/>
                <a:cs typeface="+mn-ea"/>
                <a:sym typeface="+mn-lt"/>
              </a:rPr>
              <a:t>Enter a specific description here to note the beauty of the layout.</a:t>
            </a:r>
            <a:endParaRPr lang="en-US" altLang="zh-CN" dirty="0">
              <a:latin typeface="+mn-lt"/>
              <a:cs typeface="+mn-ea"/>
              <a:sym typeface="+mn-lt"/>
            </a:endParaRPr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E91F1758-BC4F-4E56-B322-8E881694B9DB}"/>
              </a:ext>
            </a:extLst>
          </p:cNvPr>
          <p:cNvSpPr txBox="1">
            <a:spLocks/>
          </p:cNvSpPr>
          <p:nvPr/>
        </p:nvSpPr>
        <p:spPr>
          <a:xfrm>
            <a:off x="2312511" y="1987366"/>
            <a:ext cx="2481519" cy="515165"/>
          </a:xfrm>
          <a:prstGeom prst="rect">
            <a:avLst/>
          </a:prstGeom>
        </p:spPr>
        <p:txBody>
          <a:bodyPr>
            <a:normAutofit fontScale="77500" lnSpcReduction="20000"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2"/>
                </a:solidFill>
                <a:latin typeface="钟齐陈伟勋硬笔行书字库" panose="02010600030101010101" pitchFamily="2" charset="-122"/>
                <a:ea typeface="+mn-ea"/>
                <a:cs typeface="Dancing Script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133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ea"/>
                <a:sym typeface="+mn-lt"/>
              </a:rPr>
              <a:t>Please enter the title.</a:t>
            </a:r>
            <a:endParaRPr lang="en-US" sz="2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0F6BEDC1-FD83-47EB-A291-7671A3B0C792}"/>
              </a:ext>
            </a:extLst>
          </p:cNvPr>
          <p:cNvSpPr txBox="1">
            <a:spLocks/>
          </p:cNvSpPr>
          <p:nvPr/>
        </p:nvSpPr>
        <p:spPr>
          <a:xfrm>
            <a:off x="4554946" y="4377036"/>
            <a:ext cx="2842210" cy="639763"/>
          </a:xfrm>
          <a:prstGeom prst="rect">
            <a:avLst/>
          </a:prstGeom>
          <a:ln>
            <a:noFill/>
          </a:ln>
        </p:spPr>
        <p:txBody>
          <a:bodyPr>
            <a:normAutofit fontScale="92500"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2"/>
                </a:solidFill>
                <a:latin typeface="钟齐陈伟勋硬笔行书字库" panose="02010600030101010101" pitchFamily="2" charset="-122"/>
                <a:ea typeface="+mn-ea"/>
                <a:cs typeface="Dancing Script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133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ea"/>
                <a:sym typeface="+mn-lt"/>
              </a:rPr>
              <a:t>Please enter the title.</a:t>
            </a:r>
            <a:endParaRPr lang="en-US" altLang="zh-CN" sz="24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ea"/>
              <a:sym typeface="+mn-lt"/>
            </a:endParaRPr>
          </a:p>
        </p:txBody>
      </p:sp>
      <p:cxnSp>
        <p:nvCxnSpPr>
          <p:cNvPr id="30" name="Straight Connector 17">
            <a:extLst>
              <a:ext uri="{FF2B5EF4-FFF2-40B4-BE49-F238E27FC236}">
                <a16:creationId xmlns:a16="http://schemas.microsoft.com/office/drawing/2014/main" id="{E415B550-C009-4172-AA21-9A87275F3333}"/>
              </a:ext>
            </a:extLst>
          </p:cNvPr>
          <p:cNvCxnSpPr/>
          <p:nvPr/>
        </p:nvCxnSpPr>
        <p:spPr>
          <a:xfrm>
            <a:off x="0" y="3720935"/>
            <a:ext cx="1219200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1" name="Group 21">
            <a:extLst>
              <a:ext uri="{FF2B5EF4-FFF2-40B4-BE49-F238E27FC236}">
                <a16:creationId xmlns:a16="http://schemas.microsoft.com/office/drawing/2014/main" id="{58B5D600-0DB6-45F3-95A9-E76D77E9C86C}"/>
              </a:ext>
            </a:extLst>
          </p:cNvPr>
          <p:cNvGrpSpPr/>
          <p:nvPr/>
        </p:nvGrpSpPr>
        <p:grpSpPr>
          <a:xfrm>
            <a:off x="1021201" y="2108343"/>
            <a:ext cx="1113507" cy="1613652"/>
            <a:chOff x="765900" y="1511808"/>
            <a:chExt cx="835130" cy="1210239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grpSpPr>
        <p:cxnSp>
          <p:nvCxnSpPr>
            <p:cNvPr id="32" name="Straight Connector 19">
              <a:extLst>
                <a:ext uri="{FF2B5EF4-FFF2-40B4-BE49-F238E27FC236}">
                  <a16:creationId xmlns:a16="http://schemas.microsoft.com/office/drawing/2014/main" id="{4C6FD01B-4137-4E01-B1C9-2C9ED32B95CA}"/>
                </a:ext>
              </a:extLst>
            </p:cNvPr>
            <p:cNvCxnSpPr>
              <a:cxnSpLocks/>
              <a:endCxn id="33" idx="4"/>
            </p:cNvCxnSpPr>
            <p:nvPr/>
          </p:nvCxnSpPr>
          <p:spPr>
            <a:xfrm rot="5400000" flipH="1" flipV="1">
              <a:off x="996308" y="2534096"/>
              <a:ext cx="374315" cy="1588"/>
            </a:xfrm>
            <a:prstGeom prst="line">
              <a:avLst/>
            </a:prstGeom>
            <a:grpFill/>
            <a:ln w="12700" cmpd="sng">
              <a:solidFill>
                <a:srgbClr val="60A757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Oval 20">
              <a:extLst>
                <a:ext uri="{FF2B5EF4-FFF2-40B4-BE49-F238E27FC236}">
                  <a16:creationId xmlns:a16="http://schemas.microsoft.com/office/drawing/2014/main" id="{824B1809-04F4-4C89-A6D6-BD9E200EE61B}"/>
                </a:ext>
              </a:extLst>
            </p:cNvPr>
            <p:cNvSpPr/>
            <p:nvPr/>
          </p:nvSpPr>
          <p:spPr>
            <a:xfrm>
              <a:off x="765900" y="1511808"/>
              <a:ext cx="835130" cy="835130"/>
            </a:xfrm>
            <a:prstGeom prst="ellipse">
              <a:avLst/>
            </a:prstGeom>
            <a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 w="12700" cmpd="sng">
              <a:solidFill>
                <a:srgbClr val="60A757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endParaRPr>
            </a:p>
          </p:txBody>
        </p:sp>
      </p:grp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841476CE-8D35-4A2F-B0E8-14C2C3C75139}"/>
              </a:ext>
            </a:extLst>
          </p:cNvPr>
          <p:cNvSpPr txBox="1">
            <a:spLocks/>
          </p:cNvSpPr>
          <p:nvPr/>
        </p:nvSpPr>
        <p:spPr>
          <a:xfrm>
            <a:off x="7020062" y="2466440"/>
            <a:ext cx="3062183" cy="841609"/>
          </a:xfrm>
          <a:prstGeom prst="rect">
            <a:avLst/>
          </a:prstGeom>
        </p:spPr>
        <p:txBody>
          <a:bodyPr>
            <a:normAutofit/>
          </a:bodyPr>
          <a:lstStyle>
            <a:defPPr>
              <a:defRPr lang="zh-CN"/>
            </a:defPPr>
            <a:lvl1pPr indent="0" defTabSz="609585">
              <a:lnSpc>
                <a:spcPts val="1800"/>
              </a:lnSpc>
              <a:spcBef>
                <a:spcPct val="20000"/>
              </a:spcBef>
              <a:buFont typeface="Arial"/>
              <a:buNone/>
              <a:defRPr sz="110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Dancing Script"/>
              </a:defRPr>
            </a:lvl1pPr>
            <a:lvl2pPr marL="990575" indent="-380990" defTabSz="609585">
              <a:spcBef>
                <a:spcPct val="20000"/>
              </a:spcBef>
              <a:buFont typeface="Arial"/>
              <a:buChar char="–"/>
              <a:defRPr sz="2667">
                <a:latin typeface="钟齐陈伟勋硬笔行书字库" panose="02010600030101010101" pitchFamily="2" charset="-122"/>
              </a:defRPr>
            </a:lvl2pPr>
            <a:lvl3pPr marL="1523962" indent="-304792" defTabSz="609585">
              <a:spcBef>
                <a:spcPct val="20000"/>
              </a:spcBef>
              <a:buFont typeface="Arial"/>
              <a:buChar char="•"/>
              <a:defRPr sz="2400">
                <a:latin typeface="钟齐陈伟勋硬笔行书字库" panose="02010600030101010101" pitchFamily="2" charset="-122"/>
              </a:defRPr>
            </a:lvl3pPr>
            <a:lvl4pPr marL="2133547" indent="-304792" defTabSz="609585">
              <a:spcBef>
                <a:spcPct val="20000"/>
              </a:spcBef>
              <a:buFont typeface="Arial"/>
              <a:buChar char="–"/>
              <a:defRPr sz="2133">
                <a:latin typeface="钟齐陈伟勋硬笔行书字库" panose="02010600030101010101" pitchFamily="2" charset="-122"/>
              </a:defRPr>
            </a:lvl4pPr>
            <a:lvl5pPr marL="2743131" indent="-304792" defTabSz="609585">
              <a:spcBef>
                <a:spcPct val="20000"/>
              </a:spcBef>
              <a:buFont typeface="Arial"/>
              <a:buChar char="»"/>
              <a:defRPr sz="2133">
                <a:latin typeface="钟齐陈伟勋硬笔行书字库" panose="02010600030101010101" pitchFamily="2" charset="-122"/>
              </a:defRPr>
            </a:lvl5pPr>
            <a:lvl6pPr marL="3352716" indent="-304792" defTabSz="609585">
              <a:spcBef>
                <a:spcPct val="20000"/>
              </a:spcBef>
              <a:buFont typeface="Arial"/>
              <a:buChar char="•"/>
              <a:defRPr sz="2667"/>
            </a:lvl6pPr>
            <a:lvl7pPr marL="3962301" indent="-304792" defTabSz="609585">
              <a:spcBef>
                <a:spcPct val="20000"/>
              </a:spcBef>
              <a:buFont typeface="Arial"/>
              <a:buChar char="•"/>
              <a:defRPr sz="2667"/>
            </a:lvl7pPr>
            <a:lvl8pPr marL="4571886" indent="-304792" defTabSz="609585">
              <a:spcBef>
                <a:spcPct val="20000"/>
              </a:spcBef>
              <a:buFont typeface="Arial"/>
              <a:buChar char="•"/>
              <a:defRPr sz="2667"/>
            </a:lvl8pPr>
            <a:lvl9pPr marL="5181470" indent="-304792" defTabSz="609585">
              <a:spcBef>
                <a:spcPct val="20000"/>
              </a:spcBef>
              <a:buFont typeface="Arial"/>
              <a:buChar char="•"/>
              <a:defRPr sz="2667"/>
            </a:lvl9pPr>
          </a:lstStyle>
          <a:p>
            <a:r>
              <a:rPr lang="zh-CN" altLang="en-US" dirty="0">
                <a:latin typeface="+mn-lt"/>
                <a:cs typeface="+mn-ea"/>
                <a:sym typeface="+mn-lt"/>
              </a:rPr>
              <a:t>Enter a specific description here to note the beauty of the layout.</a:t>
            </a:r>
            <a:endParaRPr lang="en-US" altLang="zh-CN" dirty="0">
              <a:latin typeface="+mn-lt"/>
              <a:cs typeface="+mn-ea"/>
              <a:sym typeface="+mn-lt"/>
            </a:endParaRP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70CB0300-23F3-4306-AC79-3F6016DCD989}"/>
              </a:ext>
            </a:extLst>
          </p:cNvPr>
          <p:cNvSpPr txBox="1">
            <a:spLocks/>
          </p:cNvSpPr>
          <p:nvPr/>
        </p:nvSpPr>
        <p:spPr>
          <a:xfrm>
            <a:off x="9121320" y="4816629"/>
            <a:ext cx="2908664" cy="1421825"/>
          </a:xfrm>
          <a:prstGeom prst="rect">
            <a:avLst/>
          </a:prstGeom>
        </p:spPr>
        <p:txBody>
          <a:bodyPr>
            <a:normAutofit/>
          </a:bodyPr>
          <a:lstStyle>
            <a:defPPr>
              <a:defRPr lang="zh-CN"/>
            </a:defPPr>
            <a:lvl1pPr indent="0" defTabSz="609585">
              <a:lnSpc>
                <a:spcPts val="1800"/>
              </a:lnSpc>
              <a:spcBef>
                <a:spcPct val="20000"/>
              </a:spcBef>
              <a:buFont typeface="Arial"/>
              <a:buNone/>
              <a:defRPr sz="110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cs typeface="Dancing Script"/>
              </a:defRPr>
            </a:lvl1pPr>
            <a:lvl2pPr marL="990575" indent="-380990" defTabSz="609585">
              <a:spcBef>
                <a:spcPct val="20000"/>
              </a:spcBef>
              <a:buFont typeface="Arial"/>
              <a:buChar char="–"/>
              <a:defRPr sz="2667">
                <a:latin typeface="钟齐陈伟勋硬笔行书字库" panose="02010600030101010101" pitchFamily="2" charset="-122"/>
              </a:defRPr>
            </a:lvl2pPr>
            <a:lvl3pPr marL="1523962" indent="-304792" defTabSz="609585">
              <a:spcBef>
                <a:spcPct val="20000"/>
              </a:spcBef>
              <a:buFont typeface="Arial"/>
              <a:buChar char="•"/>
              <a:defRPr sz="2400">
                <a:latin typeface="钟齐陈伟勋硬笔行书字库" panose="02010600030101010101" pitchFamily="2" charset="-122"/>
              </a:defRPr>
            </a:lvl3pPr>
            <a:lvl4pPr marL="2133547" indent="-304792" defTabSz="609585">
              <a:spcBef>
                <a:spcPct val="20000"/>
              </a:spcBef>
              <a:buFont typeface="Arial"/>
              <a:buChar char="–"/>
              <a:defRPr sz="2133">
                <a:latin typeface="钟齐陈伟勋硬笔行书字库" panose="02010600030101010101" pitchFamily="2" charset="-122"/>
              </a:defRPr>
            </a:lvl4pPr>
            <a:lvl5pPr marL="2743131" indent="-304792" defTabSz="609585">
              <a:spcBef>
                <a:spcPct val="20000"/>
              </a:spcBef>
              <a:buFont typeface="Arial"/>
              <a:buChar char="»"/>
              <a:defRPr sz="2133">
                <a:latin typeface="钟齐陈伟勋硬笔行书字库" panose="02010600030101010101" pitchFamily="2" charset="-122"/>
              </a:defRPr>
            </a:lvl5pPr>
            <a:lvl6pPr marL="3352716" indent="-304792" defTabSz="609585">
              <a:spcBef>
                <a:spcPct val="20000"/>
              </a:spcBef>
              <a:buFont typeface="Arial"/>
              <a:buChar char="•"/>
              <a:defRPr sz="2667"/>
            </a:lvl6pPr>
            <a:lvl7pPr marL="3962301" indent="-304792" defTabSz="609585">
              <a:spcBef>
                <a:spcPct val="20000"/>
              </a:spcBef>
              <a:buFont typeface="Arial"/>
              <a:buChar char="•"/>
              <a:defRPr sz="2667"/>
            </a:lvl7pPr>
            <a:lvl8pPr marL="4571886" indent="-304792" defTabSz="609585">
              <a:spcBef>
                <a:spcPct val="20000"/>
              </a:spcBef>
              <a:buFont typeface="Arial"/>
              <a:buChar char="•"/>
              <a:defRPr sz="2667"/>
            </a:lvl8pPr>
            <a:lvl9pPr marL="5181470" indent="-304792" defTabSz="609585">
              <a:spcBef>
                <a:spcPct val="20000"/>
              </a:spcBef>
              <a:buFont typeface="Arial"/>
              <a:buChar char="•"/>
              <a:defRPr sz="2667"/>
            </a:lvl9pPr>
          </a:lstStyle>
          <a:p>
            <a:r>
              <a:rPr lang="zh-CN" altLang="en-US" dirty="0">
                <a:latin typeface="+mn-lt"/>
                <a:cs typeface="+mn-ea"/>
                <a:sym typeface="+mn-lt"/>
              </a:rPr>
              <a:t>Enter a specific description here to note the beauty of the layout.</a:t>
            </a:r>
            <a:endParaRPr lang="en-US" altLang="zh-CN" dirty="0">
              <a:latin typeface="+mn-lt"/>
              <a:cs typeface="+mn-ea"/>
              <a:sym typeface="+mn-lt"/>
            </a:endParaRPr>
          </a:p>
        </p:txBody>
      </p:sp>
      <p:sp>
        <p:nvSpPr>
          <p:cNvPr id="36" name="Text Placeholder 13">
            <a:extLst>
              <a:ext uri="{FF2B5EF4-FFF2-40B4-BE49-F238E27FC236}">
                <a16:creationId xmlns:a16="http://schemas.microsoft.com/office/drawing/2014/main" id="{3670355C-BBB9-4D8A-8D11-030A9F88574E}"/>
              </a:ext>
            </a:extLst>
          </p:cNvPr>
          <p:cNvSpPr txBox="1">
            <a:spLocks/>
          </p:cNvSpPr>
          <p:nvPr/>
        </p:nvSpPr>
        <p:spPr>
          <a:xfrm>
            <a:off x="7020062" y="1987366"/>
            <a:ext cx="2481519" cy="515165"/>
          </a:xfrm>
          <a:prstGeom prst="rect">
            <a:avLst/>
          </a:prstGeom>
        </p:spPr>
        <p:txBody>
          <a:bodyPr vert="horz" lIns="121920" tIns="60960" rIns="121920" bIns="60960" rtlCol="0" anchor="b">
            <a:normAutofit fontScale="77500" lnSpcReduction="20000"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400" b="1" kern="1200">
                <a:solidFill>
                  <a:srgbClr val="996633"/>
                </a:solidFill>
                <a:latin typeface="+mn-lt"/>
                <a:ea typeface="+mn-ea"/>
                <a:cs typeface="Dancing Script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b="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lease enter the title.</a:t>
            </a:r>
            <a:endParaRPr lang="en-US" altLang="zh-CN" b="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0E97110F-5243-4875-A5A7-6616446D906E}"/>
              </a:ext>
            </a:extLst>
          </p:cNvPr>
          <p:cNvSpPr txBox="1">
            <a:spLocks/>
          </p:cNvSpPr>
          <p:nvPr/>
        </p:nvSpPr>
        <p:spPr>
          <a:xfrm>
            <a:off x="9068606" y="4238099"/>
            <a:ext cx="2842210" cy="639763"/>
          </a:xfrm>
          <a:prstGeom prst="rect">
            <a:avLst/>
          </a:prstGeom>
          <a:ln>
            <a:noFill/>
          </a:ln>
        </p:spPr>
        <p:txBody>
          <a:bodyPr vert="horz" lIns="121920" tIns="60960" rIns="121920" bIns="60960" rtlCol="0" anchor="b">
            <a:normAutofit fontScale="92500"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400" b="1" kern="1200">
                <a:solidFill>
                  <a:srgbClr val="996633"/>
                </a:solidFill>
                <a:latin typeface="+mn-lt"/>
                <a:ea typeface="+mn-ea"/>
                <a:cs typeface="Dancing Script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b="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lease enter the title.</a:t>
            </a:r>
            <a:endParaRPr lang="en-US" altLang="zh-CN" b="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grpSp>
        <p:nvGrpSpPr>
          <p:cNvPr id="38" name="Group 22">
            <a:extLst>
              <a:ext uri="{FF2B5EF4-FFF2-40B4-BE49-F238E27FC236}">
                <a16:creationId xmlns:a16="http://schemas.microsoft.com/office/drawing/2014/main" id="{5AFB2A75-2916-4015-A1AC-085053916EFB}"/>
              </a:ext>
            </a:extLst>
          </p:cNvPr>
          <p:cNvGrpSpPr/>
          <p:nvPr/>
        </p:nvGrpSpPr>
        <p:grpSpPr>
          <a:xfrm>
            <a:off x="3212933" y="3723904"/>
            <a:ext cx="1113507" cy="1612595"/>
            <a:chOff x="2409699" y="2723478"/>
            <a:chExt cx="835130" cy="1209446"/>
          </a:xfrm>
          <a:blipFill dpi="0"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grpSpPr>
        <p:cxnSp>
          <p:nvCxnSpPr>
            <p:cNvPr id="39" name="Straight Connector 33">
              <a:extLst>
                <a:ext uri="{FF2B5EF4-FFF2-40B4-BE49-F238E27FC236}">
                  <a16:creationId xmlns:a16="http://schemas.microsoft.com/office/drawing/2014/main" id="{97FFDC04-AADC-457B-B9B1-F18340629C3D}"/>
                </a:ext>
              </a:extLst>
            </p:cNvPr>
            <p:cNvCxnSpPr/>
            <p:nvPr/>
          </p:nvCxnSpPr>
          <p:spPr>
            <a:xfrm rot="5400000" flipH="1" flipV="1">
              <a:off x="2640107" y="2909842"/>
              <a:ext cx="374315" cy="1588"/>
            </a:xfrm>
            <a:prstGeom prst="line">
              <a:avLst/>
            </a:prstGeom>
            <a:grpFill/>
            <a:ln w="12700" cmpd="sng">
              <a:solidFill>
                <a:srgbClr val="D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Oval 34">
              <a:extLst>
                <a:ext uri="{FF2B5EF4-FFF2-40B4-BE49-F238E27FC236}">
                  <a16:creationId xmlns:a16="http://schemas.microsoft.com/office/drawing/2014/main" id="{818C67AC-2DC0-4711-95B0-081CBB967AA6}"/>
                </a:ext>
              </a:extLst>
            </p:cNvPr>
            <p:cNvSpPr/>
            <p:nvPr/>
          </p:nvSpPr>
          <p:spPr>
            <a:xfrm>
              <a:off x="2409699" y="3097794"/>
              <a:ext cx="835130" cy="835130"/>
            </a:xfrm>
            <a:prstGeom prst="ellipse">
              <a:avLst/>
            </a:prstGeom>
            <a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 w="12700" cmpd="sng">
              <a:solidFill>
                <a:srgbClr val="D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41" name="Group 23">
            <a:extLst>
              <a:ext uri="{FF2B5EF4-FFF2-40B4-BE49-F238E27FC236}">
                <a16:creationId xmlns:a16="http://schemas.microsoft.com/office/drawing/2014/main" id="{756AD1F0-87BE-4E6C-A00E-3998FA9AC417}"/>
              </a:ext>
            </a:extLst>
          </p:cNvPr>
          <p:cNvGrpSpPr/>
          <p:nvPr/>
        </p:nvGrpSpPr>
        <p:grpSpPr>
          <a:xfrm>
            <a:off x="5611641" y="2109401"/>
            <a:ext cx="1113507" cy="1613652"/>
            <a:chOff x="4208730" y="1512602"/>
            <a:chExt cx="835130" cy="1210239"/>
          </a:xfrm>
          <a:blipFill dpi="0"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grpSpPr>
        <p:cxnSp>
          <p:nvCxnSpPr>
            <p:cNvPr id="42" name="Straight Connector 35">
              <a:extLst>
                <a:ext uri="{FF2B5EF4-FFF2-40B4-BE49-F238E27FC236}">
                  <a16:creationId xmlns:a16="http://schemas.microsoft.com/office/drawing/2014/main" id="{0FECEFB6-1CBE-497B-AD41-793C1998DDCA}"/>
                </a:ext>
              </a:extLst>
            </p:cNvPr>
            <p:cNvCxnSpPr>
              <a:endCxn id="43" idx="4"/>
            </p:cNvCxnSpPr>
            <p:nvPr/>
          </p:nvCxnSpPr>
          <p:spPr>
            <a:xfrm rot="5400000" flipH="1" flipV="1">
              <a:off x="4439138" y="2534890"/>
              <a:ext cx="374315" cy="1588"/>
            </a:xfrm>
            <a:prstGeom prst="line">
              <a:avLst/>
            </a:prstGeom>
            <a:grpFill/>
            <a:ln w="12700" cmpd="sng">
              <a:solidFill>
                <a:srgbClr val="6FCEFE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Oval 36">
              <a:extLst>
                <a:ext uri="{FF2B5EF4-FFF2-40B4-BE49-F238E27FC236}">
                  <a16:creationId xmlns:a16="http://schemas.microsoft.com/office/drawing/2014/main" id="{4FF5332D-0663-43F4-A030-AD0237989C49}"/>
                </a:ext>
              </a:extLst>
            </p:cNvPr>
            <p:cNvSpPr/>
            <p:nvPr/>
          </p:nvSpPr>
          <p:spPr>
            <a:xfrm>
              <a:off x="4208730" y="1512602"/>
              <a:ext cx="835130" cy="835130"/>
            </a:xfrm>
            <a:prstGeom prst="ellipse">
              <a:avLst/>
            </a:prstGeom>
            <a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 w="12700" cmpd="sng">
              <a:solidFill>
                <a:srgbClr val="6FCEFE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44" name="Group 28">
            <a:extLst>
              <a:ext uri="{FF2B5EF4-FFF2-40B4-BE49-F238E27FC236}">
                <a16:creationId xmlns:a16="http://schemas.microsoft.com/office/drawing/2014/main" id="{3B273FD8-C691-4629-9214-655B7E4941E6}"/>
              </a:ext>
            </a:extLst>
          </p:cNvPr>
          <p:cNvGrpSpPr/>
          <p:nvPr/>
        </p:nvGrpSpPr>
        <p:grpSpPr>
          <a:xfrm>
            <a:off x="7703544" y="3710932"/>
            <a:ext cx="1113507" cy="1612595"/>
            <a:chOff x="5777657" y="2713749"/>
            <a:chExt cx="835130" cy="1209446"/>
          </a:xfrm>
          <a:blipFill dpi="0"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grpSpPr>
        <p:cxnSp>
          <p:nvCxnSpPr>
            <p:cNvPr id="45" name="Straight Connector 37">
              <a:extLst>
                <a:ext uri="{FF2B5EF4-FFF2-40B4-BE49-F238E27FC236}">
                  <a16:creationId xmlns:a16="http://schemas.microsoft.com/office/drawing/2014/main" id="{C57F4E6D-0A70-4EC4-BEB8-4B645CECED5E}"/>
                </a:ext>
              </a:extLst>
            </p:cNvPr>
            <p:cNvCxnSpPr/>
            <p:nvPr/>
          </p:nvCxnSpPr>
          <p:spPr>
            <a:xfrm rot="5400000" flipH="1" flipV="1">
              <a:off x="6008065" y="2900113"/>
              <a:ext cx="374315" cy="1588"/>
            </a:xfrm>
            <a:prstGeom prst="line">
              <a:avLst/>
            </a:prstGeom>
            <a:grpFill/>
            <a:ln w="12700" cmpd="sng">
              <a:solidFill>
                <a:srgbClr val="F57B2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Oval 38">
              <a:extLst>
                <a:ext uri="{FF2B5EF4-FFF2-40B4-BE49-F238E27FC236}">
                  <a16:creationId xmlns:a16="http://schemas.microsoft.com/office/drawing/2014/main" id="{7D3030F4-2EB4-4763-9124-976648B73901}"/>
                </a:ext>
              </a:extLst>
            </p:cNvPr>
            <p:cNvSpPr/>
            <p:nvPr/>
          </p:nvSpPr>
          <p:spPr>
            <a:xfrm>
              <a:off x="5777657" y="3088065"/>
              <a:ext cx="835130" cy="835130"/>
            </a:xfrm>
            <a:prstGeom prst="ellipse">
              <a:avLst/>
            </a:prstGeom>
            <a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 w="12700" cmpd="sng">
              <a:solidFill>
                <a:srgbClr val="F57B2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endParaRPr>
            </a:p>
          </p:txBody>
        </p:sp>
      </p:grpSp>
      <p:sp>
        <p:nvSpPr>
          <p:cNvPr id="47" name="文本框 46">
            <a:extLst>
              <a:ext uri="{FF2B5EF4-FFF2-40B4-BE49-F238E27FC236}">
                <a16:creationId xmlns:a16="http://schemas.microsoft.com/office/drawing/2014/main" id="{B8AD37E3-2E87-4A2F-8223-CDB28146CB18}"/>
              </a:ext>
            </a:extLst>
          </p:cNvPr>
          <p:cNvSpPr txBox="1"/>
          <p:nvPr/>
        </p:nvSpPr>
        <p:spPr>
          <a:xfrm>
            <a:off x="3818697" y="90631"/>
            <a:ext cx="4662693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66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pPr>
              <a:lnSpc>
                <a:spcPts val="4000"/>
              </a:lnSpc>
            </a:pPr>
            <a:r>
              <a:rPr lang="zh-CN" altLang="en-US" sz="4000" dirty="0">
                <a:latin typeface="+mn-lt"/>
                <a:ea typeface="+mn-ea"/>
                <a:cs typeface="+mn-ea"/>
                <a:sym typeface="+mn-lt"/>
              </a:rPr>
              <a:t>Teaching design</a:t>
            </a:r>
          </a:p>
        </p:txBody>
      </p:sp>
    </p:spTree>
    <p:extLst>
      <p:ext uri="{BB962C8B-B14F-4D97-AF65-F5344CB8AC3E}">
        <p14:creationId xmlns:p14="http://schemas.microsoft.com/office/powerpoint/2010/main" val="1923752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prism isInverted="1"/>
      </p:transition>
    </mc:Choice>
    <mc:Fallback xmlns:a14="http://schemas.microsoft.com/office/drawing/2010/main" xmlns:a16="http://schemas.microsoft.com/office/drawing/2014/main"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000"/>
                            </p:stCondLst>
                            <p:childTnLst>
                              <p:par>
                                <p:cTn id="21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500"/>
                            </p:stCondLst>
                            <p:childTnLst>
                              <p:par>
                                <p:cTn id="27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4000"/>
                            </p:stCondLst>
                            <p:childTnLst>
                              <p:par>
                                <p:cTn id="3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000"/>
                            </p:stCondLst>
                            <p:childTnLst>
                              <p:par>
                                <p:cTn id="37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5500"/>
                            </p:stCondLst>
                            <p:childTnLst>
                              <p:par>
                                <p:cTn id="4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6000"/>
                            </p:stCondLst>
                            <p:childTnLst>
                              <p:par>
                                <p:cTn id="4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7000"/>
                            </p:stCondLst>
                            <p:childTnLst>
                              <p:par>
                                <p:cTn id="5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7500"/>
                            </p:stCondLst>
                            <p:childTnLst>
                              <p:par>
                                <p:cTn id="59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8000"/>
                            </p:stCondLst>
                            <p:childTnLst>
                              <p:par>
                                <p:cTn id="6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7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9000"/>
                            </p:stCondLst>
                            <p:childTnLst>
                              <p:par>
                                <p:cTn id="69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9500"/>
                            </p:stCondLst>
                            <p:childTnLst>
                              <p:par>
                                <p:cTn id="7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10000"/>
                            </p:stCondLst>
                            <p:childTnLst>
                              <p:par>
                                <p:cTn id="81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7" dur="500" tmFilter="0,0; .5, 1; 1, 1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26" grpId="0" build="p"/>
      <p:bldP spid="27" grpId="0" build="p"/>
      <p:bldP spid="28" grpId="0" build="p"/>
      <p:bldP spid="29" grpId="0" build="p"/>
      <p:bldP spid="34" grpId="0"/>
      <p:bldP spid="35" grpId="0"/>
      <p:bldP spid="36" grpId="0"/>
      <p:bldP spid="37" grpId="0"/>
      <p:bldP spid="47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B3643088-BADE-4B2C-8D16-84C355AB00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-1"/>
            <a:ext cx="12202211" cy="6883204"/>
          </a:xfrm>
          <a:prstGeom prst="rect">
            <a:avLst/>
          </a:prstGeom>
          <a:ln>
            <a:noFill/>
          </a:ln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87218F93-96F9-462F-BAFB-7E145859AED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 flipH="1">
            <a:off x="99171" y="-99171"/>
            <a:ext cx="1058956" cy="1257300"/>
          </a:xfrm>
          <a:prstGeom prst="rect">
            <a:avLst/>
          </a:prstGeom>
        </p:spPr>
      </p:pic>
      <p:sp>
        <p:nvSpPr>
          <p:cNvPr id="8" name="TextBox 18">
            <a:extLst>
              <a:ext uri="{FF2B5EF4-FFF2-40B4-BE49-F238E27FC236}">
                <a16:creationId xmlns:a16="http://schemas.microsoft.com/office/drawing/2014/main" id="{EC3E81A0-9853-4F50-A63A-07CECD490F96}"/>
              </a:ext>
            </a:extLst>
          </p:cNvPr>
          <p:cNvSpPr txBox="1"/>
          <p:nvPr/>
        </p:nvSpPr>
        <p:spPr>
          <a:xfrm>
            <a:off x="1367227" y="80984"/>
            <a:ext cx="24514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spc="4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ART FOUR</a:t>
            </a:r>
            <a:endParaRPr lang="zh-CN" altLang="en-US" sz="2400" b="1" spc="4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17F88ED-E918-45C7-8ED4-BD8E20C0EB3A}"/>
              </a:ext>
            </a:extLst>
          </p:cNvPr>
          <p:cNvSpPr txBox="1"/>
          <p:nvPr/>
        </p:nvSpPr>
        <p:spPr>
          <a:xfrm>
            <a:off x="3583562" y="90631"/>
            <a:ext cx="5109863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66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pPr>
              <a:lnSpc>
                <a:spcPts val="4000"/>
              </a:lnSpc>
            </a:pPr>
            <a:r>
              <a:rPr lang="zh-CN" altLang="en-US" sz="4000" dirty="0">
                <a:latin typeface="+mn-lt"/>
                <a:ea typeface="+mn-ea"/>
                <a:cs typeface="+mn-ea"/>
                <a:sym typeface="+mn-lt"/>
              </a:rPr>
              <a:t>Teaching reflection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B7DBEF3-9634-4DAC-B073-C5E9B81412F8}"/>
              </a:ext>
            </a:extLst>
          </p:cNvPr>
          <p:cNvSpPr txBox="1">
            <a:spLocks/>
          </p:cNvSpPr>
          <p:nvPr/>
        </p:nvSpPr>
        <p:spPr>
          <a:xfrm>
            <a:off x="6474634" y="2130797"/>
            <a:ext cx="5361321" cy="3844819"/>
          </a:xfrm>
          <a:prstGeom prst="rect">
            <a:avLst/>
          </a:prstGeom>
        </p:spPr>
        <p:txBody>
          <a:bodyPr>
            <a:norm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2"/>
                </a:solidFill>
                <a:latin typeface="钟齐陈伟勋硬笔行书字库" panose="02010600030101010101" pitchFamily="2" charset="-122"/>
                <a:ea typeface="+mn-ea"/>
                <a:cs typeface="Dancing Script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133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2000"/>
              </a:lnSpc>
              <a:buNone/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ea"/>
                <a:sym typeface="+mn-lt"/>
              </a:rPr>
              <a:t>Please enter a specific description here, the text as simple as possible, the meaning can be, do not have to be too cumbersome, pay attention to the beauty of the layout.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ea"/>
              <a:sym typeface="+mn-lt"/>
            </a:endParaRPr>
          </a:p>
          <a:p>
            <a:pPr marL="0" indent="0">
              <a:lnSpc>
                <a:spcPts val="2000"/>
              </a:lnSpc>
              <a:spcBef>
                <a:spcPts val="0"/>
              </a:spcBef>
              <a:buNone/>
            </a:pP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ea"/>
              <a:sym typeface="+mn-lt"/>
            </a:endParaRPr>
          </a:p>
          <a:p>
            <a:pPr marL="0" indent="0">
              <a:lnSpc>
                <a:spcPts val="2000"/>
              </a:lnSpc>
              <a:buNone/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ea"/>
                <a:sym typeface="+mn-lt"/>
              </a:rPr>
              <a:t>Please enter a specific description here, the text as simple as possible, the meaning can be, do not have to be too cumbersome, pay attention to the beauty of the layout.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ea"/>
              <a:sym typeface="+mn-lt"/>
            </a:endParaRPr>
          </a:p>
          <a:p>
            <a:pPr marL="0" indent="0">
              <a:lnSpc>
                <a:spcPts val="2000"/>
              </a:lnSpc>
              <a:buNone/>
            </a:pP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ea"/>
              <a:sym typeface="+mn-lt"/>
            </a:endParaRPr>
          </a:p>
          <a:p>
            <a:pPr marL="0" indent="0">
              <a:lnSpc>
                <a:spcPts val="2000"/>
              </a:lnSpc>
              <a:buNone/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ea"/>
                <a:sym typeface="+mn-lt"/>
              </a:rPr>
              <a:t>Please enter a specific description here, the text as simple as possible, the meaning can be, do not have to be too cumbersome, pay attention to the beauty of the layout.</a:t>
            </a: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77BAAAC7-09D9-4BF9-818B-9A5222C66CF8}"/>
              </a:ext>
            </a:extLst>
          </p:cNvPr>
          <p:cNvSpPr/>
          <p:nvPr/>
        </p:nvSpPr>
        <p:spPr>
          <a:xfrm>
            <a:off x="-11953" y="1980252"/>
            <a:ext cx="6139579" cy="2072957"/>
          </a:xfrm>
          <a:prstGeom prst="rect">
            <a:avLst/>
          </a:prstGeo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3200" dirty="0">
                <a:solidFill>
                  <a:schemeClr val="bg1"/>
                </a:solidFill>
                <a:cs typeface="+mn-ea"/>
                <a:sym typeface="+mn-lt"/>
              </a:rPr>
              <a:t>Please enter the title.</a:t>
            </a:r>
            <a:endParaRPr lang="en-US" sz="32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1" name="Rectangle 4">
            <a:extLst>
              <a:ext uri="{FF2B5EF4-FFF2-40B4-BE49-F238E27FC236}">
                <a16:creationId xmlns:a16="http://schemas.microsoft.com/office/drawing/2014/main" id="{D2D69E47-D670-4D9F-9F77-B259CA8C6C04}"/>
              </a:ext>
            </a:extLst>
          </p:cNvPr>
          <p:cNvSpPr/>
          <p:nvPr/>
        </p:nvSpPr>
        <p:spPr>
          <a:xfrm>
            <a:off x="0" y="4053209"/>
            <a:ext cx="3055133" cy="2072957"/>
          </a:xfrm>
          <a:prstGeom prst="rect">
            <a:avLst/>
          </a:prstGeom>
          <a:blipFill dpi="0"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33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2" name="Rectangle 5">
            <a:extLst>
              <a:ext uri="{FF2B5EF4-FFF2-40B4-BE49-F238E27FC236}">
                <a16:creationId xmlns:a16="http://schemas.microsoft.com/office/drawing/2014/main" id="{F48F759B-E9FC-479D-8808-A6617A14301E}"/>
              </a:ext>
            </a:extLst>
          </p:cNvPr>
          <p:cNvSpPr/>
          <p:nvPr/>
        </p:nvSpPr>
        <p:spPr>
          <a:xfrm>
            <a:off x="3055134" y="4053209"/>
            <a:ext cx="3079951" cy="2072957"/>
          </a:xfrm>
          <a:prstGeom prst="rect">
            <a:avLst/>
          </a:prstGeom>
          <a:blipFill dpi="0"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33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71817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 advClick="0" advTm="0">
        <p:checker/>
      </p:transition>
    </mc:Choice>
    <mc:Fallback xmlns:a14="http://schemas.microsoft.com/office/drawing/2010/main" xmlns:a16="http://schemas.microsoft.com/office/drawing/2014/main" xmlns="">
      <p:transition spd="slow" advClick="0" advTm="0">
        <p:checker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 tmFilter="0,0; .5, 1; 1, 1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350"/>
                            </p:stCondLst>
                            <p:childTnLst>
                              <p:par>
                                <p:cTn id="21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350"/>
                            </p:stCondLst>
                            <p:childTnLst>
                              <p:par>
                                <p:cTn id="27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4350"/>
                            </p:stCondLst>
                            <p:childTnLst>
                              <p:par>
                                <p:cTn id="3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2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6" grpId="0"/>
      <p:bldP spid="10" grpId="0" animBg="1"/>
      <p:bldP spid="11" grpId="0" animBg="1"/>
      <p:bldP spid="12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B3643088-BADE-4B2C-8D16-84C355AB00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25203"/>
            <a:ext cx="12202211" cy="6858000"/>
          </a:xfrm>
          <a:prstGeom prst="rect">
            <a:avLst/>
          </a:prstGeom>
          <a:ln>
            <a:noFill/>
          </a:ln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87218F93-96F9-462F-BAFB-7E145859AED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 flipH="1">
            <a:off x="99171" y="-99171"/>
            <a:ext cx="1058956" cy="1257300"/>
          </a:xfrm>
          <a:prstGeom prst="rect">
            <a:avLst/>
          </a:prstGeom>
        </p:spPr>
      </p:pic>
      <p:sp>
        <p:nvSpPr>
          <p:cNvPr id="8" name="TextBox 18">
            <a:extLst>
              <a:ext uri="{FF2B5EF4-FFF2-40B4-BE49-F238E27FC236}">
                <a16:creationId xmlns:a16="http://schemas.microsoft.com/office/drawing/2014/main" id="{EC3E81A0-9853-4F50-A63A-07CECD490F96}"/>
              </a:ext>
            </a:extLst>
          </p:cNvPr>
          <p:cNvSpPr txBox="1"/>
          <p:nvPr/>
        </p:nvSpPr>
        <p:spPr>
          <a:xfrm>
            <a:off x="1367227" y="80984"/>
            <a:ext cx="24514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spc="4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ART FOUR.</a:t>
            </a:r>
            <a:endParaRPr lang="zh-CN" altLang="en-US" sz="2400" b="1" spc="4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6" name="自由: 形状 43">
            <a:extLst>
              <a:ext uri="{FF2B5EF4-FFF2-40B4-BE49-F238E27FC236}">
                <a16:creationId xmlns:a16="http://schemas.microsoft.com/office/drawing/2014/main" id="{90327749-8FBC-42F4-8B68-2E69C0177F7E}"/>
              </a:ext>
            </a:extLst>
          </p:cNvPr>
          <p:cNvSpPr/>
          <p:nvPr/>
        </p:nvSpPr>
        <p:spPr>
          <a:xfrm>
            <a:off x="3862897" y="1710876"/>
            <a:ext cx="2015291" cy="2015289"/>
          </a:xfrm>
          <a:custGeom>
            <a:avLst/>
            <a:gdLst>
              <a:gd name="connsiteX0" fmla="*/ 2015290 w 2015290"/>
              <a:gd name="connsiteY0" fmla="*/ 1007645 h 2015289"/>
              <a:gd name="connsiteX1" fmla="*/ 1994819 w 2015290"/>
              <a:gd name="connsiteY1" fmla="*/ 1210720 h 2015289"/>
              <a:gd name="connsiteX2" fmla="*/ 1992753 w 2015290"/>
              <a:gd name="connsiteY2" fmla="*/ 1218756 h 2015289"/>
              <a:gd name="connsiteX3" fmla="*/ 1933733 w 2015290"/>
              <a:gd name="connsiteY3" fmla="*/ 1221736 h 2015289"/>
              <a:gd name="connsiteX4" fmla="*/ 1854532 w 2015290"/>
              <a:gd name="connsiteY4" fmla="*/ 1233824 h 2015289"/>
              <a:gd name="connsiteX5" fmla="*/ 1794542 w 2015290"/>
              <a:gd name="connsiteY5" fmla="*/ 1249249 h 2015289"/>
              <a:gd name="connsiteX6" fmla="*/ 1854530 w 2015290"/>
              <a:gd name="connsiteY6" fmla="*/ 1233825 h 2015289"/>
              <a:gd name="connsiteX7" fmla="*/ 1933731 w 2015290"/>
              <a:gd name="connsiteY7" fmla="*/ 1221737 h 2015289"/>
              <a:gd name="connsiteX8" fmla="*/ 1992751 w 2015290"/>
              <a:gd name="connsiteY8" fmla="*/ 1218756 h 2015289"/>
              <a:gd name="connsiteX9" fmla="*/ 1969986 w 2015290"/>
              <a:gd name="connsiteY9" fmla="*/ 1307288 h 2015289"/>
              <a:gd name="connsiteX10" fmla="*/ 1307287 w 2015290"/>
              <a:gd name="connsiteY10" fmla="*/ 1969987 h 2015289"/>
              <a:gd name="connsiteX11" fmla="*/ 1218756 w 2015290"/>
              <a:gd name="connsiteY11" fmla="*/ 1992752 h 2015289"/>
              <a:gd name="connsiteX12" fmla="*/ 1221736 w 2015290"/>
              <a:gd name="connsiteY12" fmla="*/ 1933732 h 2015289"/>
              <a:gd name="connsiteX13" fmla="*/ 1253480 w 2015290"/>
              <a:gd name="connsiteY13" fmla="*/ 1778086 h 2015289"/>
              <a:gd name="connsiteX14" fmla="*/ 1258463 w 2015290"/>
              <a:gd name="connsiteY14" fmla="*/ 1764471 h 2015289"/>
              <a:gd name="connsiteX15" fmla="*/ 1318134 w 2015290"/>
              <a:gd name="connsiteY15" fmla="*/ 1742631 h 2015289"/>
              <a:gd name="connsiteX16" fmla="*/ 1742630 w 2015290"/>
              <a:gd name="connsiteY16" fmla="*/ 1318135 h 2015289"/>
              <a:gd name="connsiteX17" fmla="*/ 1764470 w 2015290"/>
              <a:gd name="connsiteY17" fmla="*/ 1258464 h 2015289"/>
              <a:gd name="connsiteX18" fmla="*/ 1764472 w 2015290"/>
              <a:gd name="connsiteY18" fmla="*/ 1258463 h 2015289"/>
              <a:gd name="connsiteX19" fmla="*/ 1769455 w 2015290"/>
              <a:gd name="connsiteY19" fmla="*/ 1244848 h 2015289"/>
              <a:gd name="connsiteX20" fmla="*/ 1801199 w 2015290"/>
              <a:gd name="connsiteY20" fmla="*/ 1089202 h 2015289"/>
              <a:gd name="connsiteX21" fmla="*/ 1804180 w 2015290"/>
              <a:gd name="connsiteY21" fmla="*/ 1030182 h 2015289"/>
              <a:gd name="connsiteX22" fmla="*/ 1812215 w 2015290"/>
              <a:gd name="connsiteY22" fmla="*/ 1028116 h 2015289"/>
              <a:gd name="connsiteX23" fmla="*/ 2015290 w 2015290"/>
              <a:gd name="connsiteY23" fmla="*/ 1007645 h 2015289"/>
              <a:gd name="connsiteX24" fmla="*/ 1007645 w 2015290"/>
              <a:gd name="connsiteY24" fmla="*/ 0 h 2015289"/>
              <a:gd name="connsiteX25" fmla="*/ 2015289 w 2015290"/>
              <a:gd name="connsiteY25" fmla="*/ 1007645 h 2015289"/>
              <a:gd name="connsiteX26" fmla="*/ 1812214 w 2015290"/>
              <a:gd name="connsiteY26" fmla="*/ 1028116 h 2015289"/>
              <a:gd name="connsiteX27" fmla="*/ 1804178 w 2015290"/>
              <a:gd name="connsiteY27" fmla="*/ 1030182 h 2015289"/>
              <a:gd name="connsiteX28" fmla="*/ 1805316 w 2015290"/>
              <a:gd name="connsiteY28" fmla="*/ 1007645 h 2015289"/>
              <a:gd name="connsiteX29" fmla="*/ 1007645 w 2015290"/>
              <a:gd name="connsiteY29" fmla="*/ 209973 h 2015289"/>
              <a:gd name="connsiteX30" fmla="*/ 209973 w 2015290"/>
              <a:gd name="connsiteY30" fmla="*/ 1007645 h 2015289"/>
              <a:gd name="connsiteX31" fmla="*/ 1007645 w 2015290"/>
              <a:gd name="connsiteY31" fmla="*/ 1805316 h 2015289"/>
              <a:gd name="connsiteX32" fmla="*/ 1030182 w 2015290"/>
              <a:gd name="connsiteY32" fmla="*/ 1804177 h 2015289"/>
              <a:gd name="connsiteX33" fmla="*/ 1028116 w 2015290"/>
              <a:gd name="connsiteY33" fmla="*/ 1812214 h 2015289"/>
              <a:gd name="connsiteX34" fmla="*/ 1007645 w 2015290"/>
              <a:gd name="connsiteY34" fmla="*/ 2015289 h 2015289"/>
              <a:gd name="connsiteX35" fmla="*/ 0 w 2015290"/>
              <a:gd name="connsiteY35" fmla="*/ 1007645 h 2015289"/>
              <a:gd name="connsiteX36" fmla="*/ 1007645 w 2015290"/>
              <a:gd name="connsiteY36" fmla="*/ 0 h 2015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2015290" h="2015289">
                <a:moveTo>
                  <a:pt x="2015290" y="1007645"/>
                </a:moveTo>
                <a:cubicBezTo>
                  <a:pt x="2015290" y="1077208"/>
                  <a:pt x="2008241" y="1145125"/>
                  <a:pt x="1994819" y="1210720"/>
                </a:cubicBezTo>
                <a:lnTo>
                  <a:pt x="1992753" y="1218756"/>
                </a:lnTo>
                <a:lnTo>
                  <a:pt x="1933733" y="1221736"/>
                </a:lnTo>
                <a:cubicBezTo>
                  <a:pt x="1906918" y="1224460"/>
                  <a:pt x="1880495" y="1228511"/>
                  <a:pt x="1854532" y="1233824"/>
                </a:cubicBezTo>
                <a:lnTo>
                  <a:pt x="1794542" y="1249249"/>
                </a:lnTo>
                <a:lnTo>
                  <a:pt x="1854530" y="1233825"/>
                </a:lnTo>
                <a:cubicBezTo>
                  <a:pt x="1880493" y="1228512"/>
                  <a:pt x="1906916" y="1224460"/>
                  <a:pt x="1933731" y="1221737"/>
                </a:cubicBezTo>
                <a:lnTo>
                  <a:pt x="1992751" y="1218756"/>
                </a:lnTo>
                <a:lnTo>
                  <a:pt x="1969986" y="1307288"/>
                </a:lnTo>
                <a:cubicBezTo>
                  <a:pt x="1871849" y="1622811"/>
                  <a:pt x="1622811" y="1871849"/>
                  <a:pt x="1307287" y="1969987"/>
                </a:cubicBezTo>
                <a:lnTo>
                  <a:pt x="1218756" y="1992752"/>
                </a:lnTo>
                <a:lnTo>
                  <a:pt x="1221736" y="1933732"/>
                </a:lnTo>
                <a:cubicBezTo>
                  <a:pt x="1227183" y="1880101"/>
                  <a:pt x="1237942" y="1828041"/>
                  <a:pt x="1253480" y="1778086"/>
                </a:cubicBezTo>
                <a:lnTo>
                  <a:pt x="1258463" y="1764471"/>
                </a:lnTo>
                <a:lnTo>
                  <a:pt x="1318134" y="1742631"/>
                </a:lnTo>
                <a:cubicBezTo>
                  <a:pt x="1508998" y="1661902"/>
                  <a:pt x="1661902" y="1508999"/>
                  <a:pt x="1742630" y="1318135"/>
                </a:cubicBezTo>
                <a:lnTo>
                  <a:pt x="1764470" y="1258464"/>
                </a:lnTo>
                <a:lnTo>
                  <a:pt x="1764472" y="1258463"/>
                </a:lnTo>
                <a:lnTo>
                  <a:pt x="1769455" y="1244848"/>
                </a:lnTo>
                <a:cubicBezTo>
                  <a:pt x="1784993" y="1194893"/>
                  <a:pt x="1795753" y="1142832"/>
                  <a:pt x="1801199" y="1089202"/>
                </a:cubicBezTo>
                <a:lnTo>
                  <a:pt x="1804180" y="1030182"/>
                </a:lnTo>
                <a:lnTo>
                  <a:pt x="1812215" y="1028116"/>
                </a:lnTo>
                <a:cubicBezTo>
                  <a:pt x="1877810" y="1014694"/>
                  <a:pt x="1945727" y="1007645"/>
                  <a:pt x="2015290" y="1007645"/>
                </a:cubicBezTo>
                <a:close/>
                <a:moveTo>
                  <a:pt x="1007645" y="0"/>
                </a:moveTo>
                <a:cubicBezTo>
                  <a:pt x="1564151" y="0"/>
                  <a:pt x="2015289" y="451138"/>
                  <a:pt x="2015289" y="1007645"/>
                </a:cubicBezTo>
                <a:cubicBezTo>
                  <a:pt x="1945726" y="1007645"/>
                  <a:pt x="1877809" y="1014693"/>
                  <a:pt x="1812214" y="1028116"/>
                </a:cubicBezTo>
                <a:lnTo>
                  <a:pt x="1804178" y="1030182"/>
                </a:lnTo>
                <a:lnTo>
                  <a:pt x="1805316" y="1007645"/>
                </a:lnTo>
                <a:cubicBezTo>
                  <a:pt x="1805316" y="567103"/>
                  <a:pt x="1448186" y="209973"/>
                  <a:pt x="1007645" y="209973"/>
                </a:cubicBezTo>
                <a:cubicBezTo>
                  <a:pt x="567103" y="209973"/>
                  <a:pt x="209973" y="567103"/>
                  <a:pt x="209973" y="1007645"/>
                </a:cubicBezTo>
                <a:cubicBezTo>
                  <a:pt x="209973" y="1448186"/>
                  <a:pt x="567103" y="1805316"/>
                  <a:pt x="1007645" y="1805316"/>
                </a:cubicBezTo>
                <a:lnTo>
                  <a:pt x="1030182" y="1804177"/>
                </a:lnTo>
                <a:lnTo>
                  <a:pt x="1028116" y="1812214"/>
                </a:lnTo>
                <a:cubicBezTo>
                  <a:pt x="1014694" y="1877809"/>
                  <a:pt x="1007645" y="1945726"/>
                  <a:pt x="1007645" y="2015289"/>
                </a:cubicBezTo>
                <a:cubicBezTo>
                  <a:pt x="451138" y="2015289"/>
                  <a:pt x="0" y="1564151"/>
                  <a:pt x="0" y="1007645"/>
                </a:cubicBezTo>
                <a:cubicBezTo>
                  <a:pt x="0" y="451138"/>
                  <a:pt x="451138" y="0"/>
                  <a:pt x="1007645" y="0"/>
                </a:cubicBezTo>
                <a:close/>
              </a:path>
            </a:pathLst>
          </a:custGeom>
          <a:solidFill>
            <a:srgbClr val="6FCE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0" name="自由: 形状 44">
            <a:extLst>
              <a:ext uri="{FF2B5EF4-FFF2-40B4-BE49-F238E27FC236}">
                <a16:creationId xmlns:a16="http://schemas.microsoft.com/office/drawing/2014/main" id="{A5574799-B12C-4220-B710-FF767B02CF90}"/>
              </a:ext>
            </a:extLst>
          </p:cNvPr>
          <p:cNvSpPr/>
          <p:nvPr/>
        </p:nvSpPr>
        <p:spPr>
          <a:xfrm>
            <a:off x="6305709" y="2765108"/>
            <a:ext cx="2015289" cy="2015289"/>
          </a:xfrm>
          <a:custGeom>
            <a:avLst/>
            <a:gdLst>
              <a:gd name="connsiteX0" fmla="*/ 312768 w 2015289"/>
              <a:gd name="connsiteY0" fmla="*/ 279105 h 2015289"/>
              <a:gd name="connsiteX1" fmla="*/ 350029 w 2015289"/>
              <a:gd name="connsiteY1" fmla="*/ 320103 h 2015289"/>
              <a:gd name="connsiteX2" fmla="*/ 408037 w 2015289"/>
              <a:gd name="connsiteY2" fmla="*/ 397674 h 2015289"/>
              <a:gd name="connsiteX3" fmla="*/ 439191 w 2015289"/>
              <a:gd name="connsiteY3" fmla="*/ 448957 h 2015289"/>
              <a:gd name="connsiteX4" fmla="*/ 346203 w 2015289"/>
              <a:gd name="connsiteY4" fmla="*/ 561660 h 2015289"/>
              <a:gd name="connsiteX5" fmla="*/ 302707 w 2015289"/>
              <a:gd name="connsiteY5" fmla="*/ 641796 h 2015289"/>
              <a:gd name="connsiteX6" fmla="*/ 302707 w 2015289"/>
              <a:gd name="connsiteY6" fmla="*/ 641796 h 2015289"/>
              <a:gd name="connsiteX7" fmla="*/ 272659 w 2015289"/>
              <a:gd name="connsiteY7" fmla="*/ 697155 h 2015289"/>
              <a:gd name="connsiteX8" fmla="*/ 209973 w 2015289"/>
              <a:gd name="connsiteY8" fmla="*/ 1007644 h 2015289"/>
              <a:gd name="connsiteX9" fmla="*/ 272659 w 2015289"/>
              <a:gd name="connsiteY9" fmla="*/ 1318134 h 2015289"/>
              <a:gd name="connsiteX10" fmla="*/ 277420 w 2015289"/>
              <a:gd name="connsiteY10" fmla="*/ 1326906 h 2015289"/>
              <a:gd name="connsiteX11" fmla="*/ 233922 w 2015289"/>
              <a:gd name="connsiteY11" fmla="*/ 1407042 h 2015289"/>
              <a:gd name="connsiteX12" fmla="*/ 140935 w 2015289"/>
              <a:gd name="connsiteY12" fmla="*/ 1519745 h 2015289"/>
              <a:gd name="connsiteX13" fmla="*/ 121618 w 2015289"/>
              <a:gd name="connsiteY13" fmla="*/ 1487948 h 2015289"/>
              <a:gd name="connsiteX14" fmla="*/ 0 w 2015289"/>
              <a:gd name="connsiteY14" fmla="*/ 1007644 h 2015289"/>
              <a:gd name="connsiteX15" fmla="*/ 172089 w 2015289"/>
              <a:gd name="connsiteY15" fmla="*/ 444260 h 2015289"/>
              <a:gd name="connsiteX16" fmla="*/ 173710 w 2015289"/>
              <a:gd name="connsiteY16" fmla="*/ 442093 h 2015289"/>
              <a:gd name="connsiteX17" fmla="*/ 173711 w 2015289"/>
              <a:gd name="connsiteY17" fmla="*/ 442094 h 2015289"/>
              <a:gd name="connsiteX18" fmla="*/ 230097 w 2015289"/>
              <a:gd name="connsiteY18" fmla="*/ 366691 h 2015289"/>
              <a:gd name="connsiteX19" fmla="*/ 295132 w 2015289"/>
              <a:gd name="connsiteY19" fmla="*/ 295133 h 2015289"/>
              <a:gd name="connsiteX20" fmla="*/ 1007645 w 2015289"/>
              <a:gd name="connsiteY20" fmla="*/ 0 h 2015289"/>
              <a:gd name="connsiteX21" fmla="*/ 2015289 w 2015289"/>
              <a:gd name="connsiteY21" fmla="*/ 1007645 h 2015289"/>
              <a:gd name="connsiteX22" fmla="*/ 1007645 w 2015289"/>
              <a:gd name="connsiteY22" fmla="*/ 2015289 h 2015289"/>
              <a:gd name="connsiteX23" fmla="*/ 295133 w 2015289"/>
              <a:gd name="connsiteY23" fmla="*/ 1720157 h 2015289"/>
              <a:gd name="connsiteX24" fmla="*/ 267359 w 2015289"/>
              <a:gd name="connsiteY24" fmla="*/ 1689598 h 2015289"/>
              <a:gd name="connsiteX25" fmla="*/ 284995 w 2015289"/>
              <a:gd name="connsiteY25" fmla="*/ 1673569 h 2015289"/>
              <a:gd name="connsiteX26" fmla="*/ 350029 w 2015289"/>
              <a:gd name="connsiteY26" fmla="*/ 1602012 h 2015289"/>
              <a:gd name="connsiteX27" fmla="*/ 406416 w 2015289"/>
              <a:gd name="connsiteY27" fmla="*/ 1526609 h 2015289"/>
              <a:gd name="connsiteX28" fmla="*/ 443606 w 2015289"/>
              <a:gd name="connsiteY28" fmla="*/ 1571684 h 2015289"/>
              <a:gd name="connsiteX29" fmla="*/ 1007645 w 2015289"/>
              <a:gd name="connsiteY29" fmla="*/ 1805316 h 2015289"/>
              <a:gd name="connsiteX30" fmla="*/ 1805316 w 2015289"/>
              <a:gd name="connsiteY30" fmla="*/ 1007645 h 2015289"/>
              <a:gd name="connsiteX31" fmla="*/ 1007645 w 2015289"/>
              <a:gd name="connsiteY31" fmla="*/ 209973 h 2015289"/>
              <a:gd name="connsiteX32" fmla="*/ 443606 w 2015289"/>
              <a:gd name="connsiteY32" fmla="*/ 443606 h 2015289"/>
              <a:gd name="connsiteX33" fmla="*/ 439192 w 2015289"/>
              <a:gd name="connsiteY33" fmla="*/ 448956 h 2015289"/>
              <a:gd name="connsiteX34" fmla="*/ 408037 w 2015289"/>
              <a:gd name="connsiteY34" fmla="*/ 397673 h 2015289"/>
              <a:gd name="connsiteX35" fmla="*/ 350029 w 2015289"/>
              <a:gd name="connsiteY35" fmla="*/ 320102 h 2015289"/>
              <a:gd name="connsiteX36" fmla="*/ 312769 w 2015289"/>
              <a:gd name="connsiteY36" fmla="*/ 279104 h 2015289"/>
              <a:gd name="connsiteX37" fmla="*/ 366690 w 2015289"/>
              <a:gd name="connsiteY37" fmla="*/ 230098 h 2015289"/>
              <a:gd name="connsiteX38" fmla="*/ 1007645 w 2015289"/>
              <a:gd name="connsiteY38" fmla="*/ 0 h 2015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2015289" h="2015289">
                <a:moveTo>
                  <a:pt x="312768" y="279105"/>
                </a:moveTo>
                <a:lnTo>
                  <a:pt x="350029" y="320103"/>
                </a:lnTo>
                <a:cubicBezTo>
                  <a:pt x="370564" y="344985"/>
                  <a:pt x="389929" y="370870"/>
                  <a:pt x="408037" y="397674"/>
                </a:cubicBezTo>
                <a:lnTo>
                  <a:pt x="439191" y="448957"/>
                </a:lnTo>
                <a:lnTo>
                  <a:pt x="346203" y="561660"/>
                </a:lnTo>
                <a:lnTo>
                  <a:pt x="302707" y="641796"/>
                </a:lnTo>
                <a:lnTo>
                  <a:pt x="302707" y="641796"/>
                </a:lnTo>
                <a:lnTo>
                  <a:pt x="272659" y="697155"/>
                </a:lnTo>
                <a:cubicBezTo>
                  <a:pt x="232294" y="792587"/>
                  <a:pt x="209973" y="897509"/>
                  <a:pt x="209973" y="1007644"/>
                </a:cubicBezTo>
                <a:cubicBezTo>
                  <a:pt x="209973" y="1117779"/>
                  <a:pt x="232294" y="1222702"/>
                  <a:pt x="272659" y="1318134"/>
                </a:cubicBezTo>
                <a:lnTo>
                  <a:pt x="277420" y="1326906"/>
                </a:lnTo>
                <a:lnTo>
                  <a:pt x="233922" y="1407042"/>
                </a:lnTo>
                <a:lnTo>
                  <a:pt x="140935" y="1519745"/>
                </a:lnTo>
                <a:lnTo>
                  <a:pt x="121618" y="1487948"/>
                </a:lnTo>
                <a:cubicBezTo>
                  <a:pt x="44057" y="1345172"/>
                  <a:pt x="0" y="1181553"/>
                  <a:pt x="0" y="1007644"/>
                </a:cubicBezTo>
                <a:cubicBezTo>
                  <a:pt x="0" y="798954"/>
                  <a:pt x="63441" y="605082"/>
                  <a:pt x="172089" y="444260"/>
                </a:cubicBezTo>
                <a:lnTo>
                  <a:pt x="173710" y="442093"/>
                </a:lnTo>
                <a:lnTo>
                  <a:pt x="173711" y="442094"/>
                </a:lnTo>
                <a:lnTo>
                  <a:pt x="230097" y="366691"/>
                </a:lnTo>
                <a:cubicBezTo>
                  <a:pt x="250632" y="341808"/>
                  <a:pt x="272339" y="317927"/>
                  <a:pt x="295132" y="295133"/>
                </a:cubicBezTo>
                <a:close/>
                <a:moveTo>
                  <a:pt x="1007645" y="0"/>
                </a:moveTo>
                <a:cubicBezTo>
                  <a:pt x="1564151" y="0"/>
                  <a:pt x="2015289" y="451138"/>
                  <a:pt x="2015289" y="1007645"/>
                </a:cubicBezTo>
                <a:cubicBezTo>
                  <a:pt x="2015289" y="1564151"/>
                  <a:pt x="1564151" y="2015289"/>
                  <a:pt x="1007645" y="2015289"/>
                </a:cubicBezTo>
                <a:cubicBezTo>
                  <a:pt x="729392" y="2015289"/>
                  <a:pt x="477481" y="1902504"/>
                  <a:pt x="295133" y="1720157"/>
                </a:cubicBezTo>
                <a:lnTo>
                  <a:pt x="267359" y="1689598"/>
                </a:lnTo>
                <a:lnTo>
                  <a:pt x="284995" y="1673569"/>
                </a:lnTo>
                <a:cubicBezTo>
                  <a:pt x="307788" y="1650776"/>
                  <a:pt x="329494" y="1626895"/>
                  <a:pt x="350029" y="1602012"/>
                </a:cubicBezTo>
                <a:lnTo>
                  <a:pt x="406416" y="1526609"/>
                </a:lnTo>
                <a:lnTo>
                  <a:pt x="443606" y="1571684"/>
                </a:lnTo>
                <a:cubicBezTo>
                  <a:pt x="587956" y="1716034"/>
                  <a:pt x="787374" y="1805316"/>
                  <a:pt x="1007645" y="1805316"/>
                </a:cubicBezTo>
                <a:cubicBezTo>
                  <a:pt x="1448186" y="1805316"/>
                  <a:pt x="1805316" y="1448186"/>
                  <a:pt x="1805316" y="1007645"/>
                </a:cubicBezTo>
                <a:cubicBezTo>
                  <a:pt x="1805316" y="567103"/>
                  <a:pt x="1448186" y="209973"/>
                  <a:pt x="1007645" y="209973"/>
                </a:cubicBezTo>
                <a:cubicBezTo>
                  <a:pt x="787374" y="209973"/>
                  <a:pt x="587956" y="299256"/>
                  <a:pt x="443606" y="443606"/>
                </a:cubicBezTo>
                <a:lnTo>
                  <a:pt x="439192" y="448956"/>
                </a:lnTo>
                <a:lnTo>
                  <a:pt x="408037" y="397673"/>
                </a:lnTo>
                <a:cubicBezTo>
                  <a:pt x="389929" y="370869"/>
                  <a:pt x="370565" y="344984"/>
                  <a:pt x="350029" y="320102"/>
                </a:cubicBezTo>
                <a:lnTo>
                  <a:pt x="312769" y="279104"/>
                </a:lnTo>
                <a:lnTo>
                  <a:pt x="366690" y="230098"/>
                </a:lnTo>
                <a:cubicBezTo>
                  <a:pt x="540870" y="86351"/>
                  <a:pt x="764174" y="0"/>
                  <a:pt x="1007645" y="0"/>
                </a:cubicBezTo>
                <a:close/>
              </a:path>
            </a:pathLst>
          </a:custGeom>
          <a:solidFill>
            <a:srgbClr val="6FCE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1" name="自由: 形状 45">
            <a:extLst>
              <a:ext uri="{FF2B5EF4-FFF2-40B4-BE49-F238E27FC236}">
                <a16:creationId xmlns:a16="http://schemas.microsoft.com/office/drawing/2014/main" id="{67DD07F4-4EB0-4005-BB48-5ADF21E7E038}"/>
              </a:ext>
            </a:extLst>
          </p:cNvPr>
          <p:cNvSpPr/>
          <p:nvPr/>
        </p:nvSpPr>
        <p:spPr>
          <a:xfrm>
            <a:off x="3984733" y="3911989"/>
            <a:ext cx="2015289" cy="2009939"/>
          </a:xfrm>
          <a:custGeom>
            <a:avLst/>
            <a:gdLst>
              <a:gd name="connsiteX0" fmla="*/ 1118715 w 2015289"/>
              <a:gd name="connsiteY0" fmla="*/ 1080 h 2009939"/>
              <a:gd name="connsiteX1" fmla="*/ 1210720 w 2015289"/>
              <a:gd name="connsiteY1" fmla="*/ 15122 h 2009939"/>
              <a:gd name="connsiteX2" fmla="*/ 1893671 w 2015289"/>
              <a:gd name="connsiteY2" fmla="*/ 521991 h 2009939"/>
              <a:gd name="connsiteX3" fmla="*/ 1935924 w 2015289"/>
              <a:gd name="connsiteY3" fmla="*/ 609702 h 2009939"/>
              <a:gd name="connsiteX4" fmla="*/ 1893457 w 2015289"/>
              <a:gd name="connsiteY4" fmla="*/ 611846 h 2009939"/>
              <a:gd name="connsiteX5" fmla="*/ 1732699 w 2015289"/>
              <a:gd name="connsiteY5" fmla="*/ 595640 h 2009939"/>
              <a:gd name="connsiteX6" fmla="*/ 1683579 w 2015289"/>
              <a:gd name="connsiteY6" fmla="*/ 583010 h 2009939"/>
              <a:gd name="connsiteX7" fmla="*/ 1669085 w 2015289"/>
              <a:gd name="connsiteY7" fmla="*/ 556309 h 2009939"/>
              <a:gd name="connsiteX8" fmla="*/ 1244848 w 2015289"/>
              <a:gd name="connsiteY8" fmla="*/ 240486 h 2009939"/>
              <a:gd name="connsiteX9" fmla="*/ 1217524 w 2015289"/>
              <a:gd name="connsiteY9" fmla="*/ 233460 h 2009939"/>
              <a:gd name="connsiteX10" fmla="*/ 1158472 w 2015289"/>
              <a:gd name="connsiteY10" fmla="*/ 124665 h 2009939"/>
              <a:gd name="connsiteX11" fmla="*/ 1131649 w 2015289"/>
              <a:gd name="connsiteY11" fmla="*/ 51379 h 2009939"/>
              <a:gd name="connsiteX12" fmla="*/ 903652 w 2015289"/>
              <a:gd name="connsiteY12" fmla="*/ 0 h 2009939"/>
              <a:gd name="connsiteX13" fmla="*/ 906284 w 2015289"/>
              <a:gd name="connsiteY13" fmla="*/ 17251 h 2009939"/>
              <a:gd name="connsiteX14" fmla="*/ 964999 w 2015289"/>
              <a:gd name="connsiteY14" fmla="*/ 206397 h 2009939"/>
              <a:gd name="connsiteX15" fmla="*/ 965177 w 2015289"/>
              <a:gd name="connsiteY15" fmla="*/ 206768 h 2009939"/>
              <a:gd name="connsiteX16" fmla="*/ 926087 w 2015289"/>
              <a:gd name="connsiteY16" fmla="*/ 208742 h 2009939"/>
              <a:gd name="connsiteX17" fmla="*/ 209973 w 2015289"/>
              <a:gd name="connsiteY17" fmla="*/ 1002295 h 2009939"/>
              <a:gd name="connsiteX18" fmla="*/ 1007644 w 2015289"/>
              <a:gd name="connsiteY18" fmla="*/ 1799966 h 2009939"/>
              <a:gd name="connsiteX19" fmla="*/ 1805316 w 2015289"/>
              <a:gd name="connsiteY19" fmla="*/ 1002295 h 2009939"/>
              <a:gd name="connsiteX20" fmla="*/ 1789110 w 2015289"/>
              <a:gd name="connsiteY20" fmla="*/ 841536 h 2009939"/>
              <a:gd name="connsiteX21" fmla="*/ 1782387 w 2015289"/>
              <a:gd name="connsiteY21" fmla="*/ 815390 h 2009939"/>
              <a:gd name="connsiteX22" fmla="*/ 1782388 w 2015289"/>
              <a:gd name="connsiteY22" fmla="*/ 815390 h 2009939"/>
              <a:gd name="connsiteX23" fmla="*/ 1769455 w 2015289"/>
              <a:gd name="connsiteY23" fmla="*/ 765093 h 2009939"/>
              <a:gd name="connsiteX24" fmla="*/ 1742632 w 2015289"/>
              <a:gd name="connsiteY24" fmla="*/ 691806 h 2009939"/>
              <a:gd name="connsiteX25" fmla="*/ 1683580 w 2015289"/>
              <a:gd name="connsiteY25" fmla="*/ 583011 h 2009939"/>
              <a:gd name="connsiteX26" fmla="*/ 1732700 w 2015289"/>
              <a:gd name="connsiteY26" fmla="*/ 595642 h 2009939"/>
              <a:gd name="connsiteX27" fmla="*/ 1893459 w 2015289"/>
              <a:gd name="connsiteY27" fmla="*/ 611848 h 2009939"/>
              <a:gd name="connsiteX28" fmla="*/ 1935926 w 2015289"/>
              <a:gd name="connsiteY28" fmla="*/ 609703 h 2009939"/>
              <a:gd name="connsiteX29" fmla="*/ 1936105 w 2015289"/>
              <a:gd name="connsiteY29" fmla="*/ 610075 h 2009939"/>
              <a:gd name="connsiteX30" fmla="*/ 1994819 w 2015289"/>
              <a:gd name="connsiteY30" fmla="*/ 799220 h 2009939"/>
              <a:gd name="connsiteX31" fmla="*/ 1997452 w 2015289"/>
              <a:gd name="connsiteY31" fmla="*/ 816472 h 2009939"/>
              <a:gd name="connsiteX32" fmla="*/ 1997451 w 2015289"/>
              <a:gd name="connsiteY32" fmla="*/ 816472 h 2009939"/>
              <a:gd name="connsiteX33" fmla="*/ 2010087 w 2015289"/>
              <a:gd name="connsiteY33" fmla="*/ 899269 h 2009939"/>
              <a:gd name="connsiteX34" fmla="*/ 2015289 w 2015289"/>
              <a:gd name="connsiteY34" fmla="*/ 1002295 h 2009939"/>
              <a:gd name="connsiteX35" fmla="*/ 1007644 w 2015289"/>
              <a:gd name="connsiteY35" fmla="*/ 2009939 h 2009939"/>
              <a:gd name="connsiteX36" fmla="*/ 0 w 2015289"/>
              <a:gd name="connsiteY36" fmla="*/ 1002295 h 2009939"/>
              <a:gd name="connsiteX37" fmla="*/ 804569 w 2015289"/>
              <a:gd name="connsiteY37" fmla="*/ 15122 h 2009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2015289" h="2009939">
                <a:moveTo>
                  <a:pt x="1118715" y="1080"/>
                </a:moveTo>
                <a:lnTo>
                  <a:pt x="1210720" y="15122"/>
                </a:lnTo>
                <a:cubicBezTo>
                  <a:pt x="1505898" y="75524"/>
                  <a:pt x="1754062" y="264994"/>
                  <a:pt x="1893671" y="521991"/>
                </a:cubicBezTo>
                <a:lnTo>
                  <a:pt x="1935924" y="609702"/>
                </a:lnTo>
                <a:lnTo>
                  <a:pt x="1893457" y="611846"/>
                </a:lnTo>
                <a:cubicBezTo>
                  <a:pt x="1838389" y="611846"/>
                  <a:pt x="1784626" y="606266"/>
                  <a:pt x="1732699" y="595640"/>
                </a:cubicBezTo>
                <a:lnTo>
                  <a:pt x="1683579" y="583010"/>
                </a:lnTo>
                <a:lnTo>
                  <a:pt x="1669085" y="556309"/>
                </a:lnTo>
                <a:cubicBezTo>
                  <a:pt x="1568743" y="407782"/>
                  <a:pt x="1419689" y="294867"/>
                  <a:pt x="1244848" y="240486"/>
                </a:cubicBezTo>
                <a:lnTo>
                  <a:pt x="1217524" y="233460"/>
                </a:lnTo>
                <a:lnTo>
                  <a:pt x="1158472" y="124665"/>
                </a:lnTo>
                <a:cubicBezTo>
                  <a:pt x="1148380" y="100807"/>
                  <a:pt x="1139417" y="76356"/>
                  <a:pt x="1131649" y="51379"/>
                </a:cubicBezTo>
                <a:close/>
                <a:moveTo>
                  <a:pt x="903652" y="0"/>
                </a:moveTo>
                <a:lnTo>
                  <a:pt x="906284" y="17251"/>
                </a:lnTo>
                <a:cubicBezTo>
                  <a:pt x="919708" y="82847"/>
                  <a:pt x="939504" y="146120"/>
                  <a:pt x="964999" y="206397"/>
                </a:cubicBezTo>
                <a:lnTo>
                  <a:pt x="965177" y="206768"/>
                </a:lnTo>
                <a:lnTo>
                  <a:pt x="926087" y="208742"/>
                </a:lnTo>
                <a:cubicBezTo>
                  <a:pt x="523857" y="249592"/>
                  <a:pt x="209973" y="589288"/>
                  <a:pt x="209973" y="1002295"/>
                </a:cubicBezTo>
                <a:cubicBezTo>
                  <a:pt x="209973" y="1442836"/>
                  <a:pt x="567103" y="1799966"/>
                  <a:pt x="1007644" y="1799966"/>
                </a:cubicBezTo>
                <a:cubicBezTo>
                  <a:pt x="1448186" y="1799966"/>
                  <a:pt x="1805316" y="1442836"/>
                  <a:pt x="1805316" y="1002295"/>
                </a:cubicBezTo>
                <a:cubicBezTo>
                  <a:pt x="1805316" y="947227"/>
                  <a:pt x="1799736" y="893463"/>
                  <a:pt x="1789110" y="841536"/>
                </a:cubicBezTo>
                <a:lnTo>
                  <a:pt x="1782387" y="815390"/>
                </a:lnTo>
                <a:lnTo>
                  <a:pt x="1782388" y="815390"/>
                </a:lnTo>
                <a:lnTo>
                  <a:pt x="1769455" y="765093"/>
                </a:lnTo>
                <a:cubicBezTo>
                  <a:pt x="1761687" y="740115"/>
                  <a:pt x="1752723" y="715664"/>
                  <a:pt x="1742632" y="691806"/>
                </a:cubicBezTo>
                <a:lnTo>
                  <a:pt x="1683580" y="583011"/>
                </a:lnTo>
                <a:lnTo>
                  <a:pt x="1732700" y="595642"/>
                </a:lnTo>
                <a:cubicBezTo>
                  <a:pt x="1784627" y="606268"/>
                  <a:pt x="1838391" y="611848"/>
                  <a:pt x="1893459" y="611848"/>
                </a:cubicBezTo>
                <a:lnTo>
                  <a:pt x="1935926" y="609703"/>
                </a:lnTo>
                <a:lnTo>
                  <a:pt x="1936105" y="610075"/>
                </a:lnTo>
                <a:cubicBezTo>
                  <a:pt x="1961599" y="670352"/>
                  <a:pt x="1981396" y="733626"/>
                  <a:pt x="1994819" y="799220"/>
                </a:cubicBezTo>
                <a:lnTo>
                  <a:pt x="1997452" y="816472"/>
                </a:lnTo>
                <a:lnTo>
                  <a:pt x="1997451" y="816472"/>
                </a:lnTo>
                <a:lnTo>
                  <a:pt x="2010087" y="899269"/>
                </a:lnTo>
                <a:cubicBezTo>
                  <a:pt x="2013527" y="933143"/>
                  <a:pt x="2015289" y="967513"/>
                  <a:pt x="2015289" y="1002295"/>
                </a:cubicBezTo>
                <a:cubicBezTo>
                  <a:pt x="2015289" y="1558801"/>
                  <a:pt x="1564151" y="2009939"/>
                  <a:pt x="1007644" y="2009939"/>
                </a:cubicBezTo>
                <a:cubicBezTo>
                  <a:pt x="451138" y="2009939"/>
                  <a:pt x="0" y="1558801"/>
                  <a:pt x="0" y="1002295"/>
                </a:cubicBezTo>
                <a:cubicBezTo>
                  <a:pt x="0" y="515352"/>
                  <a:pt x="345403" y="109081"/>
                  <a:pt x="804569" y="15122"/>
                </a:cubicBezTo>
                <a:close/>
              </a:path>
            </a:pathLst>
          </a:custGeom>
          <a:solidFill>
            <a:srgbClr val="6FCE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600ACB05-7672-44AC-8E91-7EF6F9C27B35}"/>
              </a:ext>
            </a:extLst>
          </p:cNvPr>
          <p:cNvGrpSpPr/>
          <p:nvPr/>
        </p:nvGrpSpPr>
        <p:grpSpPr>
          <a:xfrm>
            <a:off x="4870546" y="2718518"/>
            <a:ext cx="2015289" cy="2009940"/>
            <a:chOff x="4870545" y="2788318"/>
            <a:chExt cx="2015289" cy="2009940"/>
          </a:xfrm>
          <a:solidFill>
            <a:srgbClr val="D00000"/>
          </a:solidFill>
        </p:grpSpPr>
        <p:sp>
          <p:nvSpPr>
            <p:cNvPr id="13" name="Freeform 144">
              <a:extLst>
                <a:ext uri="{FF2B5EF4-FFF2-40B4-BE49-F238E27FC236}">
                  <a16:creationId xmlns:a16="http://schemas.microsoft.com/office/drawing/2014/main" id="{CA4F411E-D554-44C5-97B5-EDC18570F827}"/>
                </a:ext>
              </a:extLst>
            </p:cNvPr>
            <p:cNvSpPr/>
            <p:nvPr/>
          </p:nvSpPr>
          <p:spPr>
            <a:xfrm>
              <a:off x="5855652" y="2788318"/>
              <a:ext cx="762824" cy="488681"/>
            </a:xfrm>
            <a:custGeom>
              <a:avLst/>
              <a:gdLst>
                <a:gd name="connsiteX0" fmla="*/ 24469 w 828209"/>
                <a:gd name="connsiteY0" fmla="*/ 0 h 530568"/>
                <a:gd name="connsiteX1" fmla="*/ 798054 w 828209"/>
                <a:gd name="connsiteY1" fmla="*/ 320429 h 530568"/>
                <a:gd name="connsiteX2" fmla="*/ 828209 w 828209"/>
                <a:gd name="connsiteY2" fmla="*/ 353608 h 530568"/>
                <a:gd name="connsiteX3" fmla="*/ 809061 w 828209"/>
                <a:gd name="connsiteY3" fmla="*/ 371010 h 530568"/>
                <a:gd name="connsiteX4" fmla="*/ 738452 w 828209"/>
                <a:gd name="connsiteY4" fmla="*/ 448701 h 530568"/>
                <a:gd name="connsiteX5" fmla="*/ 677232 w 828209"/>
                <a:gd name="connsiteY5" fmla="*/ 530568 h 530568"/>
                <a:gd name="connsiteX6" fmla="*/ 636854 w 828209"/>
                <a:gd name="connsiteY6" fmla="*/ 481629 h 530568"/>
                <a:gd name="connsiteX7" fmla="*/ 24469 w 828209"/>
                <a:gd name="connsiteY7" fmla="*/ 227971 h 530568"/>
                <a:gd name="connsiteX8" fmla="*/ 0 w 828209"/>
                <a:gd name="connsiteY8" fmla="*/ 229206 h 530568"/>
                <a:gd name="connsiteX9" fmla="*/ 2243 w 828209"/>
                <a:gd name="connsiteY9" fmla="*/ 220482 h 530568"/>
                <a:gd name="connsiteX10" fmla="*/ 24469 w 828209"/>
                <a:gd name="connsiteY10" fmla="*/ 0 h 530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28209" h="530568">
                  <a:moveTo>
                    <a:pt x="24469" y="0"/>
                  </a:moveTo>
                  <a:cubicBezTo>
                    <a:pt x="326573" y="0"/>
                    <a:pt x="600076" y="122452"/>
                    <a:pt x="798054" y="320429"/>
                  </a:cubicBezTo>
                  <a:lnTo>
                    <a:pt x="828209" y="353608"/>
                  </a:lnTo>
                  <a:lnTo>
                    <a:pt x="809061" y="371010"/>
                  </a:lnTo>
                  <a:cubicBezTo>
                    <a:pt x="784314" y="395757"/>
                    <a:pt x="760747" y="421685"/>
                    <a:pt x="738452" y="448701"/>
                  </a:cubicBezTo>
                  <a:lnTo>
                    <a:pt x="677232" y="530568"/>
                  </a:lnTo>
                  <a:lnTo>
                    <a:pt x="636854" y="481629"/>
                  </a:lnTo>
                  <a:cubicBezTo>
                    <a:pt x="480131" y="324906"/>
                    <a:pt x="263620" y="227971"/>
                    <a:pt x="24469" y="227971"/>
                  </a:cubicBezTo>
                  <a:lnTo>
                    <a:pt x="0" y="229206"/>
                  </a:lnTo>
                  <a:lnTo>
                    <a:pt x="2243" y="220482"/>
                  </a:lnTo>
                  <a:cubicBezTo>
                    <a:pt x="16816" y="149264"/>
                    <a:pt x="24469" y="75526"/>
                    <a:pt x="24469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14" name="自由: 形状 42">
              <a:extLst>
                <a:ext uri="{FF2B5EF4-FFF2-40B4-BE49-F238E27FC236}">
                  <a16:creationId xmlns:a16="http://schemas.microsoft.com/office/drawing/2014/main" id="{6BA7DA33-F0C2-4165-A632-22842D3A71EC}"/>
                </a:ext>
              </a:extLst>
            </p:cNvPr>
            <p:cNvSpPr/>
            <p:nvPr/>
          </p:nvSpPr>
          <p:spPr>
            <a:xfrm>
              <a:off x="4870545" y="2810856"/>
              <a:ext cx="896572" cy="1986321"/>
            </a:xfrm>
            <a:custGeom>
              <a:avLst/>
              <a:gdLst>
                <a:gd name="connsiteX0" fmla="*/ 121832 w 896572"/>
                <a:gd name="connsiteY0" fmla="*/ 1165582 h 1986321"/>
                <a:gd name="connsiteX1" fmla="*/ 224858 w 896572"/>
                <a:gd name="connsiteY1" fmla="*/ 1170784 h 1986321"/>
                <a:gd name="connsiteX2" fmla="*/ 232902 w 896572"/>
                <a:gd name="connsiteY2" fmla="*/ 1172012 h 1986321"/>
                <a:gd name="connsiteX3" fmla="*/ 245836 w 896572"/>
                <a:gd name="connsiteY3" fmla="*/ 1222311 h 1986321"/>
                <a:gd name="connsiteX4" fmla="*/ 272659 w 896572"/>
                <a:gd name="connsiteY4" fmla="*/ 1295597 h 1986321"/>
                <a:gd name="connsiteX5" fmla="*/ 331711 w 896572"/>
                <a:gd name="connsiteY5" fmla="*/ 1404392 h 1986321"/>
                <a:gd name="connsiteX6" fmla="*/ 282591 w 896572"/>
                <a:gd name="connsiteY6" fmla="*/ 1391762 h 1986321"/>
                <a:gd name="connsiteX7" fmla="*/ 282591 w 896572"/>
                <a:gd name="connsiteY7" fmla="*/ 1391762 h 1986321"/>
                <a:gd name="connsiteX8" fmla="*/ 331709 w 896572"/>
                <a:gd name="connsiteY8" fmla="*/ 1404392 h 1986321"/>
                <a:gd name="connsiteX9" fmla="*/ 346202 w 896572"/>
                <a:gd name="connsiteY9" fmla="*/ 1431093 h 1986321"/>
                <a:gd name="connsiteX10" fmla="*/ 770440 w 896572"/>
                <a:gd name="connsiteY10" fmla="*/ 1746916 h 1986321"/>
                <a:gd name="connsiteX11" fmla="*/ 797765 w 896572"/>
                <a:gd name="connsiteY11" fmla="*/ 1753942 h 1986321"/>
                <a:gd name="connsiteX12" fmla="*/ 856816 w 896572"/>
                <a:gd name="connsiteY12" fmla="*/ 1862736 h 1986321"/>
                <a:gd name="connsiteX13" fmla="*/ 883639 w 896572"/>
                <a:gd name="connsiteY13" fmla="*/ 1936023 h 1986321"/>
                <a:gd name="connsiteX14" fmla="*/ 896572 w 896572"/>
                <a:gd name="connsiteY14" fmla="*/ 1986321 h 1986321"/>
                <a:gd name="connsiteX15" fmla="*/ 804567 w 896572"/>
                <a:gd name="connsiteY15" fmla="*/ 1972280 h 1986321"/>
                <a:gd name="connsiteX16" fmla="*/ 121617 w 896572"/>
                <a:gd name="connsiteY16" fmla="*/ 1465410 h 1986321"/>
                <a:gd name="connsiteX17" fmla="*/ 79363 w 896572"/>
                <a:gd name="connsiteY17" fmla="*/ 1377699 h 1986321"/>
                <a:gd name="connsiteX18" fmla="*/ 79364 w 896572"/>
                <a:gd name="connsiteY18" fmla="*/ 1377699 h 1986321"/>
                <a:gd name="connsiteX19" fmla="*/ 79186 w 896572"/>
                <a:gd name="connsiteY19" fmla="*/ 1377329 h 1986321"/>
                <a:gd name="connsiteX20" fmla="*/ 20471 w 896572"/>
                <a:gd name="connsiteY20" fmla="*/ 1188183 h 1986321"/>
                <a:gd name="connsiteX21" fmla="*/ 17839 w 896572"/>
                <a:gd name="connsiteY21" fmla="*/ 1170932 h 1986321"/>
                <a:gd name="connsiteX22" fmla="*/ 18805 w 896572"/>
                <a:gd name="connsiteY22" fmla="*/ 1170784 h 1986321"/>
                <a:gd name="connsiteX23" fmla="*/ 121832 w 896572"/>
                <a:gd name="connsiteY23" fmla="*/ 1165582 h 1986321"/>
                <a:gd name="connsiteX24" fmla="*/ 250818 w 896572"/>
                <a:gd name="connsiteY24" fmla="*/ 734289 h 1986321"/>
                <a:gd name="connsiteX25" fmla="*/ 245835 w 896572"/>
                <a:gd name="connsiteY25" fmla="*/ 747904 h 1986321"/>
                <a:gd name="connsiteX26" fmla="*/ 214091 w 896572"/>
                <a:gd name="connsiteY26" fmla="*/ 903550 h 1986321"/>
                <a:gd name="connsiteX27" fmla="*/ 211112 w 896572"/>
                <a:gd name="connsiteY27" fmla="*/ 962570 h 1986321"/>
                <a:gd name="connsiteX28" fmla="*/ 209974 w 896572"/>
                <a:gd name="connsiteY28" fmla="*/ 985106 h 1986321"/>
                <a:gd name="connsiteX29" fmla="*/ 226179 w 896572"/>
                <a:gd name="connsiteY29" fmla="*/ 1145865 h 1986321"/>
                <a:gd name="connsiteX30" fmla="*/ 232902 w 896572"/>
                <a:gd name="connsiteY30" fmla="*/ 1172011 h 1986321"/>
                <a:gd name="connsiteX31" fmla="*/ 224858 w 896572"/>
                <a:gd name="connsiteY31" fmla="*/ 1170783 h 1986321"/>
                <a:gd name="connsiteX32" fmla="*/ 121832 w 896572"/>
                <a:gd name="connsiteY32" fmla="*/ 1165581 h 1986321"/>
                <a:gd name="connsiteX33" fmla="*/ 18805 w 896572"/>
                <a:gd name="connsiteY33" fmla="*/ 1170783 h 1986321"/>
                <a:gd name="connsiteX34" fmla="*/ 17839 w 896572"/>
                <a:gd name="connsiteY34" fmla="*/ 1170931 h 1986321"/>
                <a:gd name="connsiteX35" fmla="*/ 5202 w 896572"/>
                <a:gd name="connsiteY35" fmla="*/ 1088133 h 1986321"/>
                <a:gd name="connsiteX36" fmla="*/ 0 w 896572"/>
                <a:gd name="connsiteY36" fmla="*/ 985107 h 1986321"/>
                <a:gd name="connsiteX37" fmla="*/ 0 w 896572"/>
                <a:gd name="connsiteY37" fmla="*/ 985107 h 1986321"/>
                <a:gd name="connsiteX38" fmla="*/ 0 w 896572"/>
                <a:gd name="connsiteY38" fmla="*/ 985106 h 1986321"/>
                <a:gd name="connsiteX39" fmla="*/ 5202 w 896572"/>
                <a:gd name="connsiteY39" fmla="*/ 882082 h 1986321"/>
                <a:gd name="connsiteX40" fmla="*/ 20471 w 896572"/>
                <a:gd name="connsiteY40" fmla="*/ 782032 h 1986321"/>
                <a:gd name="connsiteX41" fmla="*/ 22537 w 896572"/>
                <a:gd name="connsiteY41" fmla="*/ 773996 h 1986321"/>
                <a:gd name="connsiteX42" fmla="*/ 81558 w 896572"/>
                <a:gd name="connsiteY42" fmla="*/ 771016 h 1986321"/>
                <a:gd name="connsiteX43" fmla="*/ 237203 w 896572"/>
                <a:gd name="connsiteY43" fmla="*/ 739272 h 1986321"/>
                <a:gd name="connsiteX44" fmla="*/ 796533 w 896572"/>
                <a:gd name="connsiteY44" fmla="*/ 0 h 1986321"/>
                <a:gd name="connsiteX45" fmla="*/ 793553 w 896572"/>
                <a:gd name="connsiteY45" fmla="*/ 59020 h 1986321"/>
                <a:gd name="connsiteX46" fmla="*/ 761809 w 896572"/>
                <a:gd name="connsiteY46" fmla="*/ 214666 h 1986321"/>
                <a:gd name="connsiteX47" fmla="*/ 756826 w 896572"/>
                <a:gd name="connsiteY47" fmla="*/ 228281 h 1986321"/>
                <a:gd name="connsiteX48" fmla="*/ 697154 w 896572"/>
                <a:gd name="connsiteY48" fmla="*/ 250121 h 1986321"/>
                <a:gd name="connsiteX49" fmla="*/ 272658 w 896572"/>
                <a:gd name="connsiteY49" fmla="*/ 674617 h 1986321"/>
                <a:gd name="connsiteX50" fmla="*/ 250818 w 896572"/>
                <a:gd name="connsiteY50" fmla="*/ 734289 h 1986321"/>
                <a:gd name="connsiteX51" fmla="*/ 237203 w 896572"/>
                <a:gd name="connsiteY51" fmla="*/ 739271 h 1986321"/>
                <a:gd name="connsiteX52" fmla="*/ 81557 w 896572"/>
                <a:gd name="connsiteY52" fmla="*/ 771016 h 1986321"/>
                <a:gd name="connsiteX53" fmla="*/ 22537 w 896572"/>
                <a:gd name="connsiteY53" fmla="*/ 773995 h 1986321"/>
                <a:gd name="connsiteX54" fmla="*/ 45302 w 896572"/>
                <a:gd name="connsiteY54" fmla="*/ 685465 h 1986321"/>
                <a:gd name="connsiteX55" fmla="*/ 708002 w 896572"/>
                <a:gd name="connsiteY55" fmla="*/ 22765 h 1986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896572" h="1986321">
                  <a:moveTo>
                    <a:pt x="121832" y="1165582"/>
                  </a:moveTo>
                  <a:cubicBezTo>
                    <a:pt x="156613" y="1165582"/>
                    <a:pt x="190983" y="1167344"/>
                    <a:pt x="224858" y="1170784"/>
                  </a:cubicBezTo>
                  <a:lnTo>
                    <a:pt x="232902" y="1172012"/>
                  </a:lnTo>
                  <a:lnTo>
                    <a:pt x="245836" y="1222311"/>
                  </a:lnTo>
                  <a:cubicBezTo>
                    <a:pt x="253604" y="1247288"/>
                    <a:pt x="262568" y="1271739"/>
                    <a:pt x="272659" y="1295597"/>
                  </a:cubicBezTo>
                  <a:lnTo>
                    <a:pt x="331711" y="1404392"/>
                  </a:lnTo>
                  <a:lnTo>
                    <a:pt x="282591" y="1391762"/>
                  </a:lnTo>
                  <a:lnTo>
                    <a:pt x="282591" y="1391762"/>
                  </a:lnTo>
                  <a:lnTo>
                    <a:pt x="331709" y="1404392"/>
                  </a:lnTo>
                  <a:lnTo>
                    <a:pt x="346202" y="1431093"/>
                  </a:lnTo>
                  <a:cubicBezTo>
                    <a:pt x="446545" y="1579620"/>
                    <a:pt x="595598" y="1692535"/>
                    <a:pt x="770440" y="1746916"/>
                  </a:cubicBezTo>
                  <a:lnTo>
                    <a:pt x="797765" y="1753942"/>
                  </a:lnTo>
                  <a:lnTo>
                    <a:pt x="856816" y="1862736"/>
                  </a:lnTo>
                  <a:cubicBezTo>
                    <a:pt x="866907" y="1886594"/>
                    <a:pt x="875871" y="1911046"/>
                    <a:pt x="883639" y="1936023"/>
                  </a:cubicBezTo>
                  <a:lnTo>
                    <a:pt x="896572" y="1986321"/>
                  </a:lnTo>
                  <a:lnTo>
                    <a:pt x="804567" y="1972280"/>
                  </a:lnTo>
                  <a:cubicBezTo>
                    <a:pt x="509390" y="1911877"/>
                    <a:pt x="261226" y="1722408"/>
                    <a:pt x="121617" y="1465410"/>
                  </a:cubicBezTo>
                  <a:lnTo>
                    <a:pt x="79363" y="1377699"/>
                  </a:lnTo>
                  <a:lnTo>
                    <a:pt x="79364" y="1377699"/>
                  </a:lnTo>
                  <a:lnTo>
                    <a:pt x="79186" y="1377329"/>
                  </a:lnTo>
                  <a:cubicBezTo>
                    <a:pt x="53691" y="1317052"/>
                    <a:pt x="33895" y="1253779"/>
                    <a:pt x="20471" y="1188183"/>
                  </a:cubicBezTo>
                  <a:lnTo>
                    <a:pt x="17839" y="1170932"/>
                  </a:lnTo>
                  <a:lnTo>
                    <a:pt x="18805" y="1170784"/>
                  </a:lnTo>
                  <a:cubicBezTo>
                    <a:pt x="52680" y="1167344"/>
                    <a:pt x="87050" y="1165582"/>
                    <a:pt x="121832" y="1165582"/>
                  </a:cubicBezTo>
                  <a:close/>
                  <a:moveTo>
                    <a:pt x="250818" y="734289"/>
                  </a:moveTo>
                  <a:lnTo>
                    <a:pt x="245835" y="747904"/>
                  </a:lnTo>
                  <a:cubicBezTo>
                    <a:pt x="230297" y="797859"/>
                    <a:pt x="219538" y="849919"/>
                    <a:pt x="214091" y="903550"/>
                  </a:cubicBezTo>
                  <a:lnTo>
                    <a:pt x="211112" y="962570"/>
                  </a:lnTo>
                  <a:lnTo>
                    <a:pt x="209974" y="985106"/>
                  </a:lnTo>
                  <a:cubicBezTo>
                    <a:pt x="209974" y="1040174"/>
                    <a:pt x="215554" y="1093938"/>
                    <a:pt x="226179" y="1145865"/>
                  </a:cubicBezTo>
                  <a:lnTo>
                    <a:pt x="232902" y="1172011"/>
                  </a:lnTo>
                  <a:lnTo>
                    <a:pt x="224858" y="1170783"/>
                  </a:lnTo>
                  <a:cubicBezTo>
                    <a:pt x="190983" y="1167343"/>
                    <a:pt x="156613" y="1165581"/>
                    <a:pt x="121832" y="1165581"/>
                  </a:cubicBezTo>
                  <a:cubicBezTo>
                    <a:pt x="87050" y="1165581"/>
                    <a:pt x="52680" y="1167343"/>
                    <a:pt x="18805" y="1170783"/>
                  </a:cubicBezTo>
                  <a:lnTo>
                    <a:pt x="17839" y="1170931"/>
                  </a:lnTo>
                  <a:lnTo>
                    <a:pt x="5202" y="1088133"/>
                  </a:lnTo>
                  <a:lnTo>
                    <a:pt x="0" y="985107"/>
                  </a:lnTo>
                  <a:lnTo>
                    <a:pt x="0" y="985107"/>
                  </a:lnTo>
                  <a:lnTo>
                    <a:pt x="0" y="985106"/>
                  </a:lnTo>
                  <a:lnTo>
                    <a:pt x="5202" y="882082"/>
                  </a:lnTo>
                  <a:cubicBezTo>
                    <a:pt x="8642" y="848208"/>
                    <a:pt x="13760" y="814830"/>
                    <a:pt x="20471" y="782032"/>
                  </a:cubicBezTo>
                  <a:lnTo>
                    <a:pt x="22537" y="773996"/>
                  </a:lnTo>
                  <a:lnTo>
                    <a:pt x="81558" y="771016"/>
                  </a:lnTo>
                  <a:cubicBezTo>
                    <a:pt x="135189" y="765569"/>
                    <a:pt x="187248" y="754810"/>
                    <a:pt x="237203" y="739272"/>
                  </a:cubicBezTo>
                  <a:close/>
                  <a:moveTo>
                    <a:pt x="796533" y="0"/>
                  </a:moveTo>
                  <a:lnTo>
                    <a:pt x="793553" y="59020"/>
                  </a:lnTo>
                  <a:cubicBezTo>
                    <a:pt x="788107" y="112650"/>
                    <a:pt x="777347" y="164711"/>
                    <a:pt x="761809" y="214666"/>
                  </a:cubicBezTo>
                  <a:lnTo>
                    <a:pt x="756826" y="228281"/>
                  </a:lnTo>
                  <a:lnTo>
                    <a:pt x="697154" y="250121"/>
                  </a:lnTo>
                  <a:cubicBezTo>
                    <a:pt x="506290" y="330849"/>
                    <a:pt x="353387" y="483753"/>
                    <a:pt x="272658" y="674617"/>
                  </a:cubicBezTo>
                  <a:lnTo>
                    <a:pt x="250818" y="734289"/>
                  </a:lnTo>
                  <a:lnTo>
                    <a:pt x="237203" y="739271"/>
                  </a:lnTo>
                  <a:cubicBezTo>
                    <a:pt x="187248" y="754810"/>
                    <a:pt x="135188" y="765568"/>
                    <a:pt x="81557" y="771016"/>
                  </a:cubicBezTo>
                  <a:lnTo>
                    <a:pt x="22537" y="773995"/>
                  </a:lnTo>
                  <a:lnTo>
                    <a:pt x="45302" y="685465"/>
                  </a:lnTo>
                  <a:cubicBezTo>
                    <a:pt x="143440" y="369941"/>
                    <a:pt x="392479" y="120902"/>
                    <a:pt x="708002" y="22765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15" name="自由: 形状 41">
              <a:extLst>
                <a:ext uri="{FF2B5EF4-FFF2-40B4-BE49-F238E27FC236}">
                  <a16:creationId xmlns:a16="http://schemas.microsoft.com/office/drawing/2014/main" id="{78BE2BA7-CC68-4F02-92D1-8237393201FA}"/>
                </a:ext>
              </a:extLst>
            </p:cNvPr>
            <p:cNvSpPr/>
            <p:nvPr/>
          </p:nvSpPr>
          <p:spPr>
            <a:xfrm>
              <a:off x="5920656" y="3283863"/>
              <a:ext cx="965178" cy="1514395"/>
            </a:xfrm>
            <a:custGeom>
              <a:avLst/>
              <a:gdLst>
                <a:gd name="connsiteX0" fmla="*/ 662470 w 965178"/>
                <a:gd name="connsiteY0" fmla="*/ 877950 h 1514395"/>
                <a:gd name="connsiteX1" fmla="*/ 731254 w 965178"/>
                <a:gd name="connsiteY1" fmla="*/ 1004674 h 1514395"/>
                <a:gd name="connsiteX2" fmla="*/ 791466 w 965178"/>
                <a:gd name="connsiteY2" fmla="*/ 1077653 h 1514395"/>
                <a:gd name="connsiteX3" fmla="*/ 735079 w 965178"/>
                <a:gd name="connsiteY3" fmla="*/ 1153056 h 1514395"/>
                <a:gd name="connsiteX4" fmla="*/ 670045 w 965178"/>
                <a:gd name="connsiteY4" fmla="*/ 1224613 h 1514395"/>
                <a:gd name="connsiteX5" fmla="*/ 652410 w 965178"/>
                <a:gd name="connsiteY5" fmla="*/ 1240641 h 1514395"/>
                <a:gd name="connsiteX6" fmla="*/ 598488 w 965178"/>
                <a:gd name="connsiteY6" fmla="*/ 1289647 h 1514395"/>
                <a:gd name="connsiteX7" fmla="*/ 160609 w 965178"/>
                <a:gd name="connsiteY7" fmla="*/ 1499273 h 1514395"/>
                <a:gd name="connsiteX8" fmla="*/ 61527 w 965178"/>
                <a:gd name="connsiteY8" fmla="*/ 1514395 h 1514395"/>
                <a:gd name="connsiteX9" fmla="*/ 58893 w 965178"/>
                <a:gd name="connsiteY9" fmla="*/ 1497144 h 1514395"/>
                <a:gd name="connsiteX10" fmla="*/ 179 w 965178"/>
                <a:gd name="connsiteY10" fmla="*/ 1307998 h 1514395"/>
                <a:gd name="connsiteX11" fmla="*/ 0 w 965178"/>
                <a:gd name="connsiteY11" fmla="*/ 1307627 h 1514395"/>
                <a:gd name="connsiteX12" fmla="*/ 39091 w 965178"/>
                <a:gd name="connsiteY12" fmla="*/ 1305653 h 1514395"/>
                <a:gd name="connsiteX13" fmla="*/ 521572 w 965178"/>
                <a:gd name="connsiteY13" fmla="*/ 1076139 h 1514395"/>
                <a:gd name="connsiteX14" fmla="*/ 525986 w 965178"/>
                <a:gd name="connsiteY14" fmla="*/ 1070790 h 1514395"/>
                <a:gd name="connsiteX15" fmla="*/ 525985 w 965178"/>
                <a:gd name="connsiteY15" fmla="*/ 1070789 h 1514395"/>
                <a:gd name="connsiteX16" fmla="*/ 618973 w 965178"/>
                <a:gd name="connsiteY16" fmla="*/ 958086 h 1514395"/>
                <a:gd name="connsiteX17" fmla="*/ 824243 w 965178"/>
                <a:gd name="connsiteY17" fmla="*/ 0 h 1514395"/>
                <a:gd name="connsiteX18" fmla="*/ 843560 w 965178"/>
                <a:gd name="connsiteY18" fmla="*/ 31797 h 1514395"/>
                <a:gd name="connsiteX19" fmla="*/ 965178 w 965178"/>
                <a:gd name="connsiteY19" fmla="*/ 512101 h 1514395"/>
                <a:gd name="connsiteX20" fmla="*/ 793089 w 965178"/>
                <a:gd name="connsiteY20" fmla="*/ 1075485 h 1514395"/>
                <a:gd name="connsiteX21" fmla="*/ 791468 w 965178"/>
                <a:gd name="connsiteY21" fmla="*/ 1077653 h 1514395"/>
                <a:gd name="connsiteX22" fmla="*/ 731256 w 965178"/>
                <a:gd name="connsiteY22" fmla="*/ 1004674 h 1514395"/>
                <a:gd name="connsiteX23" fmla="*/ 662471 w 965178"/>
                <a:gd name="connsiteY23" fmla="*/ 877950 h 1514395"/>
                <a:gd name="connsiteX24" fmla="*/ 692520 w 965178"/>
                <a:gd name="connsiteY24" fmla="*/ 822590 h 1514395"/>
                <a:gd name="connsiteX25" fmla="*/ 755205 w 965178"/>
                <a:gd name="connsiteY25" fmla="*/ 512101 h 1514395"/>
                <a:gd name="connsiteX26" fmla="*/ 692520 w 965178"/>
                <a:gd name="connsiteY26" fmla="*/ 201611 h 1514395"/>
                <a:gd name="connsiteX27" fmla="*/ 687759 w 965178"/>
                <a:gd name="connsiteY27" fmla="*/ 192839 h 1514395"/>
                <a:gd name="connsiteX28" fmla="*/ 731256 w 965178"/>
                <a:gd name="connsiteY28" fmla="*/ 112703 h 1514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965178" h="1514395">
                  <a:moveTo>
                    <a:pt x="662470" y="877950"/>
                  </a:moveTo>
                  <a:lnTo>
                    <a:pt x="731254" y="1004674"/>
                  </a:lnTo>
                  <a:lnTo>
                    <a:pt x="791466" y="1077653"/>
                  </a:lnTo>
                  <a:lnTo>
                    <a:pt x="735079" y="1153056"/>
                  </a:lnTo>
                  <a:cubicBezTo>
                    <a:pt x="714544" y="1177939"/>
                    <a:pt x="692838" y="1201820"/>
                    <a:pt x="670045" y="1224613"/>
                  </a:cubicBezTo>
                  <a:lnTo>
                    <a:pt x="652410" y="1240641"/>
                  </a:lnTo>
                  <a:lnTo>
                    <a:pt x="598488" y="1289647"/>
                  </a:lnTo>
                  <a:cubicBezTo>
                    <a:pt x="474074" y="1392323"/>
                    <a:pt x="324597" y="1465717"/>
                    <a:pt x="160609" y="1499273"/>
                  </a:cubicBezTo>
                  <a:lnTo>
                    <a:pt x="61527" y="1514395"/>
                  </a:lnTo>
                  <a:lnTo>
                    <a:pt x="58893" y="1497144"/>
                  </a:lnTo>
                  <a:cubicBezTo>
                    <a:pt x="45471" y="1431549"/>
                    <a:pt x="25674" y="1368276"/>
                    <a:pt x="179" y="1307998"/>
                  </a:cubicBezTo>
                  <a:lnTo>
                    <a:pt x="0" y="1307627"/>
                  </a:lnTo>
                  <a:lnTo>
                    <a:pt x="39091" y="1305653"/>
                  </a:lnTo>
                  <a:cubicBezTo>
                    <a:pt x="226798" y="1286590"/>
                    <a:pt x="395265" y="1202445"/>
                    <a:pt x="521572" y="1076139"/>
                  </a:cubicBezTo>
                  <a:lnTo>
                    <a:pt x="525986" y="1070790"/>
                  </a:lnTo>
                  <a:lnTo>
                    <a:pt x="525985" y="1070789"/>
                  </a:lnTo>
                  <a:lnTo>
                    <a:pt x="618973" y="958086"/>
                  </a:lnTo>
                  <a:close/>
                  <a:moveTo>
                    <a:pt x="824243" y="0"/>
                  </a:moveTo>
                  <a:lnTo>
                    <a:pt x="843560" y="31797"/>
                  </a:lnTo>
                  <a:cubicBezTo>
                    <a:pt x="921122" y="174573"/>
                    <a:pt x="965178" y="338192"/>
                    <a:pt x="965178" y="512101"/>
                  </a:cubicBezTo>
                  <a:cubicBezTo>
                    <a:pt x="965178" y="720791"/>
                    <a:pt x="901737" y="914663"/>
                    <a:pt x="793089" y="1075485"/>
                  </a:cubicBezTo>
                  <a:lnTo>
                    <a:pt x="791468" y="1077653"/>
                  </a:lnTo>
                  <a:lnTo>
                    <a:pt x="731256" y="1004674"/>
                  </a:lnTo>
                  <a:lnTo>
                    <a:pt x="662471" y="877950"/>
                  </a:lnTo>
                  <a:lnTo>
                    <a:pt x="692520" y="822590"/>
                  </a:lnTo>
                  <a:cubicBezTo>
                    <a:pt x="732884" y="727158"/>
                    <a:pt x="755205" y="622236"/>
                    <a:pt x="755205" y="512101"/>
                  </a:cubicBezTo>
                  <a:cubicBezTo>
                    <a:pt x="755205" y="401965"/>
                    <a:pt x="732884" y="297043"/>
                    <a:pt x="692520" y="201611"/>
                  </a:cubicBezTo>
                  <a:lnTo>
                    <a:pt x="687759" y="192839"/>
                  </a:lnTo>
                  <a:lnTo>
                    <a:pt x="731256" y="112703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endParaRPr>
            </a:p>
          </p:txBody>
        </p:sp>
      </p:grpSp>
      <p:sp>
        <p:nvSpPr>
          <p:cNvPr id="16" name="TextBox 160">
            <a:extLst>
              <a:ext uri="{FF2B5EF4-FFF2-40B4-BE49-F238E27FC236}">
                <a16:creationId xmlns:a16="http://schemas.microsoft.com/office/drawing/2014/main" id="{EDF7E2A6-EEBE-466B-B712-F596B3786CA8}"/>
              </a:ext>
            </a:extLst>
          </p:cNvPr>
          <p:cNvSpPr txBox="1"/>
          <p:nvPr/>
        </p:nvSpPr>
        <p:spPr>
          <a:xfrm>
            <a:off x="4492878" y="2364576"/>
            <a:ext cx="755335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defPPr>
              <a:defRPr lang="zh-CN"/>
            </a:defPPr>
            <a:lvl1pPr algn="ctr">
              <a:defRPr sz="2000" b="1">
                <a:solidFill>
                  <a:srgbClr val="00A7AA"/>
                </a:solidFill>
                <a:latin typeface="+mn-ea"/>
              </a:defRPr>
            </a:lvl1pPr>
          </a:lstStyle>
          <a:p>
            <a:r>
              <a:rPr lang="en-US" sz="4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ea"/>
                <a:sym typeface="+mn-lt"/>
              </a:rPr>
              <a:t>01</a:t>
            </a:r>
          </a:p>
        </p:txBody>
      </p:sp>
      <p:sp>
        <p:nvSpPr>
          <p:cNvPr id="17" name="TextBox 161">
            <a:extLst>
              <a:ext uri="{FF2B5EF4-FFF2-40B4-BE49-F238E27FC236}">
                <a16:creationId xmlns:a16="http://schemas.microsoft.com/office/drawing/2014/main" id="{2217DE73-B834-44E4-8194-C5ED92571FB4}"/>
              </a:ext>
            </a:extLst>
          </p:cNvPr>
          <p:cNvSpPr txBox="1"/>
          <p:nvPr/>
        </p:nvSpPr>
        <p:spPr>
          <a:xfrm>
            <a:off x="5462258" y="3379713"/>
            <a:ext cx="755335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defPPr>
              <a:defRPr lang="zh-CN"/>
            </a:defPPr>
            <a:lvl1pPr algn="ctr">
              <a:defRPr sz="2000" b="1">
                <a:solidFill>
                  <a:srgbClr val="00A7AA"/>
                </a:solidFill>
                <a:latin typeface="+mn-ea"/>
              </a:defRPr>
            </a:lvl1pPr>
          </a:lstStyle>
          <a:p>
            <a:r>
              <a:rPr lang="en-US" sz="4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ea"/>
                <a:sym typeface="+mn-lt"/>
              </a:rPr>
              <a:t>02</a:t>
            </a:r>
          </a:p>
        </p:txBody>
      </p:sp>
      <p:sp>
        <p:nvSpPr>
          <p:cNvPr id="18" name="TextBox 162">
            <a:extLst>
              <a:ext uri="{FF2B5EF4-FFF2-40B4-BE49-F238E27FC236}">
                <a16:creationId xmlns:a16="http://schemas.microsoft.com/office/drawing/2014/main" id="{0B0944BC-8670-4A5F-9943-D47B34D50C5B}"/>
              </a:ext>
            </a:extLst>
          </p:cNvPr>
          <p:cNvSpPr txBox="1"/>
          <p:nvPr/>
        </p:nvSpPr>
        <p:spPr>
          <a:xfrm>
            <a:off x="6935686" y="3418808"/>
            <a:ext cx="755335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defPPr>
              <a:defRPr lang="zh-CN"/>
            </a:defPPr>
            <a:lvl1pPr algn="ctr">
              <a:defRPr sz="2000" b="1">
                <a:solidFill>
                  <a:srgbClr val="00A7AA"/>
                </a:solidFill>
                <a:latin typeface="+mn-ea"/>
              </a:defRPr>
            </a:lvl1pPr>
          </a:lstStyle>
          <a:p>
            <a:r>
              <a:rPr lang="en-US" sz="4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ea"/>
                <a:sym typeface="+mn-lt"/>
              </a:rPr>
              <a:t>03</a:t>
            </a:r>
          </a:p>
        </p:txBody>
      </p:sp>
      <p:sp>
        <p:nvSpPr>
          <p:cNvPr id="19" name="TextBox 163">
            <a:extLst>
              <a:ext uri="{FF2B5EF4-FFF2-40B4-BE49-F238E27FC236}">
                <a16:creationId xmlns:a16="http://schemas.microsoft.com/office/drawing/2014/main" id="{2F50175A-615B-407A-A26A-2F1B6F6E1291}"/>
              </a:ext>
            </a:extLst>
          </p:cNvPr>
          <p:cNvSpPr txBox="1"/>
          <p:nvPr/>
        </p:nvSpPr>
        <p:spPr>
          <a:xfrm>
            <a:off x="4614710" y="4563014"/>
            <a:ext cx="755335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defPPr>
              <a:defRPr lang="zh-CN"/>
            </a:defPPr>
            <a:lvl1pPr algn="ctr">
              <a:defRPr sz="2000" b="1">
                <a:solidFill>
                  <a:srgbClr val="00A7AA"/>
                </a:solidFill>
                <a:latin typeface="+mn-ea"/>
              </a:defRPr>
            </a:lvl1pPr>
          </a:lstStyle>
          <a:p>
            <a:r>
              <a:rPr lang="en-US" sz="4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ea"/>
                <a:sym typeface="+mn-lt"/>
              </a:rPr>
              <a:t>04</a:t>
            </a:r>
          </a:p>
        </p:txBody>
      </p:sp>
      <p:cxnSp>
        <p:nvCxnSpPr>
          <p:cNvPr id="20" name="Straight Connector 165">
            <a:extLst>
              <a:ext uri="{FF2B5EF4-FFF2-40B4-BE49-F238E27FC236}">
                <a16:creationId xmlns:a16="http://schemas.microsoft.com/office/drawing/2014/main" id="{19259B69-01EA-4C06-A17E-E3F98E323270}"/>
              </a:ext>
            </a:extLst>
          </p:cNvPr>
          <p:cNvCxnSpPr/>
          <p:nvPr/>
        </p:nvCxnSpPr>
        <p:spPr>
          <a:xfrm>
            <a:off x="8420793" y="3772750"/>
            <a:ext cx="47852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组合 20">
            <a:extLst>
              <a:ext uri="{FF2B5EF4-FFF2-40B4-BE49-F238E27FC236}">
                <a16:creationId xmlns:a16="http://schemas.microsoft.com/office/drawing/2014/main" id="{21B8A202-75B8-473F-9D44-83AE0302C817}"/>
              </a:ext>
            </a:extLst>
          </p:cNvPr>
          <p:cNvGrpSpPr/>
          <p:nvPr/>
        </p:nvGrpSpPr>
        <p:grpSpPr>
          <a:xfrm>
            <a:off x="6305708" y="2020595"/>
            <a:ext cx="1554771" cy="744512"/>
            <a:chOff x="6305707" y="2090395"/>
            <a:chExt cx="1554771" cy="744512"/>
          </a:xfrm>
        </p:grpSpPr>
        <p:cxnSp>
          <p:nvCxnSpPr>
            <p:cNvPr id="22" name="Straight Connector 166">
              <a:extLst>
                <a:ext uri="{FF2B5EF4-FFF2-40B4-BE49-F238E27FC236}">
                  <a16:creationId xmlns:a16="http://schemas.microsoft.com/office/drawing/2014/main" id="{703C9E89-5303-4ACA-B80F-272C8FF5EFC1}"/>
                </a:ext>
              </a:extLst>
            </p:cNvPr>
            <p:cNvCxnSpPr/>
            <p:nvPr/>
          </p:nvCxnSpPr>
          <p:spPr>
            <a:xfrm>
              <a:off x="7131366" y="2090964"/>
              <a:ext cx="729112" cy="0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prstDash val="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168">
              <a:extLst>
                <a:ext uri="{FF2B5EF4-FFF2-40B4-BE49-F238E27FC236}">
                  <a16:creationId xmlns:a16="http://schemas.microsoft.com/office/drawing/2014/main" id="{3CB7CDD8-4C8E-4168-90F1-B26EFC20A6B8}"/>
                </a:ext>
              </a:extLst>
            </p:cNvPr>
            <p:cNvCxnSpPr/>
            <p:nvPr/>
          </p:nvCxnSpPr>
          <p:spPr>
            <a:xfrm flipV="1">
              <a:off x="6305707" y="2090395"/>
              <a:ext cx="825659" cy="744512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4" name="Straight Connector 169">
            <a:extLst>
              <a:ext uri="{FF2B5EF4-FFF2-40B4-BE49-F238E27FC236}">
                <a16:creationId xmlns:a16="http://schemas.microsoft.com/office/drawing/2014/main" id="{2D66389E-DEB1-4DA9-B965-5DB05AEC47C1}"/>
              </a:ext>
            </a:extLst>
          </p:cNvPr>
          <p:cNvCxnSpPr/>
          <p:nvPr/>
        </p:nvCxnSpPr>
        <p:spPr>
          <a:xfrm>
            <a:off x="3349593" y="4955052"/>
            <a:ext cx="555113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170">
            <a:extLst>
              <a:ext uri="{FF2B5EF4-FFF2-40B4-BE49-F238E27FC236}">
                <a16:creationId xmlns:a16="http://schemas.microsoft.com/office/drawing/2014/main" id="{B446D901-ECE6-4A7D-997B-958F8A269FFD}"/>
              </a:ext>
            </a:extLst>
          </p:cNvPr>
          <p:cNvCxnSpPr/>
          <p:nvPr/>
        </p:nvCxnSpPr>
        <p:spPr>
          <a:xfrm>
            <a:off x="3190017" y="2612640"/>
            <a:ext cx="564295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文本框 25">
            <a:extLst>
              <a:ext uri="{FF2B5EF4-FFF2-40B4-BE49-F238E27FC236}">
                <a16:creationId xmlns:a16="http://schemas.microsoft.com/office/drawing/2014/main" id="{0512EB97-236A-4868-B711-CD756DB41924}"/>
              </a:ext>
            </a:extLst>
          </p:cNvPr>
          <p:cNvSpPr txBox="1"/>
          <p:nvPr/>
        </p:nvSpPr>
        <p:spPr>
          <a:xfrm>
            <a:off x="677175" y="2612641"/>
            <a:ext cx="2509947" cy="5774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2000"/>
              </a:lnSpc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Enter a specific description here to note the beauty of the layout.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27" name="Rectangle 36">
            <a:extLst>
              <a:ext uri="{FF2B5EF4-FFF2-40B4-BE49-F238E27FC236}">
                <a16:creationId xmlns:a16="http://schemas.microsoft.com/office/drawing/2014/main" id="{C98E9BEC-D988-450C-B782-13EF0A7587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6532" y="2356032"/>
            <a:ext cx="121058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b">
            <a:spAutoFit/>
          </a:bodyPr>
          <a:lstStyle/>
          <a:p>
            <a:pPr algn="r"/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lease add a title.</a:t>
            </a: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412C16D4-D2A8-4B3B-A4B1-70B2878099E3}"/>
              </a:ext>
            </a:extLst>
          </p:cNvPr>
          <p:cNvSpPr txBox="1"/>
          <p:nvPr/>
        </p:nvSpPr>
        <p:spPr>
          <a:xfrm>
            <a:off x="836024" y="4983986"/>
            <a:ext cx="2509947" cy="5774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2000"/>
              </a:lnSpc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Enter a specific description here to note the beauty of the layout.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29" name="Rectangle 36">
            <a:extLst>
              <a:ext uri="{FF2B5EF4-FFF2-40B4-BE49-F238E27FC236}">
                <a16:creationId xmlns:a16="http://schemas.microsoft.com/office/drawing/2014/main" id="{84FF0794-5CA1-4370-B90F-FBB8796729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35381" y="4727377"/>
            <a:ext cx="121058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b">
            <a:spAutoFit/>
          </a:bodyPr>
          <a:lstStyle/>
          <a:p>
            <a:pPr algn="r"/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lease add a title.</a:t>
            </a: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43E2F48E-F557-41DC-B2D3-F863EDB5606F}"/>
              </a:ext>
            </a:extLst>
          </p:cNvPr>
          <p:cNvSpPr txBox="1"/>
          <p:nvPr/>
        </p:nvSpPr>
        <p:spPr>
          <a:xfrm>
            <a:off x="7929461" y="1939219"/>
            <a:ext cx="2494700" cy="5774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000"/>
              </a:lnSpc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Enter a specific description here to note the beauty of the layout.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31" name="Rectangle 36">
            <a:extLst>
              <a:ext uri="{FF2B5EF4-FFF2-40B4-BE49-F238E27FC236}">
                <a16:creationId xmlns:a16="http://schemas.microsoft.com/office/drawing/2014/main" id="{96539D56-4BB1-4F6F-802C-FD35641D52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29460" y="1682610"/>
            <a:ext cx="121058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b">
            <a:spAutoFit/>
          </a:bodyPr>
          <a:lstStyle/>
          <a:p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lease add a title.</a:t>
            </a: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7EE50654-C2D5-4918-9EB0-F4D5CB36C4AF}"/>
              </a:ext>
            </a:extLst>
          </p:cNvPr>
          <p:cNvSpPr txBox="1"/>
          <p:nvPr/>
        </p:nvSpPr>
        <p:spPr>
          <a:xfrm>
            <a:off x="8899317" y="3799347"/>
            <a:ext cx="2494700" cy="5774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000"/>
              </a:lnSpc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Enter a specific description here to note the beauty of the layout.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33" name="Rectangle 36">
            <a:extLst>
              <a:ext uri="{FF2B5EF4-FFF2-40B4-BE49-F238E27FC236}">
                <a16:creationId xmlns:a16="http://schemas.microsoft.com/office/drawing/2014/main" id="{17C71EC1-851C-4D01-A2D0-6FA3A11F99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99316" y="3542738"/>
            <a:ext cx="121058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b">
            <a:spAutoFit/>
          </a:bodyPr>
          <a:lstStyle/>
          <a:p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lease add a title.</a:t>
            </a:r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B860F530-72FD-40DC-975D-E906F021C59A}"/>
              </a:ext>
            </a:extLst>
          </p:cNvPr>
          <p:cNvSpPr txBox="1"/>
          <p:nvPr/>
        </p:nvSpPr>
        <p:spPr>
          <a:xfrm>
            <a:off x="3583562" y="90631"/>
            <a:ext cx="5109863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66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pPr>
              <a:lnSpc>
                <a:spcPts val="4000"/>
              </a:lnSpc>
            </a:pPr>
            <a:r>
              <a:rPr lang="zh-CN" altLang="en-US" sz="4000" dirty="0">
                <a:latin typeface="+mn-lt"/>
                <a:ea typeface="+mn-ea"/>
                <a:cs typeface="+mn-ea"/>
                <a:sym typeface="+mn-lt"/>
              </a:rPr>
              <a:t>Teaching reflection</a:t>
            </a:r>
          </a:p>
        </p:txBody>
      </p:sp>
    </p:spTree>
    <p:extLst>
      <p:ext uri="{BB962C8B-B14F-4D97-AF65-F5344CB8AC3E}">
        <p14:creationId xmlns:p14="http://schemas.microsoft.com/office/powerpoint/2010/main" val="2408493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:blinds dir="vert"/>
      </p:transition>
    </mc:Choice>
    <mc:Fallback xmlns:a14="http://schemas.microsoft.com/office/drawing/2010/main" xmlns:a16="http://schemas.microsoft.com/office/drawing/2014/main" xmlns="">
      <p:transition spd="slow" advClick="0" advTm="0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5" dur="1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8" dur="1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1" dur="1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4" dur="1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500"/>
                            </p:stCondLst>
                            <p:childTnLst>
                              <p:par>
                                <p:cTn id="26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000"/>
                            </p:stCondLst>
                            <p:childTnLst>
                              <p:par>
                                <p:cTn id="47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9" dur="7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7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8" dur="7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3750"/>
                            </p:stCondLst>
                            <p:childTnLst>
                              <p:par>
                                <p:cTn id="60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2" dur="7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5" dur="7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8" dur="7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1" dur="7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4" dur="7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7" dur="7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0" dur="7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3" dur="7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4500"/>
                            </p:stCondLst>
                            <p:childTnLst>
                              <p:par>
                                <p:cTn id="85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1" dur="500" tmFilter="0,0; .5, 1; 1, 1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6" grpId="0" animBg="1"/>
      <p:bldP spid="10" grpId="0" animBg="1"/>
      <p:bldP spid="11" grpId="0" animBg="1"/>
      <p:bldP spid="16" grpId="0"/>
      <p:bldP spid="17" grpId="0"/>
      <p:bldP spid="18" grpId="0"/>
      <p:bldP spid="19" grpId="0"/>
      <p:bldP spid="26" grpId="0"/>
      <p:bldP spid="27" grpId="0"/>
      <p:bldP spid="28" grpId="0"/>
      <p:bldP spid="29" grpId="0"/>
      <p:bldP spid="30" grpId="0"/>
      <p:bldP spid="31" grpId="0"/>
      <p:bldP spid="32" grpId="0"/>
      <p:bldP spid="33" grpId="0"/>
      <p:bldP spid="34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B3643088-BADE-4B2C-8D16-84C355AB00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25203"/>
            <a:ext cx="12202211" cy="6858000"/>
          </a:xfrm>
          <a:prstGeom prst="rect">
            <a:avLst/>
          </a:prstGeom>
          <a:ln>
            <a:noFill/>
          </a:ln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87218F93-96F9-462F-BAFB-7E145859AED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 flipH="1">
            <a:off x="99171" y="-99171"/>
            <a:ext cx="1058956" cy="1257300"/>
          </a:xfrm>
          <a:prstGeom prst="rect">
            <a:avLst/>
          </a:prstGeom>
        </p:spPr>
      </p:pic>
      <p:sp>
        <p:nvSpPr>
          <p:cNvPr id="8" name="TextBox 18">
            <a:extLst>
              <a:ext uri="{FF2B5EF4-FFF2-40B4-BE49-F238E27FC236}">
                <a16:creationId xmlns:a16="http://schemas.microsoft.com/office/drawing/2014/main" id="{EC3E81A0-9853-4F50-A63A-07CECD490F96}"/>
              </a:ext>
            </a:extLst>
          </p:cNvPr>
          <p:cNvSpPr txBox="1"/>
          <p:nvPr/>
        </p:nvSpPr>
        <p:spPr>
          <a:xfrm>
            <a:off x="1367227" y="80984"/>
            <a:ext cx="24514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b="1" spc="4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ART FOUR</a:t>
            </a:r>
            <a:endParaRPr lang="zh-CN" altLang="en-US" sz="2400" b="1" spc="4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6" name="任意多边形 23">
            <a:extLst>
              <a:ext uri="{FF2B5EF4-FFF2-40B4-BE49-F238E27FC236}">
                <a16:creationId xmlns:a16="http://schemas.microsoft.com/office/drawing/2014/main" id="{369AA3A8-8D3B-4098-85F6-723152969FCF}"/>
              </a:ext>
            </a:extLst>
          </p:cNvPr>
          <p:cNvSpPr/>
          <p:nvPr/>
        </p:nvSpPr>
        <p:spPr>
          <a:xfrm>
            <a:off x="4021161" y="2249379"/>
            <a:ext cx="1644628" cy="45719"/>
          </a:xfrm>
          <a:custGeom>
            <a:avLst/>
            <a:gdLst>
              <a:gd name="connsiteX0" fmla="*/ 2423160 w 2423160"/>
              <a:gd name="connsiteY0" fmla="*/ 0 h 0"/>
              <a:gd name="connsiteX1" fmla="*/ 0 w 242316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423160">
                <a:moveTo>
                  <a:pt x="2423160" y="0"/>
                </a:moveTo>
                <a:lnTo>
                  <a:pt x="0" y="0"/>
                </a:lnTo>
              </a:path>
            </a:pathLst>
          </a:custGeom>
          <a:noFill/>
          <a:ln w="12700">
            <a:solidFill>
              <a:srgbClr val="6FCEFE"/>
            </a:solidFill>
            <a:prstDash val="dash"/>
            <a:headEnd type="oval" w="med" len="med"/>
            <a:tailEnd type="oval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10" name="任意多边形 24">
            <a:extLst>
              <a:ext uri="{FF2B5EF4-FFF2-40B4-BE49-F238E27FC236}">
                <a16:creationId xmlns:a16="http://schemas.microsoft.com/office/drawing/2014/main" id="{5DDCF1EA-D5BF-4837-AA6B-6B8A08099CC3}"/>
              </a:ext>
            </a:extLst>
          </p:cNvPr>
          <p:cNvSpPr/>
          <p:nvPr/>
        </p:nvSpPr>
        <p:spPr>
          <a:xfrm>
            <a:off x="4021161" y="3223974"/>
            <a:ext cx="848252" cy="116294"/>
          </a:xfrm>
          <a:custGeom>
            <a:avLst/>
            <a:gdLst>
              <a:gd name="connsiteX0" fmla="*/ 1040130 w 1040130"/>
              <a:gd name="connsiteY0" fmla="*/ 0 h 171450"/>
              <a:gd name="connsiteX1" fmla="*/ 1040130 w 1040130"/>
              <a:gd name="connsiteY1" fmla="*/ 171450 h 171450"/>
              <a:gd name="connsiteX2" fmla="*/ 0 w 1040130"/>
              <a:gd name="connsiteY2" fmla="*/ 171450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0130" h="171450">
                <a:moveTo>
                  <a:pt x="1040130" y="0"/>
                </a:moveTo>
                <a:lnTo>
                  <a:pt x="1040130" y="171450"/>
                </a:lnTo>
                <a:lnTo>
                  <a:pt x="0" y="171450"/>
                </a:lnTo>
              </a:path>
            </a:pathLst>
          </a:custGeom>
          <a:noFill/>
          <a:ln w="12700">
            <a:solidFill>
              <a:srgbClr val="60A757"/>
            </a:solidFill>
            <a:prstDash val="dash"/>
            <a:headEnd type="oval" w="med" len="med"/>
            <a:tailEnd type="oval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11" name="任意多边形 25">
            <a:extLst>
              <a:ext uri="{FF2B5EF4-FFF2-40B4-BE49-F238E27FC236}">
                <a16:creationId xmlns:a16="http://schemas.microsoft.com/office/drawing/2014/main" id="{0436259C-F1E4-42E6-9652-9CB2F5638D00}"/>
              </a:ext>
            </a:extLst>
          </p:cNvPr>
          <p:cNvSpPr/>
          <p:nvPr/>
        </p:nvSpPr>
        <p:spPr>
          <a:xfrm>
            <a:off x="4021161" y="4412796"/>
            <a:ext cx="546383" cy="0"/>
          </a:xfrm>
          <a:custGeom>
            <a:avLst/>
            <a:gdLst>
              <a:gd name="connsiteX0" fmla="*/ 731520 w 731520"/>
              <a:gd name="connsiteY0" fmla="*/ 0 h 0"/>
              <a:gd name="connsiteX1" fmla="*/ 0 w 73152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31520">
                <a:moveTo>
                  <a:pt x="731520" y="0"/>
                </a:moveTo>
                <a:lnTo>
                  <a:pt x="0" y="0"/>
                </a:lnTo>
              </a:path>
            </a:pathLst>
          </a:custGeom>
          <a:noFill/>
          <a:ln w="12700">
            <a:solidFill>
              <a:srgbClr val="F57B26"/>
            </a:solidFill>
            <a:prstDash val="dash"/>
            <a:headEnd type="oval" w="med" len="med"/>
            <a:tailEnd type="oval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12" name="任意多边形 26">
            <a:extLst>
              <a:ext uri="{FF2B5EF4-FFF2-40B4-BE49-F238E27FC236}">
                <a16:creationId xmlns:a16="http://schemas.microsoft.com/office/drawing/2014/main" id="{AFB888F8-B238-40C8-BECA-DD473FB59C39}"/>
              </a:ext>
            </a:extLst>
          </p:cNvPr>
          <p:cNvSpPr/>
          <p:nvPr/>
        </p:nvSpPr>
        <p:spPr>
          <a:xfrm>
            <a:off x="6703578" y="5330995"/>
            <a:ext cx="1449961" cy="45719"/>
          </a:xfrm>
          <a:custGeom>
            <a:avLst/>
            <a:gdLst>
              <a:gd name="connsiteX0" fmla="*/ 0 w 2217420"/>
              <a:gd name="connsiteY0" fmla="*/ 0 h 0"/>
              <a:gd name="connsiteX1" fmla="*/ 2217420 w 221742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217420">
                <a:moveTo>
                  <a:pt x="0" y="0"/>
                </a:moveTo>
                <a:lnTo>
                  <a:pt x="2217420" y="0"/>
                </a:lnTo>
              </a:path>
            </a:pathLst>
          </a:custGeom>
          <a:noFill/>
          <a:ln w="12700">
            <a:solidFill>
              <a:srgbClr val="6FCEFE"/>
            </a:solidFill>
            <a:prstDash val="dash"/>
            <a:headEnd type="oval" w="med" len="med"/>
            <a:tailEnd type="oval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13" name="任意多边形 27">
            <a:extLst>
              <a:ext uri="{FF2B5EF4-FFF2-40B4-BE49-F238E27FC236}">
                <a16:creationId xmlns:a16="http://schemas.microsoft.com/office/drawing/2014/main" id="{9C395E63-A3A0-4F4C-AAA8-15F74DFC29E5}"/>
              </a:ext>
            </a:extLst>
          </p:cNvPr>
          <p:cNvSpPr/>
          <p:nvPr/>
        </p:nvSpPr>
        <p:spPr>
          <a:xfrm>
            <a:off x="7490462" y="4292868"/>
            <a:ext cx="663079" cy="190158"/>
          </a:xfrm>
          <a:custGeom>
            <a:avLst/>
            <a:gdLst>
              <a:gd name="connsiteX0" fmla="*/ 0 w 1303020"/>
              <a:gd name="connsiteY0" fmla="*/ 251460 h 251460"/>
              <a:gd name="connsiteX1" fmla="*/ 0 w 1303020"/>
              <a:gd name="connsiteY1" fmla="*/ 0 h 251460"/>
              <a:gd name="connsiteX2" fmla="*/ 1303020 w 1303020"/>
              <a:gd name="connsiteY2" fmla="*/ 0 h 251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03020" h="251460">
                <a:moveTo>
                  <a:pt x="0" y="251460"/>
                </a:moveTo>
                <a:lnTo>
                  <a:pt x="0" y="0"/>
                </a:lnTo>
                <a:lnTo>
                  <a:pt x="1303020" y="0"/>
                </a:lnTo>
              </a:path>
            </a:pathLst>
          </a:custGeom>
          <a:noFill/>
          <a:ln w="12700">
            <a:solidFill>
              <a:srgbClr val="60A757"/>
            </a:solidFill>
            <a:prstDash val="dash"/>
            <a:headEnd type="oval" w="med" len="med"/>
            <a:tailEnd type="oval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14" name="任意多边形 28">
            <a:extLst>
              <a:ext uri="{FF2B5EF4-FFF2-40B4-BE49-F238E27FC236}">
                <a16:creationId xmlns:a16="http://schemas.microsoft.com/office/drawing/2014/main" id="{3F4E6B2C-D7D1-4D3D-82FE-A878DB12A646}"/>
              </a:ext>
            </a:extLst>
          </p:cNvPr>
          <p:cNvSpPr/>
          <p:nvPr/>
        </p:nvSpPr>
        <p:spPr>
          <a:xfrm>
            <a:off x="7530935" y="2960677"/>
            <a:ext cx="622604" cy="45719"/>
          </a:xfrm>
          <a:custGeom>
            <a:avLst/>
            <a:gdLst>
              <a:gd name="connsiteX0" fmla="*/ 0 w 1440180"/>
              <a:gd name="connsiteY0" fmla="*/ 0 h 0"/>
              <a:gd name="connsiteX1" fmla="*/ 1440180 w 14401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440180">
                <a:moveTo>
                  <a:pt x="0" y="0"/>
                </a:moveTo>
                <a:lnTo>
                  <a:pt x="1440180" y="0"/>
                </a:lnTo>
              </a:path>
            </a:pathLst>
          </a:custGeom>
          <a:noFill/>
          <a:ln w="12700">
            <a:solidFill>
              <a:srgbClr val="F57B26"/>
            </a:solidFill>
            <a:prstDash val="dash"/>
            <a:headEnd type="oval" w="med" len="med"/>
            <a:tailEnd type="oval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F0F37115-0EED-4500-A010-22ECE928573A}"/>
              </a:ext>
            </a:extLst>
          </p:cNvPr>
          <p:cNvSpPr/>
          <p:nvPr/>
        </p:nvSpPr>
        <p:spPr bwMode="auto">
          <a:xfrm rot="20700000">
            <a:off x="7019899" y="2776852"/>
            <a:ext cx="1025653" cy="1501129"/>
          </a:xfrm>
          <a:custGeom>
            <a:avLst/>
            <a:gdLst>
              <a:gd name="T0" fmla="*/ 400 w 508"/>
              <a:gd name="T1" fmla="*/ 472 h 743"/>
              <a:gd name="T2" fmla="*/ 489 w 508"/>
              <a:gd name="T3" fmla="*/ 491 h 743"/>
              <a:gd name="T4" fmla="*/ 503 w 508"/>
              <a:gd name="T5" fmla="*/ 477 h 743"/>
              <a:gd name="T6" fmla="*/ 430 w 508"/>
              <a:gd name="T7" fmla="*/ 246 h 743"/>
              <a:gd name="T8" fmla="*/ 359 w 508"/>
              <a:gd name="T9" fmla="*/ 23 h 743"/>
              <a:gd name="T10" fmla="*/ 330 w 508"/>
              <a:gd name="T11" fmla="*/ 19 h 743"/>
              <a:gd name="T12" fmla="*/ 174 w 508"/>
              <a:gd name="T13" fmla="*/ 190 h 743"/>
              <a:gd name="T14" fmla="*/ 13 w 508"/>
              <a:gd name="T15" fmla="*/ 365 h 743"/>
              <a:gd name="T16" fmla="*/ 16 w 508"/>
              <a:gd name="T17" fmla="*/ 387 h 743"/>
              <a:gd name="T18" fmla="*/ 125 w 508"/>
              <a:gd name="T19" fmla="*/ 411 h 743"/>
              <a:gd name="T20" fmla="*/ 55 w 508"/>
              <a:gd name="T21" fmla="*/ 607 h 743"/>
              <a:gd name="T22" fmla="*/ 62 w 508"/>
              <a:gd name="T23" fmla="*/ 630 h 743"/>
              <a:gd name="T24" fmla="*/ 266 w 508"/>
              <a:gd name="T25" fmla="*/ 734 h 743"/>
              <a:gd name="T26" fmla="*/ 294 w 508"/>
              <a:gd name="T27" fmla="*/ 726 h 743"/>
              <a:gd name="T28" fmla="*/ 382 w 508"/>
              <a:gd name="T29" fmla="*/ 483 h 743"/>
              <a:gd name="T30" fmla="*/ 385 w 508"/>
              <a:gd name="T31" fmla="*/ 469 h 743"/>
              <a:gd name="T32" fmla="*/ 400 w 508"/>
              <a:gd name="T33" fmla="*/ 472 h 7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08" h="743">
                <a:moveTo>
                  <a:pt x="400" y="472"/>
                </a:moveTo>
                <a:cubicBezTo>
                  <a:pt x="489" y="491"/>
                  <a:pt x="489" y="491"/>
                  <a:pt x="489" y="491"/>
                </a:cubicBezTo>
                <a:cubicBezTo>
                  <a:pt x="506" y="496"/>
                  <a:pt x="508" y="494"/>
                  <a:pt x="503" y="477"/>
                </a:cubicBezTo>
                <a:cubicBezTo>
                  <a:pt x="430" y="246"/>
                  <a:pt x="430" y="246"/>
                  <a:pt x="430" y="246"/>
                </a:cubicBezTo>
                <a:cubicBezTo>
                  <a:pt x="359" y="23"/>
                  <a:pt x="359" y="23"/>
                  <a:pt x="359" y="23"/>
                </a:cubicBezTo>
                <a:cubicBezTo>
                  <a:pt x="352" y="0"/>
                  <a:pt x="338" y="9"/>
                  <a:pt x="330" y="19"/>
                </a:cubicBezTo>
                <a:cubicBezTo>
                  <a:pt x="174" y="190"/>
                  <a:pt x="174" y="190"/>
                  <a:pt x="174" y="190"/>
                </a:cubicBezTo>
                <a:cubicBezTo>
                  <a:pt x="13" y="365"/>
                  <a:pt x="13" y="365"/>
                  <a:pt x="13" y="365"/>
                </a:cubicBezTo>
                <a:cubicBezTo>
                  <a:pt x="0" y="378"/>
                  <a:pt x="2" y="385"/>
                  <a:pt x="16" y="387"/>
                </a:cubicBezTo>
                <a:cubicBezTo>
                  <a:pt x="125" y="411"/>
                  <a:pt x="125" y="411"/>
                  <a:pt x="125" y="411"/>
                </a:cubicBezTo>
                <a:cubicBezTo>
                  <a:pt x="109" y="485"/>
                  <a:pt x="84" y="553"/>
                  <a:pt x="55" y="607"/>
                </a:cubicBezTo>
                <a:cubicBezTo>
                  <a:pt x="50" y="618"/>
                  <a:pt x="53" y="623"/>
                  <a:pt x="62" y="630"/>
                </a:cubicBezTo>
                <a:cubicBezTo>
                  <a:pt x="266" y="734"/>
                  <a:pt x="266" y="734"/>
                  <a:pt x="266" y="734"/>
                </a:cubicBezTo>
                <a:cubicBezTo>
                  <a:pt x="282" y="741"/>
                  <a:pt x="285" y="743"/>
                  <a:pt x="294" y="726"/>
                </a:cubicBezTo>
                <a:cubicBezTo>
                  <a:pt x="333" y="650"/>
                  <a:pt x="362" y="573"/>
                  <a:pt x="382" y="483"/>
                </a:cubicBezTo>
                <a:cubicBezTo>
                  <a:pt x="385" y="469"/>
                  <a:pt x="385" y="469"/>
                  <a:pt x="385" y="469"/>
                </a:cubicBezTo>
                <a:lnTo>
                  <a:pt x="400" y="472"/>
                </a:lnTo>
                <a:close/>
              </a:path>
            </a:pathLst>
          </a:custGeom>
          <a:solidFill>
            <a:srgbClr val="F57B2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16" name="Freeform 11">
            <a:extLst>
              <a:ext uri="{FF2B5EF4-FFF2-40B4-BE49-F238E27FC236}">
                <a16:creationId xmlns:a16="http://schemas.microsoft.com/office/drawing/2014/main" id="{7E6DC159-1E16-4857-A832-563DB71E1D22}"/>
              </a:ext>
            </a:extLst>
          </p:cNvPr>
          <p:cNvSpPr/>
          <p:nvPr/>
        </p:nvSpPr>
        <p:spPr bwMode="auto">
          <a:xfrm rot="20700000">
            <a:off x="4284715" y="3387245"/>
            <a:ext cx="1036324" cy="1505872"/>
          </a:xfrm>
          <a:custGeom>
            <a:avLst/>
            <a:gdLst>
              <a:gd name="T0" fmla="*/ 109 w 513"/>
              <a:gd name="T1" fmla="*/ 277 h 745"/>
              <a:gd name="T2" fmla="*/ 19 w 513"/>
              <a:gd name="T3" fmla="*/ 262 h 745"/>
              <a:gd name="T4" fmla="*/ 5 w 513"/>
              <a:gd name="T5" fmla="*/ 277 h 745"/>
              <a:gd name="T6" fmla="*/ 92 w 513"/>
              <a:gd name="T7" fmla="*/ 504 h 745"/>
              <a:gd name="T8" fmla="*/ 175 w 513"/>
              <a:gd name="T9" fmla="*/ 722 h 745"/>
              <a:gd name="T10" fmla="*/ 204 w 513"/>
              <a:gd name="T11" fmla="*/ 725 h 745"/>
              <a:gd name="T12" fmla="*/ 351 w 513"/>
              <a:gd name="T13" fmla="*/ 546 h 745"/>
              <a:gd name="T14" fmla="*/ 500 w 513"/>
              <a:gd name="T15" fmla="*/ 362 h 745"/>
              <a:gd name="T16" fmla="*/ 497 w 513"/>
              <a:gd name="T17" fmla="*/ 339 h 745"/>
              <a:gd name="T18" fmla="*/ 387 w 513"/>
              <a:gd name="T19" fmla="*/ 321 h 745"/>
              <a:gd name="T20" fmla="*/ 445 w 513"/>
              <a:gd name="T21" fmla="*/ 122 h 745"/>
              <a:gd name="T22" fmla="*/ 437 w 513"/>
              <a:gd name="T23" fmla="*/ 100 h 745"/>
              <a:gd name="T24" fmla="*/ 227 w 513"/>
              <a:gd name="T25" fmla="*/ 8 h 745"/>
              <a:gd name="T26" fmla="*/ 200 w 513"/>
              <a:gd name="T27" fmla="*/ 17 h 745"/>
              <a:gd name="T28" fmla="*/ 126 w 513"/>
              <a:gd name="T29" fmla="*/ 264 h 745"/>
              <a:gd name="T30" fmla="*/ 124 w 513"/>
              <a:gd name="T31" fmla="*/ 279 h 745"/>
              <a:gd name="T32" fmla="*/ 109 w 513"/>
              <a:gd name="T33" fmla="*/ 277 h 7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13" h="745">
                <a:moveTo>
                  <a:pt x="109" y="277"/>
                </a:moveTo>
                <a:cubicBezTo>
                  <a:pt x="19" y="262"/>
                  <a:pt x="19" y="262"/>
                  <a:pt x="19" y="262"/>
                </a:cubicBezTo>
                <a:cubicBezTo>
                  <a:pt x="1" y="259"/>
                  <a:pt x="0" y="261"/>
                  <a:pt x="5" y="277"/>
                </a:cubicBezTo>
                <a:cubicBezTo>
                  <a:pt x="92" y="504"/>
                  <a:pt x="92" y="504"/>
                  <a:pt x="92" y="504"/>
                </a:cubicBezTo>
                <a:cubicBezTo>
                  <a:pt x="175" y="722"/>
                  <a:pt x="175" y="722"/>
                  <a:pt x="175" y="722"/>
                </a:cubicBezTo>
                <a:cubicBezTo>
                  <a:pt x="184" y="745"/>
                  <a:pt x="197" y="735"/>
                  <a:pt x="204" y="725"/>
                </a:cubicBezTo>
                <a:cubicBezTo>
                  <a:pt x="351" y="546"/>
                  <a:pt x="351" y="546"/>
                  <a:pt x="351" y="546"/>
                </a:cubicBezTo>
                <a:cubicBezTo>
                  <a:pt x="500" y="362"/>
                  <a:pt x="500" y="362"/>
                  <a:pt x="500" y="362"/>
                </a:cubicBezTo>
                <a:cubicBezTo>
                  <a:pt x="513" y="347"/>
                  <a:pt x="511" y="341"/>
                  <a:pt x="497" y="339"/>
                </a:cubicBezTo>
                <a:cubicBezTo>
                  <a:pt x="387" y="321"/>
                  <a:pt x="387" y="321"/>
                  <a:pt x="387" y="321"/>
                </a:cubicBezTo>
                <a:cubicBezTo>
                  <a:pt x="398" y="247"/>
                  <a:pt x="420" y="178"/>
                  <a:pt x="445" y="122"/>
                </a:cubicBezTo>
                <a:cubicBezTo>
                  <a:pt x="450" y="111"/>
                  <a:pt x="447" y="106"/>
                  <a:pt x="437" y="100"/>
                </a:cubicBezTo>
                <a:cubicBezTo>
                  <a:pt x="227" y="8"/>
                  <a:pt x="227" y="8"/>
                  <a:pt x="227" y="8"/>
                </a:cubicBezTo>
                <a:cubicBezTo>
                  <a:pt x="211" y="1"/>
                  <a:pt x="208" y="0"/>
                  <a:pt x="200" y="17"/>
                </a:cubicBezTo>
                <a:cubicBezTo>
                  <a:pt x="165" y="95"/>
                  <a:pt x="141" y="174"/>
                  <a:pt x="126" y="264"/>
                </a:cubicBezTo>
                <a:cubicBezTo>
                  <a:pt x="124" y="279"/>
                  <a:pt x="124" y="279"/>
                  <a:pt x="124" y="279"/>
                </a:cubicBezTo>
                <a:lnTo>
                  <a:pt x="109" y="277"/>
                </a:lnTo>
                <a:close/>
              </a:path>
            </a:pathLst>
          </a:custGeom>
          <a:solidFill>
            <a:srgbClr val="F57B2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17" name="Freeform 6">
            <a:extLst>
              <a:ext uri="{FF2B5EF4-FFF2-40B4-BE49-F238E27FC236}">
                <a16:creationId xmlns:a16="http://schemas.microsoft.com/office/drawing/2014/main" id="{6169AF9F-7CC3-43AB-BFF5-F3116D22C52D}"/>
              </a:ext>
            </a:extLst>
          </p:cNvPr>
          <p:cNvSpPr/>
          <p:nvPr/>
        </p:nvSpPr>
        <p:spPr bwMode="auto">
          <a:xfrm rot="20700000">
            <a:off x="6235317" y="4812481"/>
            <a:ext cx="792065" cy="611834"/>
          </a:xfrm>
          <a:custGeom>
            <a:avLst/>
            <a:gdLst>
              <a:gd name="T0" fmla="*/ 24 w 392"/>
              <a:gd name="T1" fmla="*/ 38 h 303"/>
              <a:gd name="T2" fmla="*/ 1 w 392"/>
              <a:gd name="T3" fmla="*/ 274 h 303"/>
              <a:gd name="T4" fmla="*/ 18 w 392"/>
              <a:gd name="T5" fmla="*/ 290 h 303"/>
              <a:gd name="T6" fmla="*/ 378 w 392"/>
              <a:gd name="T7" fmla="*/ 253 h 303"/>
              <a:gd name="T8" fmla="*/ 387 w 392"/>
              <a:gd name="T9" fmla="*/ 235 h 303"/>
              <a:gd name="T10" fmla="*/ 305 w 392"/>
              <a:gd name="T11" fmla="*/ 8 h 303"/>
              <a:gd name="T12" fmla="*/ 292 w 392"/>
              <a:gd name="T13" fmla="*/ 2 h 303"/>
              <a:gd name="T14" fmla="*/ 41 w 392"/>
              <a:gd name="T15" fmla="*/ 25 h 303"/>
              <a:gd name="T16" fmla="*/ 24 w 392"/>
              <a:gd name="T17" fmla="*/ 38 h 3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92" h="303">
                <a:moveTo>
                  <a:pt x="24" y="38"/>
                </a:moveTo>
                <a:cubicBezTo>
                  <a:pt x="1" y="274"/>
                  <a:pt x="1" y="274"/>
                  <a:pt x="1" y="274"/>
                </a:cubicBezTo>
                <a:cubicBezTo>
                  <a:pt x="0" y="289"/>
                  <a:pt x="8" y="289"/>
                  <a:pt x="18" y="290"/>
                </a:cubicBezTo>
                <a:cubicBezTo>
                  <a:pt x="86" y="296"/>
                  <a:pt x="227" y="303"/>
                  <a:pt x="378" y="253"/>
                </a:cubicBezTo>
                <a:cubicBezTo>
                  <a:pt x="392" y="248"/>
                  <a:pt x="387" y="235"/>
                  <a:pt x="387" y="235"/>
                </a:cubicBezTo>
                <a:cubicBezTo>
                  <a:pt x="305" y="8"/>
                  <a:pt x="305" y="8"/>
                  <a:pt x="305" y="8"/>
                </a:cubicBezTo>
                <a:cubicBezTo>
                  <a:pt x="304" y="4"/>
                  <a:pt x="301" y="0"/>
                  <a:pt x="292" y="2"/>
                </a:cubicBezTo>
                <a:cubicBezTo>
                  <a:pt x="195" y="28"/>
                  <a:pt x="97" y="28"/>
                  <a:pt x="41" y="25"/>
                </a:cubicBezTo>
                <a:cubicBezTo>
                  <a:pt x="27" y="24"/>
                  <a:pt x="25" y="28"/>
                  <a:pt x="24" y="38"/>
                </a:cubicBezTo>
                <a:close/>
              </a:path>
            </a:pathLst>
          </a:custGeom>
          <a:solidFill>
            <a:srgbClr val="6FCEF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18" name="Freeform 7">
            <a:extLst>
              <a:ext uri="{FF2B5EF4-FFF2-40B4-BE49-F238E27FC236}">
                <a16:creationId xmlns:a16="http://schemas.microsoft.com/office/drawing/2014/main" id="{35BDB107-435C-4416-8E2B-7991A3C0625E}"/>
              </a:ext>
            </a:extLst>
          </p:cNvPr>
          <p:cNvSpPr/>
          <p:nvPr/>
        </p:nvSpPr>
        <p:spPr bwMode="auto">
          <a:xfrm rot="20700000">
            <a:off x="6927061" y="4270060"/>
            <a:ext cx="809851" cy="755307"/>
          </a:xfrm>
          <a:custGeom>
            <a:avLst/>
            <a:gdLst>
              <a:gd name="T0" fmla="*/ 387 w 401"/>
              <a:gd name="T1" fmla="*/ 147 h 374"/>
              <a:gd name="T2" fmla="*/ 206 w 401"/>
              <a:gd name="T3" fmla="*/ 8 h 374"/>
              <a:gd name="T4" fmla="*/ 184 w 401"/>
              <a:gd name="T5" fmla="*/ 10 h 374"/>
              <a:gd name="T6" fmla="*/ 14 w 401"/>
              <a:gd name="T7" fmla="*/ 132 h 374"/>
              <a:gd name="T8" fmla="*/ 5 w 401"/>
              <a:gd name="T9" fmla="*/ 157 h 374"/>
              <a:gd name="T10" fmla="*/ 107 w 401"/>
              <a:gd name="T11" fmla="*/ 364 h 374"/>
              <a:gd name="T12" fmla="*/ 134 w 401"/>
              <a:gd name="T13" fmla="*/ 369 h 374"/>
              <a:gd name="T14" fmla="*/ 368 w 401"/>
              <a:gd name="T15" fmla="*/ 202 h 374"/>
              <a:gd name="T16" fmla="*/ 391 w 401"/>
              <a:gd name="T17" fmla="*/ 178 h 374"/>
              <a:gd name="T18" fmla="*/ 387 w 401"/>
              <a:gd name="T19" fmla="*/ 147 h 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01" h="374">
                <a:moveTo>
                  <a:pt x="387" y="147"/>
                </a:moveTo>
                <a:cubicBezTo>
                  <a:pt x="206" y="8"/>
                  <a:pt x="206" y="8"/>
                  <a:pt x="206" y="8"/>
                </a:cubicBezTo>
                <a:cubicBezTo>
                  <a:pt x="200" y="4"/>
                  <a:pt x="193" y="0"/>
                  <a:pt x="184" y="10"/>
                </a:cubicBezTo>
                <a:cubicBezTo>
                  <a:pt x="130" y="66"/>
                  <a:pt x="74" y="102"/>
                  <a:pt x="14" y="132"/>
                </a:cubicBezTo>
                <a:cubicBezTo>
                  <a:pt x="0" y="140"/>
                  <a:pt x="0" y="145"/>
                  <a:pt x="5" y="157"/>
                </a:cubicBezTo>
                <a:cubicBezTo>
                  <a:pt x="107" y="364"/>
                  <a:pt x="107" y="364"/>
                  <a:pt x="107" y="364"/>
                </a:cubicBezTo>
                <a:cubicBezTo>
                  <a:pt x="110" y="371"/>
                  <a:pt x="120" y="374"/>
                  <a:pt x="134" y="369"/>
                </a:cubicBezTo>
                <a:cubicBezTo>
                  <a:pt x="224" y="330"/>
                  <a:pt x="301" y="270"/>
                  <a:pt x="368" y="202"/>
                </a:cubicBezTo>
                <a:cubicBezTo>
                  <a:pt x="376" y="194"/>
                  <a:pt x="383" y="186"/>
                  <a:pt x="391" y="178"/>
                </a:cubicBezTo>
                <a:cubicBezTo>
                  <a:pt x="401" y="166"/>
                  <a:pt x="398" y="156"/>
                  <a:pt x="387" y="147"/>
                </a:cubicBezTo>
                <a:close/>
              </a:path>
            </a:pathLst>
          </a:custGeom>
          <a:solidFill>
            <a:srgbClr val="60A75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19" name="Freeform 9">
            <a:extLst>
              <a:ext uri="{FF2B5EF4-FFF2-40B4-BE49-F238E27FC236}">
                <a16:creationId xmlns:a16="http://schemas.microsoft.com/office/drawing/2014/main" id="{1306C92E-4D62-4509-A991-C131582CB191}"/>
              </a:ext>
            </a:extLst>
          </p:cNvPr>
          <p:cNvSpPr/>
          <p:nvPr/>
        </p:nvSpPr>
        <p:spPr bwMode="auto">
          <a:xfrm rot="20700000">
            <a:off x="5257024" y="2204953"/>
            <a:ext cx="789693" cy="614206"/>
          </a:xfrm>
          <a:custGeom>
            <a:avLst/>
            <a:gdLst>
              <a:gd name="T0" fmla="*/ 373 w 391"/>
              <a:gd name="T1" fmla="*/ 260 h 304"/>
              <a:gd name="T2" fmla="*/ 390 w 391"/>
              <a:gd name="T3" fmla="*/ 24 h 304"/>
              <a:gd name="T4" fmla="*/ 373 w 391"/>
              <a:gd name="T5" fmla="*/ 8 h 304"/>
              <a:gd name="T6" fmla="*/ 14 w 391"/>
              <a:gd name="T7" fmla="*/ 53 h 304"/>
              <a:gd name="T8" fmla="*/ 6 w 391"/>
              <a:gd name="T9" fmla="*/ 71 h 304"/>
              <a:gd name="T10" fmla="*/ 92 w 391"/>
              <a:gd name="T11" fmla="*/ 297 h 304"/>
              <a:gd name="T12" fmla="*/ 105 w 391"/>
              <a:gd name="T13" fmla="*/ 302 h 304"/>
              <a:gd name="T14" fmla="*/ 357 w 391"/>
              <a:gd name="T15" fmla="*/ 273 h 304"/>
              <a:gd name="T16" fmla="*/ 373 w 391"/>
              <a:gd name="T17" fmla="*/ 260 h 3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91" h="304">
                <a:moveTo>
                  <a:pt x="373" y="260"/>
                </a:moveTo>
                <a:cubicBezTo>
                  <a:pt x="390" y="24"/>
                  <a:pt x="390" y="24"/>
                  <a:pt x="390" y="24"/>
                </a:cubicBezTo>
                <a:cubicBezTo>
                  <a:pt x="391" y="9"/>
                  <a:pt x="384" y="9"/>
                  <a:pt x="373" y="8"/>
                </a:cubicBezTo>
                <a:cubicBezTo>
                  <a:pt x="305" y="3"/>
                  <a:pt x="164" y="0"/>
                  <a:pt x="14" y="53"/>
                </a:cubicBezTo>
                <a:cubicBezTo>
                  <a:pt x="0" y="58"/>
                  <a:pt x="6" y="71"/>
                  <a:pt x="6" y="71"/>
                </a:cubicBezTo>
                <a:cubicBezTo>
                  <a:pt x="92" y="297"/>
                  <a:pt x="92" y="297"/>
                  <a:pt x="92" y="297"/>
                </a:cubicBezTo>
                <a:cubicBezTo>
                  <a:pt x="94" y="301"/>
                  <a:pt x="97" y="304"/>
                  <a:pt x="105" y="302"/>
                </a:cubicBezTo>
                <a:cubicBezTo>
                  <a:pt x="203" y="274"/>
                  <a:pt x="300" y="271"/>
                  <a:pt x="357" y="273"/>
                </a:cubicBezTo>
                <a:cubicBezTo>
                  <a:pt x="370" y="274"/>
                  <a:pt x="372" y="270"/>
                  <a:pt x="373" y="260"/>
                </a:cubicBezTo>
                <a:close/>
              </a:path>
            </a:pathLst>
          </a:custGeom>
          <a:solidFill>
            <a:srgbClr val="6FCEF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20" name="Freeform 10">
            <a:extLst>
              <a:ext uri="{FF2B5EF4-FFF2-40B4-BE49-F238E27FC236}">
                <a16:creationId xmlns:a16="http://schemas.microsoft.com/office/drawing/2014/main" id="{9B14FE4A-80A0-42B1-B2FC-2026849D4F27}"/>
              </a:ext>
            </a:extLst>
          </p:cNvPr>
          <p:cNvSpPr/>
          <p:nvPr/>
        </p:nvSpPr>
        <p:spPr bwMode="auto">
          <a:xfrm rot="20700000">
            <a:off x="4562397" y="2612798"/>
            <a:ext cx="812223" cy="758864"/>
          </a:xfrm>
          <a:custGeom>
            <a:avLst/>
            <a:gdLst>
              <a:gd name="T0" fmla="*/ 14 w 402"/>
              <a:gd name="T1" fmla="*/ 233 h 376"/>
              <a:gd name="T2" fmla="*/ 198 w 402"/>
              <a:gd name="T3" fmla="*/ 367 h 376"/>
              <a:gd name="T4" fmla="*/ 221 w 402"/>
              <a:gd name="T5" fmla="*/ 366 h 376"/>
              <a:gd name="T6" fmla="*/ 387 w 402"/>
              <a:gd name="T7" fmla="*/ 239 h 376"/>
              <a:gd name="T8" fmla="*/ 396 w 402"/>
              <a:gd name="T9" fmla="*/ 214 h 376"/>
              <a:gd name="T10" fmla="*/ 290 w 402"/>
              <a:gd name="T11" fmla="*/ 10 h 376"/>
              <a:gd name="T12" fmla="*/ 263 w 402"/>
              <a:gd name="T13" fmla="*/ 6 h 376"/>
              <a:gd name="T14" fmla="*/ 32 w 402"/>
              <a:gd name="T15" fmla="*/ 178 h 376"/>
              <a:gd name="T16" fmla="*/ 10 w 402"/>
              <a:gd name="T17" fmla="*/ 202 h 376"/>
              <a:gd name="T18" fmla="*/ 14 w 402"/>
              <a:gd name="T19" fmla="*/ 233 h 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02" h="376">
                <a:moveTo>
                  <a:pt x="14" y="233"/>
                </a:moveTo>
                <a:cubicBezTo>
                  <a:pt x="198" y="367"/>
                  <a:pt x="198" y="367"/>
                  <a:pt x="198" y="367"/>
                </a:cubicBezTo>
                <a:cubicBezTo>
                  <a:pt x="204" y="372"/>
                  <a:pt x="212" y="376"/>
                  <a:pt x="221" y="366"/>
                </a:cubicBezTo>
                <a:cubicBezTo>
                  <a:pt x="273" y="309"/>
                  <a:pt x="329" y="271"/>
                  <a:pt x="387" y="239"/>
                </a:cubicBezTo>
                <a:cubicBezTo>
                  <a:pt x="401" y="232"/>
                  <a:pt x="402" y="226"/>
                  <a:pt x="396" y="214"/>
                </a:cubicBezTo>
                <a:cubicBezTo>
                  <a:pt x="290" y="10"/>
                  <a:pt x="290" y="10"/>
                  <a:pt x="290" y="10"/>
                </a:cubicBezTo>
                <a:cubicBezTo>
                  <a:pt x="286" y="3"/>
                  <a:pt x="276" y="0"/>
                  <a:pt x="263" y="6"/>
                </a:cubicBezTo>
                <a:cubicBezTo>
                  <a:pt x="174" y="47"/>
                  <a:pt x="98" y="108"/>
                  <a:pt x="32" y="178"/>
                </a:cubicBezTo>
                <a:cubicBezTo>
                  <a:pt x="25" y="186"/>
                  <a:pt x="17" y="194"/>
                  <a:pt x="10" y="202"/>
                </a:cubicBezTo>
                <a:cubicBezTo>
                  <a:pt x="0" y="214"/>
                  <a:pt x="3" y="225"/>
                  <a:pt x="14" y="233"/>
                </a:cubicBezTo>
                <a:close/>
              </a:path>
            </a:pathLst>
          </a:custGeom>
          <a:solidFill>
            <a:srgbClr val="60A75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grpSp>
        <p:nvGrpSpPr>
          <p:cNvPr id="21" name="组合 20">
            <a:extLst>
              <a:ext uri="{FF2B5EF4-FFF2-40B4-BE49-F238E27FC236}">
                <a16:creationId xmlns:a16="http://schemas.microsoft.com/office/drawing/2014/main" id="{30D6A969-276D-48DF-8E08-8CBE81EAED29}"/>
              </a:ext>
            </a:extLst>
          </p:cNvPr>
          <p:cNvGrpSpPr/>
          <p:nvPr/>
        </p:nvGrpSpPr>
        <p:grpSpPr>
          <a:xfrm>
            <a:off x="5510595" y="3133160"/>
            <a:ext cx="1338685" cy="1338684"/>
            <a:chOff x="5510594" y="3133160"/>
            <a:chExt cx="1338685" cy="1338684"/>
          </a:xfrm>
        </p:grpSpPr>
        <p:sp>
          <p:nvSpPr>
            <p:cNvPr id="22" name="Oval 8">
              <a:extLst>
                <a:ext uri="{FF2B5EF4-FFF2-40B4-BE49-F238E27FC236}">
                  <a16:creationId xmlns:a16="http://schemas.microsoft.com/office/drawing/2014/main" id="{78AA41B3-1911-42EF-AFB1-484311E103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10594" y="3133160"/>
              <a:ext cx="1338685" cy="1338684"/>
            </a:xfrm>
            <a:prstGeom prst="ellipse">
              <a:avLst/>
            </a:prstGeom>
            <a:solidFill>
              <a:srgbClr val="D00000"/>
            </a:solidFill>
            <a:ln w="158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lt1"/>
                </a:solidFill>
                <a:cs typeface="+mn-ea"/>
                <a:sym typeface="+mn-lt"/>
              </a:endParaRPr>
            </a:p>
          </p:txBody>
        </p:sp>
        <p:sp>
          <p:nvSpPr>
            <p:cNvPr id="23" name="自由: 形状 54">
              <a:extLst>
                <a:ext uri="{FF2B5EF4-FFF2-40B4-BE49-F238E27FC236}">
                  <a16:creationId xmlns:a16="http://schemas.microsoft.com/office/drawing/2014/main" id="{B7D444F5-1B88-4427-A6B5-8F96C12CAD64}"/>
                </a:ext>
              </a:extLst>
            </p:cNvPr>
            <p:cNvSpPr/>
            <p:nvPr/>
          </p:nvSpPr>
          <p:spPr bwMode="auto">
            <a:xfrm>
              <a:off x="5851975" y="3376374"/>
              <a:ext cx="588120" cy="789205"/>
            </a:xfrm>
            <a:custGeom>
              <a:avLst/>
              <a:gdLst>
                <a:gd name="connsiteX0" fmla="*/ 243364 w 787400"/>
                <a:gd name="connsiteY0" fmla="*/ 945169 h 1056621"/>
                <a:gd name="connsiteX1" fmla="*/ 348361 w 787400"/>
                <a:gd name="connsiteY1" fmla="*/ 945169 h 1056621"/>
                <a:gd name="connsiteX2" fmla="*/ 360410 w 787400"/>
                <a:gd name="connsiteY2" fmla="*/ 952028 h 1056621"/>
                <a:gd name="connsiteX3" fmla="*/ 360410 w 787400"/>
                <a:gd name="connsiteY3" fmla="*/ 1049763 h 1056621"/>
                <a:gd name="connsiteX4" fmla="*/ 348361 w 787400"/>
                <a:gd name="connsiteY4" fmla="*/ 1056621 h 1056621"/>
                <a:gd name="connsiteX5" fmla="*/ 243364 w 787400"/>
                <a:gd name="connsiteY5" fmla="*/ 1056621 h 1056621"/>
                <a:gd name="connsiteX6" fmla="*/ 233036 w 787400"/>
                <a:gd name="connsiteY6" fmla="*/ 1049763 h 1056621"/>
                <a:gd name="connsiteX7" fmla="*/ 233036 w 787400"/>
                <a:gd name="connsiteY7" fmla="*/ 952028 h 1056621"/>
                <a:gd name="connsiteX8" fmla="*/ 243364 w 787400"/>
                <a:gd name="connsiteY8" fmla="*/ 945169 h 1056621"/>
                <a:gd name="connsiteX9" fmla="*/ 31316 w 787400"/>
                <a:gd name="connsiteY9" fmla="*/ 862666 h 1056621"/>
                <a:gd name="connsiteX10" fmla="*/ 136313 w 787400"/>
                <a:gd name="connsiteY10" fmla="*/ 862666 h 1056621"/>
                <a:gd name="connsiteX11" fmla="*/ 148362 w 787400"/>
                <a:gd name="connsiteY11" fmla="*/ 874681 h 1056621"/>
                <a:gd name="connsiteX12" fmla="*/ 148362 w 787400"/>
                <a:gd name="connsiteY12" fmla="*/ 1044606 h 1056621"/>
                <a:gd name="connsiteX13" fmla="*/ 136313 w 787400"/>
                <a:gd name="connsiteY13" fmla="*/ 1056621 h 1056621"/>
                <a:gd name="connsiteX14" fmla="*/ 31316 w 787400"/>
                <a:gd name="connsiteY14" fmla="*/ 1056621 h 1056621"/>
                <a:gd name="connsiteX15" fmla="*/ 20988 w 787400"/>
                <a:gd name="connsiteY15" fmla="*/ 1044606 h 1056621"/>
                <a:gd name="connsiteX16" fmla="*/ 20988 w 787400"/>
                <a:gd name="connsiteY16" fmla="*/ 874681 h 1056621"/>
                <a:gd name="connsiteX17" fmla="*/ 31316 w 787400"/>
                <a:gd name="connsiteY17" fmla="*/ 862666 h 1056621"/>
                <a:gd name="connsiteX18" fmla="*/ 454962 w 787400"/>
                <a:gd name="connsiteY18" fmla="*/ 727332 h 1056621"/>
                <a:gd name="connsiteX19" fmla="*/ 558238 w 787400"/>
                <a:gd name="connsiteY19" fmla="*/ 727332 h 1056621"/>
                <a:gd name="connsiteX20" fmla="*/ 570287 w 787400"/>
                <a:gd name="connsiteY20" fmla="*/ 746197 h 1056621"/>
                <a:gd name="connsiteX21" fmla="*/ 570287 w 787400"/>
                <a:gd name="connsiteY21" fmla="*/ 1037756 h 1056621"/>
                <a:gd name="connsiteX22" fmla="*/ 558238 w 787400"/>
                <a:gd name="connsiteY22" fmla="*/ 1056621 h 1056621"/>
                <a:gd name="connsiteX23" fmla="*/ 454962 w 787400"/>
                <a:gd name="connsiteY23" fmla="*/ 1056621 h 1056621"/>
                <a:gd name="connsiteX24" fmla="*/ 442913 w 787400"/>
                <a:gd name="connsiteY24" fmla="*/ 1037756 h 1056621"/>
                <a:gd name="connsiteX25" fmla="*/ 442913 w 787400"/>
                <a:gd name="connsiteY25" fmla="*/ 746197 h 1056621"/>
                <a:gd name="connsiteX26" fmla="*/ 454962 w 787400"/>
                <a:gd name="connsiteY26" fmla="*/ 727332 h 1056621"/>
                <a:gd name="connsiteX27" fmla="*/ 666699 w 787400"/>
                <a:gd name="connsiteY27" fmla="*/ 411069 h 1056621"/>
                <a:gd name="connsiteX28" fmla="*/ 771320 w 787400"/>
                <a:gd name="connsiteY28" fmla="*/ 411069 h 1056621"/>
                <a:gd name="connsiteX29" fmla="*/ 781610 w 787400"/>
                <a:gd name="connsiteY29" fmla="*/ 448841 h 1056621"/>
                <a:gd name="connsiteX30" fmla="*/ 781610 w 787400"/>
                <a:gd name="connsiteY30" fmla="*/ 1018850 h 1056621"/>
                <a:gd name="connsiteX31" fmla="*/ 771320 w 787400"/>
                <a:gd name="connsiteY31" fmla="*/ 1056621 h 1056621"/>
                <a:gd name="connsiteX32" fmla="*/ 666699 w 787400"/>
                <a:gd name="connsiteY32" fmla="*/ 1056621 h 1056621"/>
                <a:gd name="connsiteX33" fmla="*/ 656408 w 787400"/>
                <a:gd name="connsiteY33" fmla="*/ 1018850 h 1056621"/>
                <a:gd name="connsiteX34" fmla="*/ 656408 w 787400"/>
                <a:gd name="connsiteY34" fmla="*/ 448841 h 1056621"/>
                <a:gd name="connsiteX35" fmla="*/ 666699 w 787400"/>
                <a:gd name="connsiteY35" fmla="*/ 411069 h 1056621"/>
                <a:gd name="connsiteX36" fmla="*/ 787400 w 787400"/>
                <a:gd name="connsiteY36" fmla="*/ 0 h 1056621"/>
                <a:gd name="connsiteX37" fmla="*/ 749043 w 787400"/>
                <a:gd name="connsiteY37" fmla="*/ 142571 h 1056621"/>
                <a:gd name="connsiteX38" fmla="*/ 711410 w 787400"/>
                <a:gd name="connsiteY38" fmla="*/ 283695 h 1056621"/>
                <a:gd name="connsiteX39" fmla="*/ 665093 w 787400"/>
                <a:gd name="connsiteY39" fmla="*/ 254747 h 1056621"/>
                <a:gd name="connsiteX40" fmla="*/ 299618 w 787400"/>
                <a:gd name="connsiteY40" fmla="*/ 809835 h 1056621"/>
                <a:gd name="connsiteX41" fmla="*/ 91912 w 787400"/>
                <a:gd name="connsiteY41" fmla="*/ 701278 h 1056621"/>
                <a:gd name="connsiteX42" fmla="*/ 57174 w 787400"/>
                <a:gd name="connsiteY42" fmla="*/ 743977 h 1056621"/>
                <a:gd name="connsiteX43" fmla="*/ 0 w 787400"/>
                <a:gd name="connsiteY43" fmla="*/ 694764 h 1056621"/>
                <a:gd name="connsiteX44" fmla="*/ 74543 w 787400"/>
                <a:gd name="connsiteY44" fmla="*/ 608643 h 1056621"/>
                <a:gd name="connsiteX45" fmla="*/ 274288 w 787400"/>
                <a:gd name="connsiteY45" fmla="*/ 713581 h 1056621"/>
                <a:gd name="connsiteX46" fmla="*/ 602853 w 787400"/>
                <a:gd name="connsiteY46" fmla="*/ 213495 h 1056621"/>
                <a:gd name="connsiteX47" fmla="*/ 557983 w 787400"/>
                <a:gd name="connsiteY47" fmla="*/ 185994 h 1056621"/>
                <a:gd name="connsiteX48" fmla="*/ 671606 w 787400"/>
                <a:gd name="connsiteY48" fmla="*/ 93359 h 1056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787400" h="1056621">
                  <a:moveTo>
                    <a:pt x="243364" y="945169"/>
                  </a:moveTo>
                  <a:cubicBezTo>
                    <a:pt x="243364" y="945169"/>
                    <a:pt x="243364" y="945169"/>
                    <a:pt x="348361" y="945169"/>
                  </a:cubicBezTo>
                  <a:cubicBezTo>
                    <a:pt x="355246" y="945169"/>
                    <a:pt x="360410" y="948599"/>
                    <a:pt x="360410" y="952028"/>
                  </a:cubicBezTo>
                  <a:cubicBezTo>
                    <a:pt x="360410" y="952028"/>
                    <a:pt x="360410" y="952028"/>
                    <a:pt x="360410" y="1049763"/>
                  </a:cubicBezTo>
                  <a:cubicBezTo>
                    <a:pt x="360410" y="1053192"/>
                    <a:pt x="355246" y="1056621"/>
                    <a:pt x="348361" y="1056621"/>
                  </a:cubicBezTo>
                  <a:cubicBezTo>
                    <a:pt x="348361" y="1056621"/>
                    <a:pt x="348361" y="1056621"/>
                    <a:pt x="243364" y="1056621"/>
                  </a:cubicBezTo>
                  <a:cubicBezTo>
                    <a:pt x="238200" y="1056621"/>
                    <a:pt x="233036" y="1053192"/>
                    <a:pt x="233036" y="1049763"/>
                  </a:cubicBezTo>
                  <a:cubicBezTo>
                    <a:pt x="233036" y="1049763"/>
                    <a:pt x="233036" y="1049763"/>
                    <a:pt x="233036" y="952028"/>
                  </a:cubicBezTo>
                  <a:cubicBezTo>
                    <a:pt x="233036" y="948599"/>
                    <a:pt x="238200" y="945169"/>
                    <a:pt x="243364" y="945169"/>
                  </a:cubicBezTo>
                  <a:close/>
                  <a:moveTo>
                    <a:pt x="31316" y="862666"/>
                  </a:moveTo>
                  <a:cubicBezTo>
                    <a:pt x="31316" y="862666"/>
                    <a:pt x="31316" y="862666"/>
                    <a:pt x="136313" y="862666"/>
                  </a:cubicBezTo>
                  <a:cubicBezTo>
                    <a:pt x="143198" y="862666"/>
                    <a:pt x="148362" y="867815"/>
                    <a:pt x="148362" y="874681"/>
                  </a:cubicBezTo>
                  <a:cubicBezTo>
                    <a:pt x="148362" y="874681"/>
                    <a:pt x="148362" y="874681"/>
                    <a:pt x="148362" y="1044606"/>
                  </a:cubicBezTo>
                  <a:cubicBezTo>
                    <a:pt x="148362" y="1051472"/>
                    <a:pt x="143198" y="1056621"/>
                    <a:pt x="136313" y="1056621"/>
                  </a:cubicBezTo>
                  <a:cubicBezTo>
                    <a:pt x="136313" y="1056621"/>
                    <a:pt x="136313" y="1056621"/>
                    <a:pt x="31316" y="1056621"/>
                  </a:cubicBezTo>
                  <a:cubicBezTo>
                    <a:pt x="26152" y="1056621"/>
                    <a:pt x="20988" y="1051472"/>
                    <a:pt x="20988" y="1044606"/>
                  </a:cubicBezTo>
                  <a:cubicBezTo>
                    <a:pt x="20988" y="1044606"/>
                    <a:pt x="20988" y="1044606"/>
                    <a:pt x="20988" y="874681"/>
                  </a:cubicBezTo>
                  <a:cubicBezTo>
                    <a:pt x="20988" y="867815"/>
                    <a:pt x="26152" y="862666"/>
                    <a:pt x="31316" y="862666"/>
                  </a:cubicBezTo>
                  <a:close/>
                  <a:moveTo>
                    <a:pt x="454962" y="727332"/>
                  </a:moveTo>
                  <a:cubicBezTo>
                    <a:pt x="454962" y="727332"/>
                    <a:pt x="454962" y="727332"/>
                    <a:pt x="558238" y="727332"/>
                  </a:cubicBezTo>
                  <a:cubicBezTo>
                    <a:pt x="565123" y="727332"/>
                    <a:pt x="570287" y="735907"/>
                    <a:pt x="570287" y="746197"/>
                  </a:cubicBezTo>
                  <a:cubicBezTo>
                    <a:pt x="570287" y="746197"/>
                    <a:pt x="570287" y="746197"/>
                    <a:pt x="570287" y="1037756"/>
                  </a:cubicBezTo>
                  <a:cubicBezTo>
                    <a:pt x="570287" y="1048046"/>
                    <a:pt x="565123" y="1056621"/>
                    <a:pt x="558238" y="1056621"/>
                  </a:cubicBezTo>
                  <a:cubicBezTo>
                    <a:pt x="558238" y="1056621"/>
                    <a:pt x="558238" y="1056621"/>
                    <a:pt x="454962" y="1056621"/>
                  </a:cubicBezTo>
                  <a:cubicBezTo>
                    <a:pt x="448077" y="1056621"/>
                    <a:pt x="442913" y="1048046"/>
                    <a:pt x="442913" y="1037756"/>
                  </a:cubicBezTo>
                  <a:cubicBezTo>
                    <a:pt x="442913" y="1037756"/>
                    <a:pt x="442913" y="1037756"/>
                    <a:pt x="442913" y="746197"/>
                  </a:cubicBezTo>
                  <a:cubicBezTo>
                    <a:pt x="442913" y="735907"/>
                    <a:pt x="448077" y="727332"/>
                    <a:pt x="454962" y="727332"/>
                  </a:cubicBezTo>
                  <a:close/>
                  <a:moveTo>
                    <a:pt x="666699" y="411069"/>
                  </a:moveTo>
                  <a:cubicBezTo>
                    <a:pt x="666699" y="411069"/>
                    <a:pt x="666699" y="411069"/>
                    <a:pt x="771320" y="411069"/>
                  </a:cubicBezTo>
                  <a:cubicBezTo>
                    <a:pt x="778180" y="411069"/>
                    <a:pt x="781610" y="428238"/>
                    <a:pt x="781610" y="448841"/>
                  </a:cubicBezTo>
                  <a:cubicBezTo>
                    <a:pt x="781610" y="448841"/>
                    <a:pt x="781610" y="448841"/>
                    <a:pt x="781610" y="1018850"/>
                  </a:cubicBezTo>
                  <a:cubicBezTo>
                    <a:pt x="781610" y="1039452"/>
                    <a:pt x="778180" y="1056621"/>
                    <a:pt x="771320" y="1056621"/>
                  </a:cubicBezTo>
                  <a:cubicBezTo>
                    <a:pt x="771320" y="1056621"/>
                    <a:pt x="771320" y="1056621"/>
                    <a:pt x="666699" y="1056621"/>
                  </a:cubicBezTo>
                  <a:cubicBezTo>
                    <a:pt x="661554" y="1056621"/>
                    <a:pt x="656408" y="1039452"/>
                    <a:pt x="656408" y="1018850"/>
                  </a:cubicBezTo>
                  <a:cubicBezTo>
                    <a:pt x="656408" y="1018850"/>
                    <a:pt x="656408" y="1018850"/>
                    <a:pt x="656408" y="448841"/>
                  </a:cubicBezTo>
                  <a:cubicBezTo>
                    <a:pt x="656408" y="428238"/>
                    <a:pt x="661554" y="411069"/>
                    <a:pt x="666699" y="411069"/>
                  </a:cubicBezTo>
                  <a:close/>
                  <a:moveTo>
                    <a:pt x="787400" y="0"/>
                  </a:moveTo>
                  <a:lnTo>
                    <a:pt x="749043" y="142571"/>
                  </a:lnTo>
                  <a:lnTo>
                    <a:pt x="711410" y="283695"/>
                  </a:lnTo>
                  <a:lnTo>
                    <a:pt x="665093" y="254747"/>
                  </a:lnTo>
                  <a:lnTo>
                    <a:pt x="299618" y="809835"/>
                  </a:lnTo>
                  <a:lnTo>
                    <a:pt x="91912" y="701278"/>
                  </a:lnTo>
                  <a:lnTo>
                    <a:pt x="57174" y="743977"/>
                  </a:lnTo>
                  <a:lnTo>
                    <a:pt x="0" y="694764"/>
                  </a:lnTo>
                  <a:lnTo>
                    <a:pt x="74543" y="608643"/>
                  </a:lnTo>
                  <a:lnTo>
                    <a:pt x="274288" y="713581"/>
                  </a:lnTo>
                  <a:lnTo>
                    <a:pt x="602853" y="213495"/>
                  </a:lnTo>
                  <a:lnTo>
                    <a:pt x="557983" y="185994"/>
                  </a:lnTo>
                  <a:lnTo>
                    <a:pt x="671606" y="933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Autofit/>
            </a:bodyPr>
            <a:lstStyle/>
            <a:p>
              <a:endParaRPr lang="zh-CN" altLang="en-US" dirty="0">
                <a:cs typeface="+mn-ea"/>
                <a:sym typeface="+mn-lt"/>
              </a:endParaRPr>
            </a:p>
          </p:txBody>
        </p:sp>
      </p:grpSp>
      <p:sp>
        <p:nvSpPr>
          <p:cNvPr id="24" name="矩形 23">
            <a:extLst>
              <a:ext uri="{FF2B5EF4-FFF2-40B4-BE49-F238E27FC236}">
                <a16:creationId xmlns:a16="http://schemas.microsoft.com/office/drawing/2014/main" id="{CCC16736-1C2B-4218-873A-2CE5011C1932}"/>
              </a:ext>
            </a:extLst>
          </p:cNvPr>
          <p:cNvSpPr/>
          <p:nvPr/>
        </p:nvSpPr>
        <p:spPr>
          <a:xfrm>
            <a:off x="6330305" y="4915049"/>
            <a:ext cx="52770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  <a:cs typeface="+mn-ea"/>
                <a:sym typeface="+mn-lt"/>
              </a:rPr>
              <a:t>01</a:t>
            </a:r>
            <a:endParaRPr lang="zh-CN" altLang="en-US" sz="2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E09EB09C-58F7-42CC-BE12-6EAB64C57F5F}"/>
              </a:ext>
            </a:extLst>
          </p:cNvPr>
          <p:cNvSpPr/>
          <p:nvPr/>
        </p:nvSpPr>
        <p:spPr>
          <a:xfrm>
            <a:off x="7047009" y="4412798"/>
            <a:ext cx="52770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  <a:cs typeface="+mn-ea"/>
                <a:sym typeface="+mn-lt"/>
              </a:rPr>
              <a:t>02</a:t>
            </a:r>
            <a:endParaRPr lang="zh-CN" altLang="en-US" sz="2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F9D3C660-844D-4C32-8ECF-AED62B5728E8}"/>
              </a:ext>
            </a:extLst>
          </p:cNvPr>
          <p:cNvSpPr/>
          <p:nvPr/>
        </p:nvSpPr>
        <p:spPr>
          <a:xfrm>
            <a:off x="7330196" y="3361146"/>
            <a:ext cx="52770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  <a:cs typeface="+mn-ea"/>
                <a:sym typeface="+mn-lt"/>
              </a:rPr>
              <a:t>03</a:t>
            </a:r>
            <a:endParaRPr lang="zh-CN" altLang="en-US" sz="2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C789C20C-6F88-4C66-9B2C-59AE3404EB09}"/>
              </a:ext>
            </a:extLst>
          </p:cNvPr>
          <p:cNvSpPr/>
          <p:nvPr/>
        </p:nvSpPr>
        <p:spPr>
          <a:xfrm>
            <a:off x="5428880" y="2240028"/>
            <a:ext cx="52770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  <a:cs typeface="+mn-ea"/>
                <a:sym typeface="+mn-lt"/>
              </a:rPr>
              <a:t>04</a:t>
            </a:r>
            <a:endParaRPr lang="zh-CN" altLang="en-US" sz="2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B38D1D9E-285F-46C5-90EB-40F265093EEF}"/>
              </a:ext>
            </a:extLst>
          </p:cNvPr>
          <p:cNvSpPr/>
          <p:nvPr/>
        </p:nvSpPr>
        <p:spPr>
          <a:xfrm>
            <a:off x="4729321" y="2798502"/>
            <a:ext cx="52770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  <a:cs typeface="+mn-ea"/>
                <a:sym typeface="+mn-lt"/>
              </a:rPr>
              <a:t>05</a:t>
            </a:r>
            <a:endParaRPr lang="zh-CN" altLang="en-US" sz="2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37DCF1B5-41EE-4C49-B930-D15E0B99AE67}"/>
              </a:ext>
            </a:extLst>
          </p:cNvPr>
          <p:cNvSpPr/>
          <p:nvPr/>
        </p:nvSpPr>
        <p:spPr>
          <a:xfrm>
            <a:off x="4502790" y="3973298"/>
            <a:ext cx="52770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algn="ctr"/>
            <a:r>
              <a:rPr lang="en-US" altLang="zh-CN" sz="2400" b="1" dirty="0">
                <a:solidFill>
                  <a:schemeClr val="bg1"/>
                </a:solidFill>
                <a:cs typeface="+mn-ea"/>
                <a:sym typeface="+mn-lt"/>
              </a:rPr>
              <a:t>06</a:t>
            </a:r>
            <a:endParaRPr lang="zh-CN" altLang="en-US" sz="2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952D6793-E1FB-4944-BDC2-ACF16BB770B2}"/>
              </a:ext>
            </a:extLst>
          </p:cNvPr>
          <p:cNvSpPr txBox="1"/>
          <p:nvPr/>
        </p:nvSpPr>
        <p:spPr>
          <a:xfrm>
            <a:off x="8153539" y="3064341"/>
            <a:ext cx="3145327" cy="320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000"/>
              </a:lnSpc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Enter a specific description here without being too cumbersome.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31" name="Rectangle 36">
            <a:extLst>
              <a:ext uri="{FF2B5EF4-FFF2-40B4-BE49-F238E27FC236}">
                <a16:creationId xmlns:a16="http://schemas.microsoft.com/office/drawing/2014/main" id="{8486BEDD-FA44-4015-9C00-5C7036DCBF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3539" y="2774362"/>
            <a:ext cx="121058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b">
            <a:spAutoFit/>
          </a:bodyPr>
          <a:lstStyle/>
          <a:p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lease add a title.</a:t>
            </a: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20B4292A-B949-4665-A03C-306CECADB2D7}"/>
              </a:ext>
            </a:extLst>
          </p:cNvPr>
          <p:cNvSpPr txBox="1"/>
          <p:nvPr/>
        </p:nvSpPr>
        <p:spPr>
          <a:xfrm>
            <a:off x="875834" y="2387075"/>
            <a:ext cx="3145327" cy="320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2000"/>
              </a:lnSpc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Enter a specific description here without being too cumbersome.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33" name="Rectangle 36">
            <a:extLst>
              <a:ext uri="{FF2B5EF4-FFF2-40B4-BE49-F238E27FC236}">
                <a16:creationId xmlns:a16="http://schemas.microsoft.com/office/drawing/2014/main" id="{6293A0A7-099D-468E-B5F9-BE4D05C1BB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10572" y="2097096"/>
            <a:ext cx="121058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b">
            <a:spAutoFit/>
          </a:bodyPr>
          <a:lstStyle/>
          <a:p>
            <a:pPr algn="r"/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lease add a title.</a:t>
            </a:r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0FE602A7-7120-454F-A4FE-513D718CA779}"/>
              </a:ext>
            </a:extLst>
          </p:cNvPr>
          <p:cNvSpPr txBox="1"/>
          <p:nvPr/>
        </p:nvSpPr>
        <p:spPr>
          <a:xfrm>
            <a:off x="8153539" y="4350271"/>
            <a:ext cx="3145327" cy="320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000"/>
              </a:lnSpc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Enter a specific description here without being too cumbersome.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35" name="Rectangle 36">
            <a:extLst>
              <a:ext uri="{FF2B5EF4-FFF2-40B4-BE49-F238E27FC236}">
                <a16:creationId xmlns:a16="http://schemas.microsoft.com/office/drawing/2014/main" id="{DBCDA636-F594-40D3-9955-DA567B29F3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3539" y="4060292"/>
            <a:ext cx="121058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b">
            <a:spAutoFit/>
          </a:bodyPr>
          <a:lstStyle/>
          <a:p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lease add a title.</a:t>
            </a: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0B30B3D3-2768-444F-B51A-EE65A0CCFF42}"/>
              </a:ext>
            </a:extLst>
          </p:cNvPr>
          <p:cNvSpPr txBox="1"/>
          <p:nvPr/>
        </p:nvSpPr>
        <p:spPr>
          <a:xfrm>
            <a:off x="875834" y="3482227"/>
            <a:ext cx="3145327" cy="320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2000"/>
              </a:lnSpc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Enter a specific description here without being too cumbersome.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B6E66C4-89F7-459E-8970-614A0EEF3A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10572" y="3192248"/>
            <a:ext cx="121058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b">
            <a:spAutoFit/>
          </a:bodyPr>
          <a:lstStyle/>
          <a:p>
            <a:pPr algn="r"/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lease add a title.</a:t>
            </a: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37CEDDEC-B5C6-4289-9160-7F24A5436684}"/>
              </a:ext>
            </a:extLst>
          </p:cNvPr>
          <p:cNvSpPr txBox="1"/>
          <p:nvPr/>
        </p:nvSpPr>
        <p:spPr>
          <a:xfrm>
            <a:off x="8153539" y="5430402"/>
            <a:ext cx="3145327" cy="320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000"/>
              </a:lnSpc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Enter a specific description here without being too cumbersome.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39" name="Rectangle 36">
            <a:extLst>
              <a:ext uri="{FF2B5EF4-FFF2-40B4-BE49-F238E27FC236}">
                <a16:creationId xmlns:a16="http://schemas.microsoft.com/office/drawing/2014/main" id="{58441B9F-AB93-4EDC-A7B3-E91732DAC7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53539" y="5140423"/>
            <a:ext cx="121058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b">
            <a:spAutoFit/>
          </a:bodyPr>
          <a:lstStyle/>
          <a:p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lease add a title.</a:t>
            </a:r>
          </a:p>
        </p:txBody>
      </p:sp>
      <p:sp>
        <p:nvSpPr>
          <p:cNvPr id="40" name="文本框 39">
            <a:extLst>
              <a:ext uri="{FF2B5EF4-FFF2-40B4-BE49-F238E27FC236}">
                <a16:creationId xmlns:a16="http://schemas.microsoft.com/office/drawing/2014/main" id="{6C0D5C8F-1D9B-4CD3-BC0E-8C69CAE6BC33}"/>
              </a:ext>
            </a:extLst>
          </p:cNvPr>
          <p:cNvSpPr txBox="1"/>
          <p:nvPr/>
        </p:nvSpPr>
        <p:spPr>
          <a:xfrm>
            <a:off x="875834" y="4543108"/>
            <a:ext cx="3145327" cy="320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2000"/>
              </a:lnSpc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Enter a specific description here without being too cumbersome.</a:t>
            </a:r>
            <a:endParaRPr lang="en-US" altLang="zh-CN" sz="12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41" name="Rectangle 36">
            <a:extLst>
              <a:ext uri="{FF2B5EF4-FFF2-40B4-BE49-F238E27FC236}">
                <a16:creationId xmlns:a16="http://schemas.microsoft.com/office/drawing/2014/main" id="{FBE7CDAF-F8B6-4B2D-A45B-9DD7B798F8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10572" y="4253129"/>
            <a:ext cx="121058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b">
            <a:spAutoFit/>
          </a:bodyPr>
          <a:lstStyle/>
          <a:p>
            <a:pPr algn="r"/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lease add a title.</a:t>
            </a: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E797BAE0-445B-48C5-B113-B5BFFF1B45CF}"/>
              </a:ext>
            </a:extLst>
          </p:cNvPr>
          <p:cNvSpPr txBox="1"/>
          <p:nvPr/>
        </p:nvSpPr>
        <p:spPr>
          <a:xfrm>
            <a:off x="3583562" y="90631"/>
            <a:ext cx="5109863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66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pPr>
              <a:lnSpc>
                <a:spcPts val="4000"/>
              </a:lnSpc>
            </a:pPr>
            <a:r>
              <a:rPr lang="zh-CN" altLang="en-US" sz="4000" dirty="0">
                <a:latin typeface="+mn-lt"/>
                <a:ea typeface="+mn-ea"/>
                <a:cs typeface="+mn-ea"/>
                <a:sym typeface="+mn-lt"/>
              </a:rPr>
              <a:t>Teaching reflection</a:t>
            </a:r>
          </a:p>
        </p:txBody>
      </p:sp>
    </p:spTree>
    <p:extLst>
      <p:ext uri="{BB962C8B-B14F-4D97-AF65-F5344CB8AC3E}">
        <p14:creationId xmlns:p14="http://schemas.microsoft.com/office/powerpoint/2010/main" val="846769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 advClick="0" advTm="0">
        <p14:ripple/>
      </p:transition>
    </mc:Choice>
    <mc:Fallback xmlns:a14="http://schemas.microsoft.com/office/drawing/2010/main" xmlns:a16="http://schemas.microsoft.com/office/drawing/2014/main"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7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750"/>
                            </p:stCondLst>
                            <p:childTnLst>
                              <p:par>
                                <p:cTn id="1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250"/>
                            </p:stCondLst>
                            <p:childTnLst>
                              <p:par>
                                <p:cTn id="3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750"/>
                            </p:stCondLst>
                            <p:childTnLst>
                              <p:par>
                                <p:cTn id="4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3250"/>
                            </p:stCondLst>
                            <p:childTnLst>
                              <p:par>
                                <p:cTn id="52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3750"/>
                            </p:stCondLst>
                            <p:childTnLst>
                              <p:par>
                                <p:cTn id="6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4250"/>
                            </p:stCondLst>
                            <p:childTnLst>
                              <p:par>
                                <p:cTn id="7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4750"/>
                            </p:stCondLst>
                            <p:childTnLst>
                              <p:par>
                                <p:cTn id="8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9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9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3" fill="hold">
                            <p:stCondLst>
                              <p:cond delay="5250"/>
                            </p:stCondLst>
                            <p:childTnLst>
                              <p:par>
                                <p:cTn id="10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6" dur="7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9" dur="7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2" dur="7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5" dur="7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8" dur="7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1" dur="7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24" dur="7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27" dur="7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0" dur="7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3" dur="7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6" dur="7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9" dur="7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0" fill="hold">
                            <p:stCondLst>
                              <p:cond delay="6000"/>
                            </p:stCondLst>
                            <p:childTnLst>
                              <p:par>
                                <p:cTn id="141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3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4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5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6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7" dur="500" tmFilter="0,0; .5, 1; 1, 1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6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4" grpId="0"/>
      <p:bldP spid="25" grpId="0"/>
      <p:bldP spid="26" grpId="0"/>
      <p:bldP spid="27" grpId="0"/>
      <p:bldP spid="28" grpId="0"/>
      <p:bldP spid="29" grpId="0"/>
      <p:bldP spid="30" grpId="0"/>
      <p:bldP spid="31" grpId="0"/>
      <p:bldP spid="32" grpId="0"/>
      <p:bldP spid="33" grpId="0"/>
      <p:bldP spid="34" grpId="0"/>
      <p:bldP spid="35" grpId="0"/>
      <p:bldP spid="36" grpId="0"/>
      <p:bldP spid="37" grpId="0"/>
      <p:bldP spid="38" grpId="0"/>
      <p:bldP spid="39" grpId="0"/>
      <p:bldP spid="40" grpId="0"/>
      <p:bldP spid="41" grpId="0"/>
      <p:bldP spid="42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>
            <a:extLst>
              <a:ext uri="{FF2B5EF4-FFF2-40B4-BE49-F238E27FC236}">
                <a16:creationId xmlns:a16="http://schemas.microsoft.com/office/drawing/2014/main" id="{7D541785-68AC-43A3-ADD5-CCB806485B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-26596"/>
            <a:ext cx="12202211" cy="6858000"/>
          </a:xfrm>
          <a:prstGeom prst="rect">
            <a:avLst/>
          </a:prstGeom>
          <a:ln>
            <a:noFill/>
          </a:ln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A9DCD6AC-468D-411F-ADD1-9E043CD9455B}"/>
              </a:ext>
            </a:extLst>
          </p:cNvPr>
          <p:cNvSpPr/>
          <p:nvPr/>
        </p:nvSpPr>
        <p:spPr>
          <a:xfrm rot="10800000">
            <a:off x="0" y="1290171"/>
            <a:ext cx="12192000" cy="4224469"/>
          </a:xfrm>
          <a:prstGeom prst="rect">
            <a:avLst/>
          </a:prstGeom>
          <a:solidFill>
            <a:srgbClr val="D00000"/>
          </a:solidFill>
          <a:ln>
            <a:noFill/>
          </a:ln>
          <a:effectLst>
            <a:outerShdw blurRad="114300" dist="38100" dir="2700000" sx="101000" sy="101000" algn="tl" rotWithShape="0">
              <a:prstClr val="black">
                <a:alpha val="3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72F61383-65C9-44C3-881B-04BD16F071A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762688" y="2425045"/>
            <a:ext cx="5206440" cy="365947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ED240C3B-6885-4E67-ADE0-A4AEF74A8D0B}"/>
              </a:ext>
            </a:extLst>
          </p:cNvPr>
          <p:cNvSpPr/>
          <p:nvPr/>
        </p:nvSpPr>
        <p:spPr>
          <a:xfrm rot="10800000">
            <a:off x="3119669" y="1892829"/>
            <a:ext cx="7488832" cy="345638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38100" dir="2700000" sx="101000" sy="101000" algn="tl" rotWithShape="0">
              <a:prstClr val="black">
                <a:alpha val="3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97E6C958-D7B9-4AC5-80A6-C246E03A2DF4}"/>
              </a:ext>
            </a:extLst>
          </p:cNvPr>
          <p:cNvSpPr txBox="1"/>
          <p:nvPr/>
        </p:nvSpPr>
        <p:spPr>
          <a:xfrm>
            <a:off x="3719026" y="2659728"/>
            <a:ext cx="629011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40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Thank you for watching!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F4FDA6B7-A91D-4FED-AD35-E0B4D39D99D0}"/>
              </a:ext>
            </a:extLst>
          </p:cNvPr>
          <p:cNvSpPr txBox="1"/>
          <p:nvPr/>
        </p:nvSpPr>
        <p:spPr>
          <a:xfrm>
            <a:off x="4897384" y="4570664"/>
            <a:ext cx="39334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altLang="zh-CN" sz="2000" dirty="0">
                <a:solidFill>
                  <a:prstClr val="black">
                    <a:lumMod val="75000"/>
                    <a:lumOff val="25000"/>
                  </a:prstClr>
                </a:solidFill>
                <a:cs typeface="+mn-ea"/>
                <a:sym typeface="+mn-lt"/>
              </a:rPr>
              <a:t>https://www.jpppt.com.</a:t>
            </a:r>
            <a:endParaRPr lang="zh-CN" altLang="en-US" sz="2000" dirty="0">
              <a:solidFill>
                <a:prstClr val="black">
                  <a:lumMod val="75000"/>
                  <a:lumOff val="25000"/>
                </a:prstClr>
              </a:solidFill>
              <a:cs typeface="+mn-ea"/>
              <a:sym typeface="+mn-lt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1B0C206A-7A1A-4555-9514-A2B12B702B07}"/>
              </a:ext>
            </a:extLst>
          </p:cNvPr>
          <p:cNvSpPr/>
          <p:nvPr/>
        </p:nvSpPr>
        <p:spPr>
          <a:xfrm>
            <a:off x="3646604" y="3503971"/>
            <a:ext cx="672991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2000" spc="4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TEACHER SAID CLASS OPEN TRAINING.</a:t>
            </a:r>
            <a:endParaRPr lang="zh-CN" altLang="en-US" sz="2000" spc="4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7632B317-56B4-4D0C-ABF3-61C1195B4D54}"/>
              </a:ext>
            </a:extLst>
          </p:cNvPr>
          <p:cNvCxnSpPr>
            <a:cxnSpLocks/>
          </p:cNvCxnSpPr>
          <p:nvPr/>
        </p:nvCxnSpPr>
        <p:spPr>
          <a:xfrm>
            <a:off x="4678415" y="4011476"/>
            <a:ext cx="4371335" cy="0"/>
          </a:xfrm>
          <a:prstGeom prst="line">
            <a:avLst/>
          </a:prstGeom>
          <a:ln w="12700">
            <a:solidFill>
              <a:srgbClr val="D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文本框 11">
            <a:extLst>
              <a:ext uri="{FF2B5EF4-FFF2-40B4-BE49-F238E27FC236}">
                <a16:creationId xmlns:a16="http://schemas.microsoft.com/office/drawing/2014/main" id="{8F860789-127B-4664-9E04-E2CB1F6C796C}"/>
              </a:ext>
            </a:extLst>
          </p:cNvPr>
          <p:cNvSpPr txBox="1"/>
          <p:nvPr/>
        </p:nvSpPr>
        <p:spPr>
          <a:xfrm>
            <a:off x="2059310" y="5401379"/>
            <a:ext cx="2837635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defRPr sz="9600" spc="400">
                <a:solidFill>
                  <a:srgbClr val="617A99"/>
                </a:solidFill>
                <a:latin typeface="Agency FB" pitchFamily="34" charset="0"/>
              </a:defRPr>
            </a:lvl1pPr>
          </a:lstStyle>
          <a:p>
            <a:pPr algn="ctr"/>
            <a:r>
              <a:rPr lang="en-US" altLang="zh-CN" sz="6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ea"/>
                <a:sym typeface="+mn-lt"/>
              </a:rPr>
              <a:t>LOGO</a:t>
            </a:r>
            <a:endParaRPr lang="zh-CN" altLang="en-US" sz="6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5753705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 advClick="0" advTm="3000">
        <p15:prstTrans prst="fallOver"/>
      </p:transition>
    </mc:Choice>
    <mc:Fallback xmlns:p14="http://schemas.microsoft.com/office/powerpoint/2010/main" xmlns:a14="http://schemas.microsoft.com/office/drawing/2010/main" xmlns:a16="http://schemas.microsoft.com/office/drawing/2014/main" xmlns="">
      <p:transition spd="slow" advClick="0" advTm="3000">
        <p:fade/>
      </p:transition>
    </mc:Fallback>
  </mc:AlternateContent>
  <mc:AlternateContent xmlns:mc="http://schemas.openxmlformats.org/markup-compatibility/2006">
    <mc:Choice xmlns:p14="http://schemas.microsoft.com/office/powerpoint/2010/main"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 p14:presetBounceEnd="52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2000">
                                          <p:cBhvr additive="base">
                                            <p:cTn id="7" dur="20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2000">
                                          <p:cBhvr additive="base">
                                            <p:cTn id="8" dur="20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grpId="0" nodeType="withEffect" p14:presetBounceEnd="52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2000">
                                          <p:cBhvr additive="base">
                                            <p:cTn id="11" dur="2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2000">
                                          <p:cBhvr additive="base">
                                            <p:cTn id="12" dur="2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2" presetClass="entr" presetSubtype="4" fill="hold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15" dur="500"/>
                                            <p:tgtEl>
                                              <p:spTgt spid="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6" presetID="41" presetClass="entr" presetSubtype="0" fill="hold" grpId="0" nodeType="withEffect">
                                      <p:stCondLst>
                                        <p:cond delay="250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1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x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9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0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h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1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w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2" dur="500" tmFilter="0,0; .5, 1; 1, 1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3" presetID="16" presetClass="entr" presetSubtype="37" fill="hold" grpId="0" nodeType="withEffect">
                                      <p:stCondLst>
                                        <p:cond delay="300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outVertical)">
                                          <p:cBhvr>
                                            <p:cTn id="25" dur="50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6" presetID="16" presetClass="entr" presetSubtype="21" fill="hold" nodeType="withEffect">
                                      <p:stCondLst>
                                        <p:cond delay="350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inVertical)">
                                          <p:cBhvr>
                                            <p:cTn id="28" dur="5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9" presetID="9" presetClass="entr" presetSubtype="0" fill="hold" grpId="0" nodeType="withEffect">
                                      <p:stCondLst>
                                        <p:cond delay="400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dissolve">
                                          <p:cBhvr>
                                            <p:cTn id="31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2" presetID="14" presetClass="entr" presetSubtype="10" fill="hold" grpId="1" nodeType="withEffect">
                                      <p:stCondLst>
                                        <p:cond delay="200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randombar(horizontal)">
                                          <p:cBhvr>
                                            <p:cTn id="34" dur="500"/>
                                            <p:tgtEl>
                                              <p:spTgt spid="1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" grpId="0" animBg="1"/>
          <p:bldP spid="5" grpId="0" animBg="1"/>
          <p:bldP spid="6" grpId="0"/>
          <p:bldP spid="7" grpId="0"/>
          <p:bldP spid="8" grpId="0"/>
          <p:bldP spid="12" grpId="0"/>
          <p:bldP spid="12" grpId="1"/>
        </p:bldLst>
      </p:timing>
    </mc:Choice>
    <mc:Fallback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20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20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2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2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2" presetClass="entr" presetSubtype="4" fill="hold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15" dur="500"/>
                                            <p:tgtEl>
                                              <p:spTgt spid="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6" presetID="41" presetClass="entr" presetSubtype="0" fill="hold" grpId="0" nodeType="withEffect">
                                      <p:stCondLst>
                                        <p:cond delay="250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1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8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x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9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0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h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1" dur="5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w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2" dur="500" tmFilter="0,0; .5, 1; 1, 1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3" presetID="16" presetClass="entr" presetSubtype="37" fill="hold" grpId="0" nodeType="withEffect">
                                      <p:stCondLst>
                                        <p:cond delay="300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outVertical)">
                                          <p:cBhvr>
                                            <p:cTn id="25" dur="50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6" presetID="16" presetClass="entr" presetSubtype="21" fill="hold" nodeType="withEffect">
                                      <p:stCondLst>
                                        <p:cond delay="350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inVertical)">
                                          <p:cBhvr>
                                            <p:cTn id="28" dur="5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9" presetID="9" presetClass="entr" presetSubtype="0" fill="hold" grpId="0" nodeType="withEffect">
                                      <p:stCondLst>
                                        <p:cond delay="400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dissolve">
                                          <p:cBhvr>
                                            <p:cTn id="31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2" presetID="14" presetClass="entr" presetSubtype="10" fill="hold" grpId="1" nodeType="withEffect">
                                      <p:stCondLst>
                                        <p:cond delay="200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randombar(horizontal)">
                                          <p:cBhvr>
                                            <p:cTn id="34" dur="500"/>
                                            <p:tgtEl>
                                              <p:spTgt spid="1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" grpId="0" animBg="1"/>
          <p:bldP spid="5" grpId="0" animBg="1"/>
          <p:bldP spid="6" grpId="0"/>
          <p:bldP spid="7" grpId="0"/>
          <p:bldP spid="8" grpId="0"/>
          <p:bldP spid="12" grpId="0"/>
          <p:bldP spid="12" grpId="1"/>
        </p:bldLst>
      </p:timing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Fully Editable Icon Sets: A</a:t>
            </a:r>
          </a:p>
        </p:txBody>
      </p:sp>
      <p:sp>
        <p:nvSpPr>
          <p:cNvPr id="54" name="Diamond 5">
            <a:extLst>
              <a:ext uri="{FF2B5EF4-FFF2-40B4-BE49-F238E27FC236}">
                <a16:creationId xmlns:a16="http://schemas.microsoft.com/office/drawing/2014/main" id="{AEDEE15B-09BE-4416-8D55-46095E20C00D}"/>
              </a:ext>
            </a:extLst>
          </p:cNvPr>
          <p:cNvSpPr/>
          <p:nvPr/>
        </p:nvSpPr>
        <p:spPr>
          <a:xfrm>
            <a:off x="6112070" y="1492152"/>
            <a:ext cx="523149" cy="524695"/>
          </a:xfrm>
          <a:custGeom>
            <a:avLst/>
            <a:gdLst/>
            <a:ahLst/>
            <a:cxnLst/>
            <a:rect l="l" t="t" r="r" b="b"/>
            <a:pathLst>
              <a:path w="3240001" h="3249575">
                <a:moveTo>
                  <a:pt x="1275349" y="2002569"/>
                </a:moveTo>
                <a:lnTo>
                  <a:pt x="1625117" y="2233002"/>
                </a:lnTo>
                <a:lnTo>
                  <a:pt x="1968772" y="2006596"/>
                </a:lnTo>
                <a:lnTo>
                  <a:pt x="3240001" y="3249575"/>
                </a:lnTo>
                <a:lnTo>
                  <a:pt x="0" y="3249575"/>
                </a:lnTo>
                <a:close/>
                <a:moveTo>
                  <a:pt x="1067116" y="1473605"/>
                </a:moveTo>
                <a:lnTo>
                  <a:pt x="1067116" y="1581605"/>
                </a:lnTo>
                <a:lnTo>
                  <a:pt x="2183116" y="1581605"/>
                </a:lnTo>
                <a:lnTo>
                  <a:pt x="2183116" y="1473605"/>
                </a:lnTo>
                <a:close/>
                <a:moveTo>
                  <a:pt x="1067116" y="1267205"/>
                </a:moveTo>
                <a:lnTo>
                  <a:pt x="1067116" y="1375205"/>
                </a:lnTo>
                <a:lnTo>
                  <a:pt x="2183116" y="1375205"/>
                </a:lnTo>
                <a:lnTo>
                  <a:pt x="2183116" y="1267205"/>
                </a:lnTo>
                <a:close/>
                <a:moveTo>
                  <a:pt x="3240001" y="1172196"/>
                </a:moveTo>
                <a:lnTo>
                  <a:pt x="3240001" y="3142550"/>
                </a:lnTo>
                <a:lnTo>
                  <a:pt x="2026252" y="1968728"/>
                </a:lnTo>
                <a:lnTo>
                  <a:pt x="3049854" y="1294362"/>
                </a:lnTo>
                <a:close/>
                <a:moveTo>
                  <a:pt x="0" y="1172196"/>
                </a:moveTo>
                <a:lnTo>
                  <a:pt x="602850" y="1559516"/>
                </a:lnTo>
                <a:lnTo>
                  <a:pt x="1217896" y="1964719"/>
                </a:lnTo>
                <a:lnTo>
                  <a:pt x="0" y="3142550"/>
                </a:lnTo>
                <a:close/>
                <a:moveTo>
                  <a:pt x="1067116" y="1060805"/>
                </a:moveTo>
                <a:lnTo>
                  <a:pt x="1067116" y="1168805"/>
                </a:lnTo>
                <a:lnTo>
                  <a:pt x="2183116" y="1168805"/>
                </a:lnTo>
                <a:lnTo>
                  <a:pt x="2183116" y="1060805"/>
                </a:lnTo>
                <a:close/>
                <a:moveTo>
                  <a:pt x="869032" y="816137"/>
                </a:moveTo>
                <a:lnTo>
                  <a:pt x="2381200" y="816137"/>
                </a:lnTo>
                <a:lnTo>
                  <a:pt x="2381200" y="1623491"/>
                </a:lnTo>
                <a:lnTo>
                  <a:pt x="1668045" y="2093329"/>
                </a:lnTo>
                <a:lnTo>
                  <a:pt x="1625116" y="2121611"/>
                </a:lnTo>
                <a:lnTo>
                  <a:pt x="869032" y="1623491"/>
                </a:lnTo>
                <a:close/>
                <a:moveTo>
                  <a:pt x="1625116" y="0"/>
                </a:moveTo>
                <a:lnTo>
                  <a:pt x="3235286" y="1060806"/>
                </a:lnTo>
                <a:lnTo>
                  <a:pt x="2489212" y="1552331"/>
                </a:lnTo>
                <a:lnTo>
                  <a:pt x="2489212" y="708008"/>
                </a:lnTo>
                <a:lnTo>
                  <a:pt x="761020" y="708008"/>
                </a:lnTo>
                <a:lnTo>
                  <a:pt x="761020" y="1552331"/>
                </a:lnTo>
                <a:lnTo>
                  <a:pt x="14946" y="106080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55" name="Isosceles Triangle 51">
            <a:extLst>
              <a:ext uri="{FF2B5EF4-FFF2-40B4-BE49-F238E27FC236}">
                <a16:creationId xmlns:a16="http://schemas.microsoft.com/office/drawing/2014/main" id="{2296D13E-298C-4F01-A77D-43547A7AEFA9}"/>
              </a:ext>
            </a:extLst>
          </p:cNvPr>
          <p:cNvSpPr/>
          <p:nvPr/>
        </p:nvSpPr>
        <p:spPr>
          <a:xfrm>
            <a:off x="5273316" y="1562686"/>
            <a:ext cx="523147" cy="383626"/>
          </a:xfrm>
          <a:custGeom>
            <a:avLst/>
            <a:gdLst/>
            <a:ahLst/>
            <a:cxnLst/>
            <a:rect l="l" t="t" r="r" b="b"/>
            <a:pathLst>
              <a:path w="3240001" h="2375905">
                <a:moveTo>
                  <a:pt x="1974640" y="1379575"/>
                </a:moveTo>
                <a:lnTo>
                  <a:pt x="3240001" y="2375905"/>
                </a:lnTo>
                <a:lnTo>
                  <a:pt x="1" y="2375905"/>
                </a:lnTo>
                <a:lnTo>
                  <a:pt x="1269863" y="1399042"/>
                </a:lnTo>
                <a:lnTo>
                  <a:pt x="1610574" y="1745545"/>
                </a:lnTo>
                <a:close/>
                <a:moveTo>
                  <a:pt x="3240001" y="126952"/>
                </a:moveTo>
                <a:lnTo>
                  <a:pt x="3240001" y="2258912"/>
                </a:lnTo>
                <a:lnTo>
                  <a:pt x="2032457" y="1334195"/>
                </a:lnTo>
                <a:close/>
                <a:moveTo>
                  <a:pt x="0" y="117525"/>
                </a:moveTo>
                <a:lnTo>
                  <a:pt x="1207545" y="1324768"/>
                </a:lnTo>
                <a:lnTo>
                  <a:pt x="0" y="2249485"/>
                </a:lnTo>
                <a:close/>
                <a:moveTo>
                  <a:pt x="0" y="0"/>
                </a:moveTo>
                <a:lnTo>
                  <a:pt x="3240000" y="0"/>
                </a:lnTo>
                <a:lnTo>
                  <a:pt x="1610572" y="162051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56" name="Isosceles Triangle 57">
            <a:extLst>
              <a:ext uri="{FF2B5EF4-FFF2-40B4-BE49-F238E27FC236}">
                <a16:creationId xmlns:a16="http://schemas.microsoft.com/office/drawing/2014/main" id="{4E76B488-B2CD-463B-861A-27D4912FE160}"/>
              </a:ext>
            </a:extLst>
          </p:cNvPr>
          <p:cNvSpPr/>
          <p:nvPr/>
        </p:nvSpPr>
        <p:spPr>
          <a:xfrm>
            <a:off x="6114156" y="4520206"/>
            <a:ext cx="313133" cy="707899"/>
          </a:xfrm>
          <a:custGeom>
            <a:avLst/>
            <a:gdLst>
              <a:gd name="connsiteX0" fmla="*/ 1148449 w 1346449"/>
              <a:gd name="connsiteY0" fmla="*/ 2457725 h 3249725"/>
              <a:gd name="connsiteX1" fmla="*/ 198001 w 1346449"/>
              <a:gd name="connsiteY1" fmla="*/ 2457725 h 3249725"/>
              <a:gd name="connsiteX2" fmla="*/ 1 w 1346449"/>
              <a:gd name="connsiteY2" fmla="*/ 3249725 h 3249725"/>
              <a:gd name="connsiteX3" fmla="*/ 1346449 w 1346449"/>
              <a:gd name="connsiteY3" fmla="*/ 3249725 h 3249725"/>
              <a:gd name="connsiteX4" fmla="*/ 1148449 w 1346449"/>
              <a:gd name="connsiteY4" fmla="*/ 2457725 h 3249725"/>
              <a:gd name="connsiteX5" fmla="*/ 755186 w 1346449"/>
              <a:gd name="connsiteY5" fmla="*/ 82950 h 3249725"/>
              <a:gd name="connsiteX6" fmla="*/ 734449 w 1346449"/>
              <a:gd name="connsiteY6" fmla="*/ 1314594 h 3249725"/>
              <a:gd name="connsiteX7" fmla="*/ 853246 w 1346449"/>
              <a:gd name="connsiteY7" fmla="*/ 1483214 h 3249725"/>
              <a:gd name="connsiteX8" fmla="*/ 673226 w 1346449"/>
              <a:gd name="connsiteY8" fmla="*/ 1663234 h 3249725"/>
              <a:gd name="connsiteX9" fmla="*/ 493206 w 1346449"/>
              <a:gd name="connsiteY9" fmla="*/ 1483214 h 3249725"/>
              <a:gd name="connsiteX10" fmla="*/ 612000 w 1346449"/>
              <a:gd name="connsiteY10" fmla="*/ 1314595 h 3249725"/>
              <a:gd name="connsiteX11" fmla="*/ 612000 w 1346449"/>
              <a:gd name="connsiteY11" fmla="*/ 0 h 3249725"/>
              <a:gd name="connsiteX12" fmla="*/ 2939 w 1346449"/>
              <a:gd name="connsiteY12" fmla="*/ 1574694 h 3249725"/>
              <a:gd name="connsiteX13" fmla="*/ 0 w 1346449"/>
              <a:gd name="connsiteY13" fmla="*/ 1574694 h 3249725"/>
              <a:gd name="connsiteX14" fmla="*/ 2009 w 1346449"/>
              <a:gd name="connsiteY14" fmla="*/ 1577097 h 3249725"/>
              <a:gd name="connsiteX15" fmla="*/ 0 w 1346449"/>
              <a:gd name="connsiteY15" fmla="*/ 1582292 h 3249725"/>
              <a:gd name="connsiteX16" fmla="*/ 6353 w 1346449"/>
              <a:gd name="connsiteY16" fmla="*/ 1582292 h 3249725"/>
              <a:gd name="connsiteX17" fmla="*/ 273414 w 1346449"/>
              <a:gd name="connsiteY17" fmla="*/ 2376121 h 3249725"/>
              <a:gd name="connsiteX18" fmla="*/ 1091887 w 1346449"/>
              <a:gd name="connsiteY18" fmla="*/ 2366694 h 3249725"/>
              <a:gd name="connsiteX19" fmla="*/ 1340768 w 1346449"/>
              <a:gd name="connsiteY19" fmla="*/ 1582292 h 3249725"/>
              <a:gd name="connsiteX20" fmla="*/ 1346449 w 1346449"/>
              <a:gd name="connsiteY20" fmla="*/ 1582292 h 3249725"/>
              <a:gd name="connsiteX21" fmla="*/ 1344512 w 1346449"/>
              <a:gd name="connsiteY21" fmla="*/ 1577284 h 3249725"/>
              <a:gd name="connsiteX22" fmla="*/ 1346448 w 1346449"/>
              <a:gd name="connsiteY22" fmla="*/ 1574694 h 3249725"/>
              <a:gd name="connsiteX23" fmla="*/ 1343510 w 1346449"/>
              <a:gd name="connsiteY23" fmla="*/ 1574694 h 3249725"/>
              <a:gd name="connsiteX24" fmla="*/ 755186 w 1346449"/>
              <a:gd name="connsiteY24" fmla="*/ 82950 h 3249725"/>
              <a:gd name="connsiteX0" fmla="*/ 1148449 w 1346449"/>
              <a:gd name="connsiteY0" fmla="*/ 2374775 h 3166775"/>
              <a:gd name="connsiteX1" fmla="*/ 198001 w 1346449"/>
              <a:gd name="connsiteY1" fmla="*/ 2374775 h 3166775"/>
              <a:gd name="connsiteX2" fmla="*/ 1 w 1346449"/>
              <a:gd name="connsiteY2" fmla="*/ 3166775 h 3166775"/>
              <a:gd name="connsiteX3" fmla="*/ 1346449 w 1346449"/>
              <a:gd name="connsiteY3" fmla="*/ 3166775 h 3166775"/>
              <a:gd name="connsiteX4" fmla="*/ 1148449 w 1346449"/>
              <a:gd name="connsiteY4" fmla="*/ 2374775 h 3166775"/>
              <a:gd name="connsiteX5" fmla="*/ 755186 w 1346449"/>
              <a:gd name="connsiteY5" fmla="*/ 0 h 3166775"/>
              <a:gd name="connsiteX6" fmla="*/ 734449 w 1346449"/>
              <a:gd name="connsiteY6" fmla="*/ 1231644 h 3166775"/>
              <a:gd name="connsiteX7" fmla="*/ 853246 w 1346449"/>
              <a:gd name="connsiteY7" fmla="*/ 1400264 h 3166775"/>
              <a:gd name="connsiteX8" fmla="*/ 673226 w 1346449"/>
              <a:gd name="connsiteY8" fmla="*/ 1580284 h 3166775"/>
              <a:gd name="connsiteX9" fmla="*/ 493206 w 1346449"/>
              <a:gd name="connsiteY9" fmla="*/ 1400264 h 3166775"/>
              <a:gd name="connsiteX10" fmla="*/ 612000 w 1346449"/>
              <a:gd name="connsiteY10" fmla="*/ 1231645 h 3166775"/>
              <a:gd name="connsiteX11" fmla="*/ 591263 w 1346449"/>
              <a:gd name="connsiteY11" fmla="*/ 10368 h 3166775"/>
              <a:gd name="connsiteX12" fmla="*/ 2939 w 1346449"/>
              <a:gd name="connsiteY12" fmla="*/ 1491744 h 3166775"/>
              <a:gd name="connsiteX13" fmla="*/ 0 w 1346449"/>
              <a:gd name="connsiteY13" fmla="*/ 1491744 h 3166775"/>
              <a:gd name="connsiteX14" fmla="*/ 2009 w 1346449"/>
              <a:gd name="connsiteY14" fmla="*/ 1494147 h 3166775"/>
              <a:gd name="connsiteX15" fmla="*/ 0 w 1346449"/>
              <a:gd name="connsiteY15" fmla="*/ 1499342 h 3166775"/>
              <a:gd name="connsiteX16" fmla="*/ 6353 w 1346449"/>
              <a:gd name="connsiteY16" fmla="*/ 1499342 h 3166775"/>
              <a:gd name="connsiteX17" fmla="*/ 273414 w 1346449"/>
              <a:gd name="connsiteY17" fmla="*/ 2293171 h 3166775"/>
              <a:gd name="connsiteX18" fmla="*/ 1091887 w 1346449"/>
              <a:gd name="connsiteY18" fmla="*/ 2283744 h 3166775"/>
              <a:gd name="connsiteX19" fmla="*/ 1340768 w 1346449"/>
              <a:gd name="connsiteY19" fmla="*/ 1499342 h 3166775"/>
              <a:gd name="connsiteX20" fmla="*/ 1346449 w 1346449"/>
              <a:gd name="connsiteY20" fmla="*/ 1499342 h 3166775"/>
              <a:gd name="connsiteX21" fmla="*/ 1344512 w 1346449"/>
              <a:gd name="connsiteY21" fmla="*/ 1494334 h 3166775"/>
              <a:gd name="connsiteX22" fmla="*/ 1346448 w 1346449"/>
              <a:gd name="connsiteY22" fmla="*/ 1491744 h 3166775"/>
              <a:gd name="connsiteX23" fmla="*/ 1343510 w 1346449"/>
              <a:gd name="connsiteY23" fmla="*/ 1491744 h 3166775"/>
              <a:gd name="connsiteX24" fmla="*/ 755186 w 1346449"/>
              <a:gd name="connsiteY24" fmla="*/ 0 h 3166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346449" h="3166775">
                <a:moveTo>
                  <a:pt x="1148449" y="2374775"/>
                </a:moveTo>
                <a:lnTo>
                  <a:pt x="198001" y="2374775"/>
                </a:lnTo>
                <a:lnTo>
                  <a:pt x="1" y="3166775"/>
                </a:lnTo>
                <a:lnTo>
                  <a:pt x="1346449" y="3166775"/>
                </a:lnTo>
                <a:lnTo>
                  <a:pt x="1148449" y="2374775"/>
                </a:lnTo>
                <a:close/>
                <a:moveTo>
                  <a:pt x="755186" y="0"/>
                </a:moveTo>
                <a:cubicBezTo>
                  <a:pt x="755186" y="438198"/>
                  <a:pt x="734449" y="793446"/>
                  <a:pt x="734449" y="1231644"/>
                </a:cubicBezTo>
                <a:cubicBezTo>
                  <a:pt x="803843" y="1256124"/>
                  <a:pt x="853246" y="1322425"/>
                  <a:pt x="853246" y="1400264"/>
                </a:cubicBezTo>
                <a:cubicBezTo>
                  <a:pt x="853246" y="1499686"/>
                  <a:pt x="772648" y="1580284"/>
                  <a:pt x="673226" y="1580284"/>
                </a:cubicBezTo>
                <a:cubicBezTo>
                  <a:pt x="573804" y="1580284"/>
                  <a:pt x="493206" y="1499686"/>
                  <a:pt x="493206" y="1400264"/>
                </a:cubicBezTo>
                <a:cubicBezTo>
                  <a:pt x="493206" y="1322426"/>
                  <a:pt x="542608" y="1256126"/>
                  <a:pt x="612000" y="1231645"/>
                </a:cubicBezTo>
                <a:lnTo>
                  <a:pt x="591263" y="10368"/>
                </a:lnTo>
                <a:lnTo>
                  <a:pt x="2939" y="1491744"/>
                </a:lnTo>
                <a:lnTo>
                  <a:pt x="0" y="1491744"/>
                </a:lnTo>
                <a:lnTo>
                  <a:pt x="2009" y="1494147"/>
                </a:lnTo>
                <a:lnTo>
                  <a:pt x="0" y="1499342"/>
                </a:lnTo>
                <a:lnTo>
                  <a:pt x="6353" y="1499342"/>
                </a:lnTo>
                <a:cubicBezTo>
                  <a:pt x="274151" y="1797289"/>
                  <a:pt x="320153" y="2031319"/>
                  <a:pt x="273414" y="2293171"/>
                </a:cubicBezTo>
                <a:lnTo>
                  <a:pt x="1091887" y="2283744"/>
                </a:lnTo>
                <a:cubicBezTo>
                  <a:pt x="1035756" y="1984266"/>
                  <a:pt x="1081794" y="1833397"/>
                  <a:pt x="1340768" y="1499342"/>
                </a:cubicBezTo>
                <a:lnTo>
                  <a:pt x="1346449" y="1499342"/>
                </a:lnTo>
                <a:lnTo>
                  <a:pt x="1344512" y="1494334"/>
                </a:lnTo>
                <a:cubicBezTo>
                  <a:pt x="1345124" y="1493447"/>
                  <a:pt x="1345785" y="1492596"/>
                  <a:pt x="1346448" y="1491744"/>
                </a:cubicBezTo>
                <a:lnTo>
                  <a:pt x="1343510" y="1491744"/>
                </a:lnTo>
                <a:cubicBezTo>
                  <a:pt x="1140490" y="966846"/>
                  <a:pt x="958206" y="524898"/>
                  <a:pt x="755186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 dirty="0"/>
          </a:p>
        </p:txBody>
      </p:sp>
      <p:sp>
        <p:nvSpPr>
          <p:cNvPr id="57" name="Rectangle 7">
            <a:extLst>
              <a:ext uri="{FF2B5EF4-FFF2-40B4-BE49-F238E27FC236}">
                <a16:creationId xmlns:a16="http://schemas.microsoft.com/office/drawing/2014/main" id="{84693C49-05C6-4CD0-A900-4B843CF3016D}"/>
              </a:ext>
            </a:extLst>
          </p:cNvPr>
          <p:cNvSpPr/>
          <p:nvPr/>
        </p:nvSpPr>
        <p:spPr>
          <a:xfrm rot="18900000">
            <a:off x="9585735" y="3654558"/>
            <a:ext cx="225664" cy="502732"/>
          </a:xfrm>
          <a:custGeom>
            <a:avLst/>
            <a:gdLst/>
            <a:ahLst/>
            <a:cxnLst/>
            <a:rect l="l" t="t" r="r" b="b"/>
            <a:pathLst>
              <a:path w="154109" h="343323">
                <a:moveTo>
                  <a:pt x="102909" y="313772"/>
                </a:moveTo>
                <a:lnTo>
                  <a:pt x="102909" y="328547"/>
                </a:lnTo>
                <a:cubicBezTo>
                  <a:pt x="102909" y="336708"/>
                  <a:pt x="96294" y="343322"/>
                  <a:pt x="88133" y="343323"/>
                </a:cubicBezTo>
                <a:lnTo>
                  <a:pt x="65975" y="343322"/>
                </a:lnTo>
                <a:cubicBezTo>
                  <a:pt x="57814" y="343322"/>
                  <a:pt x="51199" y="336708"/>
                  <a:pt x="51199" y="328547"/>
                </a:cubicBezTo>
                <a:cubicBezTo>
                  <a:pt x="51199" y="323622"/>
                  <a:pt x="51200" y="318696"/>
                  <a:pt x="51200" y="313771"/>
                </a:cubicBezTo>
                <a:close/>
                <a:moveTo>
                  <a:pt x="123327" y="15459"/>
                </a:moveTo>
                <a:cubicBezTo>
                  <a:pt x="141678" y="29245"/>
                  <a:pt x="152926" y="50497"/>
                  <a:pt x="154008" y="73425"/>
                </a:cubicBezTo>
                <a:cubicBezTo>
                  <a:pt x="155089" y="96353"/>
                  <a:pt x="145890" y="118568"/>
                  <a:pt x="128916" y="134021"/>
                </a:cubicBezTo>
                <a:lnTo>
                  <a:pt x="119294" y="123450"/>
                </a:lnTo>
                <a:cubicBezTo>
                  <a:pt x="133118" y="110865"/>
                  <a:pt x="140611" y="92772"/>
                  <a:pt x="139730" y="74098"/>
                </a:cubicBezTo>
                <a:cubicBezTo>
                  <a:pt x="138850" y="55424"/>
                  <a:pt x="129689" y="38115"/>
                  <a:pt x="114743" y="26887"/>
                </a:cubicBezTo>
                <a:close/>
                <a:moveTo>
                  <a:pt x="136698" y="17411"/>
                </a:moveTo>
                <a:cubicBezTo>
                  <a:pt x="103758" y="-15529"/>
                  <a:pt x="50351" y="-15529"/>
                  <a:pt x="17412" y="17411"/>
                </a:cubicBezTo>
                <a:cubicBezTo>
                  <a:pt x="-15528" y="50351"/>
                  <a:pt x="-15528" y="103757"/>
                  <a:pt x="17412" y="136697"/>
                </a:cubicBezTo>
                <a:cubicBezTo>
                  <a:pt x="50351" y="169637"/>
                  <a:pt x="103758" y="169637"/>
                  <a:pt x="136698" y="136697"/>
                </a:cubicBezTo>
                <a:cubicBezTo>
                  <a:pt x="169637" y="103757"/>
                  <a:pt x="169637" y="50351"/>
                  <a:pt x="136698" y="17411"/>
                </a:cubicBezTo>
                <a:close/>
                <a:moveTo>
                  <a:pt x="154109" y="0"/>
                </a:moveTo>
                <a:cubicBezTo>
                  <a:pt x="196665" y="42556"/>
                  <a:pt x="196665" y="111552"/>
                  <a:pt x="154109" y="154108"/>
                </a:cubicBezTo>
                <a:cubicBezTo>
                  <a:pt x="139576" y="168641"/>
                  <a:pt x="121959" y="178211"/>
                  <a:pt x="102912" y="180994"/>
                </a:cubicBezTo>
                <a:lnTo>
                  <a:pt x="102912" y="308310"/>
                </a:lnTo>
                <a:lnTo>
                  <a:pt x="51197" y="308310"/>
                </a:lnTo>
                <a:lnTo>
                  <a:pt x="51197" y="180994"/>
                </a:lnTo>
                <a:cubicBezTo>
                  <a:pt x="32150" y="178211"/>
                  <a:pt x="14534" y="168641"/>
                  <a:pt x="0" y="154108"/>
                </a:cubicBezTo>
                <a:cubicBezTo>
                  <a:pt x="-42555" y="111552"/>
                  <a:pt x="-42555" y="42556"/>
                  <a:pt x="0" y="0"/>
                </a:cubicBezTo>
                <a:cubicBezTo>
                  <a:pt x="42556" y="-42556"/>
                  <a:pt x="111553" y="-42556"/>
                  <a:pt x="154109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58" name="Parallelogram 15">
            <a:extLst>
              <a:ext uri="{FF2B5EF4-FFF2-40B4-BE49-F238E27FC236}">
                <a16:creationId xmlns:a16="http://schemas.microsoft.com/office/drawing/2014/main" id="{7A9FBE9D-EE5A-4F1B-8EDD-3D011F43183E}"/>
              </a:ext>
            </a:extLst>
          </p:cNvPr>
          <p:cNvSpPr/>
          <p:nvPr/>
        </p:nvSpPr>
        <p:spPr>
          <a:xfrm flipH="1">
            <a:off x="5267026" y="4641909"/>
            <a:ext cx="464493" cy="464493"/>
          </a:xfrm>
          <a:custGeom>
            <a:avLst/>
            <a:gdLst/>
            <a:ahLst/>
            <a:cxnLst/>
            <a:rect l="l" t="t" r="r" b="b"/>
            <a:pathLst>
              <a:path w="3242753" h="3227814">
                <a:moveTo>
                  <a:pt x="1621376" y="1043635"/>
                </a:moveTo>
                <a:cubicBezTo>
                  <a:pt x="1557188" y="1043635"/>
                  <a:pt x="1505154" y="1095669"/>
                  <a:pt x="1505154" y="1159857"/>
                </a:cubicBezTo>
                <a:lnTo>
                  <a:pt x="1505154" y="1625483"/>
                </a:lnTo>
                <a:lnTo>
                  <a:pt x="1033577" y="1625483"/>
                </a:lnTo>
                <a:cubicBezTo>
                  <a:pt x="969389" y="1625483"/>
                  <a:pt x="917355" y="1677517"/>
                  <a:pt x="917355" y="1741705"/>
                </a:cubicBezTo>
                <a:cubicBezTo>
                  <a:pt x="917355" y="1805893"/>
                  <a:pt x="969389" y="1857927"/>
                  <a:pt x="1033577" y="1857927"/>
                </a:cubicBezTo>
                <a:lnTo>
                  <a:pt x="1614688" y="1857927"/>
                </a:lnTo>
                <a:lnTo>
                  <a:pt x="1619859" y="1856884"/>
                </a:lnTo>
                <a:cubicBezTo>
                  <a:pt x="1620361" y="1857187"/>
                  <a:pt x="1620868" y="1857190"/>
                  <a:pt x="1621376" y="1857190"/>
                </a:cubicBezTo>
                <a:cubicBezTo>
                  <a:pt x="1685564" y="1857190"/>
                  <a:pt x="1737598" y="1805156"/>
                  <a:pt x="1737598" y="1740968"/>
                </a:cubicBezTo>
                <a:lnTo>
                  <a:pt x="1737598" y="1159857"/>
                </a:lnTo>
                <a:cubicBezTo>
                  <a:pt x="1737598" y="1095669"/>
                  <a:pt x="1685564" y="1043635"/>
                  <a:pt x="1621376" y="1043635"/>
                </a:cubicBezTo>
                <a:close/>
                <a:moveTo>
                  <a:pt x="1621376" y="628818"/>
                </a:moveTo>
                <a:cubicBezTo>
                  <a:pt x="2206882" y="628818"/>
                  <a:pt x="2681529" y="1103464"/>
                  <a:pt x="2681529" y="1688970"/>
                </a:cubicBezTo>
                <a:cubicBezTo>
                  <a:pt x="2681529" y="2274476"/>
                  <a:pt x="2206882" y="2749122"/>
                  <a:pt x="1621376" y="2749122"/>
                </a:cubicBezTo>
                <a:cubicBezTo>
                  <a:pt x="1035870" y="2749122"/>
                  <a:pt x="561223" y="2274476"/>
                  <a:pt x="561223" y="1688970"/>
                </a:cubicBezTo>
                <a:cubicBezTo>
                  <a:pt x="561223" y="1103464"/>
                  <a:pt x="1035870" y="628818"/>
                  <a:pt x="1621376" y="628818"/>
                </a:cubicBezTo>
                <a:close/>
                <a:moveTo>
                  <a:pt x="1621376" y="424596"/>
                </a:moveTo>
                <a:cubicBezTo>
                  <a:pt x="923081" y="424596"/>
                  <a:pt x="357001" y="990676"/>
                  <a:pt x="357001" y="1688970"/>
                </a:cubicBezTo>
                <a:cubicBezTo>
                  <a:pt x="357001" y="2128645"/>
                  <a:pt x="581423" y="2515905"/>
                  <a:pt x="922189" y="2742109"/>
                </a:cubicBezTo>
                <a:lnTo>
                  <a:pt x="652992" y="3227814"/>
                </a:lnTo>
                <a:lnTo>
                  <a:pt x="911997" y="3227814"/>
                </a:lnTo>
                <a:lnTo>
                  <a:pt x="1121304" y="2850168"/>
                </a:lnTo>
                <a:cubicBezTo>
                  <a:pt x="1274563" y="2916691"/>
                  <a:pt x="1443689" y="2953344"/>
                  <a:pt x="1621376" y="2953344"/>
                </a:cubicBezTo>
                <a:cubicBezTo>
                  <a:pt x="1799063" y="2953344"/>
                  <a:pt x="1968189" y="2916691"/>
                  <a:pt x="2121449" y="2850168"/>
                </a:cubicBezTo>
                <a:lnTo>
                  <a:pt x="2330755" y="3227814"/>
                </a:lnTo>
                <a:lnTo>
                  <a:pt x="2589760" y="3227814"/>
                </a:lnTo>
                <a:lnTo>
                  <a:pt x="2320563" y="2742109"/>
                </a:lnTo>
                <a:cubicBezTo>
                  <a:pt x="2661329" y="2515905"/>
                  <a:pt x="2885751" y="2128645"/>
                  <a:pt x="2885751" y="1688970"/>
                </a:cubicBezTo>
                <a:cubicBezTo>
                  <a:pt x="2885751" y="990676"/>
                  <a:pt x="2319671" y="424596"/>
                  <a:pt x="1621376" y="424596"/>
                </a:cubicBezTo>
                <a:close/>
                <a:moveTo>
                  <a:pt x="2599800" y="123238"/>
                </a:moveTo>
                <a:cubicBezTo>
                  <a:pt x="2434609" y="120698"/>
                  <a:pt x="2268460" y="180476"/>
                  <a:pt x="2139563" y="303161"/>
                </a:cubicBezTo>
                <a:lnTo>
                  <a:pt x="3057258" y="1232053"/>
                </a:lnTo>
                <a:cubicBezTo>
                  <a:pt x="3305736" y="977255"/>
                  <a:pt x="3304415" y="570405"/>
                  <a:pt x="3054287" y="317226"/>
                </a:cubicBezTo>
                <a:cubicBezTo>
                  <a:pt x="2929224" y="190636"/>
                  <a:pt x="2764991" y="125778"/>
                  <a:pt x="2599800" y="123238"/>
                </a:cubicBezTo>
                <a:close/>
                <a:moveTo>
                  <a:pt x="642953" y="123238"/>
                </a:moveTo>
                <a:cubicBezTo>
                  <a:pt x="477762" y="125778"/>
                  <a:pt x="313529" y="190636"/>
                  <a:pt x="188466" y="317226"/>
                </a:cubicBezTo>
                <a:cubicBezTo>
                  <a:pt x="-61662" y="570405"/>
                  <a:pt x="-62983" y="977255"/>
                  <a:pt x="185495" y="1232053"/>
                </a:cubicBezTo>
                <a:lnTo>
                  <a:pt x="1103190" y="303161"/>
                </a:lnTo>
                <a:cubicBezTo>
                  <a:pt x="974294" y="180476"/>
                  <a:pt x="808144" y="120698"/>
                  <a:pt x="642953" y="123238"/>
                </a:cubicBezTo>
                <a:close/>
                <a:moveTo>
                  <a:pt x="1722692" y="0"/>
                </a:moveTo>
                <a:lnTo>
                  <a:pt x="1520061" y="0"/>
                </a:lnTo>
                <a:cubicBezTo>
                  <a:pt x="1440152" y="0"/>
                  <a:pt x="1375373" y="64779"/>
                  <a:pt x="1375373" y="144688"/>
                </a:cubicBezTo>
                <a:lnTo>
                  <a:pt x="1375373" y="289376"/>
                </a:lnTo>
                <a:lnTo>
                  <a:pt x="1867380" y="289376"/>
                </a:lnTo>
                <a:lnTo>
                  <a:pt x="1867380" y="144688"/>
                </a:lnTo>
                <a:cubicBezTo>
                  <a:pt x="1867380" y="64779"/>
                  <a:pt x="1802601" y="0"/>
                  <a:pt x="1722692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59" name="Freeform 19">
            <a:extLst>
              <a:ext uri="{FF2B5EF4-FFF2-40B4-BE49-F238E27FC236}">
                <a16:creationId xmlns:a16="http://schemas.microsoft.com/office/drawing/2014/main" id="{DD59881D-26FD-493B-8AE1-06C59DF34840}"/>
              </a:ext>
            </a:extLst>
          </p:cNvPr>
          <p:cNvSpPr/>
          <p:nvPr/>
        </p:nvSpPr>
        <p:spPr>
          <a:xfrm>
            <a:off x="7745410" y="3642506"/>
            <a:ext cx="460778" cy="453389"/>
          </a:xfrm>
          <a:custGeom>
            <a:avLst/>
            <a:gdLst/>
            <a:ahLst/>
            <a:cxnLst/>
            <a:rect l="l" t="t" r="r" b="b"/>
            <a:pathLst>
              <a:path w="3214097" h="3162551">
                <a:moveTo>
                  <a:pt x="1014592" y="2306036"/>
                </a:moveTo>
                <a:cubicBezTo>
                  <a:pt x="854868" y="2306036"/>
                  <a:pt x="725386" y="2435518"/>
                  <a:pt x="725386" y="2595242"/>
                </a:cubicBezTo>
                <a:cubicBezTo>
                  <a:pt x="725386" y="2754966"/>
                  <a:pt x="854868" y="2884448"/>
                  <a:pt x="1014592" y="2884448"/>
                </a:cubicBezTo>
                <a:cubicBezTo>
                  <a:pt x="1174316" y="2884448"/>
                  <a:pt x="1303798" y="2754966"/>
                  <a:pt x="1303798" y="2595242"/>
                </a:cubicBezTo>
                <a:cubicBezTo>
                  <a:pt x="1303798" y="2435518"/>
                  <a:pt x="1174316" y="2306036"/>
                  <a:pt x="1014592" y="2306036"/>
                </a:cubicBezTo>
                <a:close/>
                <a:moveTo>
                  <a:pt x="481275" y="1691816"/>
                </a:moveTo>
                <a:cubicBezTo>
                  <a:pt x="321551" y="1691816"/>
                  <a:pt x="192069" y="1821298"/>
                  <a:pt x="192069" y="1981022"/>
                </a:cubicBezTo>
                <a:cubicBezTo>
                  <a:pt x="192069" y="2140746"/>
                  <a:pt x="321551" y="2270228"/>
                  <a:pt x="481275" y="2270228"/>
                </a:cubicBezTo>
                <a:cubicBezTo>
                  <a:pt x="640999" y="2270228"/>
                  <a:pt x="770481" y="2140746"/>
                  <a:pt x="770481" y="1981022"/>
                </a:cubicBezTo>
                <a:cubicBezTo>
                  <a:pt x="770481" y="1821298"/>
                  <a:pt x="640999" y="1691816"/>
                  <a:pt x="481275" y="1691816"/>
                </a:cubicBezTo>
                <a:close/>
                <a:moveTo>
                  <a:pt x="2764751" y="1113404"/>
                </a:moveTo>
                <a:cubicBezTo>
                  <a:pt x="2605027" y="1113404"/>
                  <a:pt x="2475545" y="1242886"/>
                  <a:pt x="2475545" y="1402610"/>
                </a:cubicBezTo>
                <a:cubicBezTo>
                  <a:pt x="2475545" y="1562334"/>
                  <a:pt x="2605027" y="1691816"/>
                  <a:pt x="2764751" y="1691816"/>
                </a:cubicBezTo>
                <a:cubicBezTo>
                  <a:pt x="2924475" y="1691816"/>
                  <a:pt x="3053957" y="1562334"/>
                  <a:pt x="3053957" y="1402610"/>
                </a:cubicBezTo>
                <a:cubicBezTo>
                  <a:pt x="3053957" y="1242886"/>
                  <a:pt x="2924475" y="1113404"/>
                  <a:pt x="2764751" y="1113404"/>
                </a:cubicBezTo>
                <a:close/>
                <a:moveTo>
                  <a:pt x="532503" y="881964"/>
                </a:moveTo>
                <a:cubicBezTo>
                  <a:pt x="372779" y="881964"/>
                  <a:pt x="243297" y="1011446"/>
                  <a:pt x="243297" y="1171170"/>
                </a:cubicBezTo>
                <a:cubicBezTo>
                  <a:pt x="243297" y="1330894"/>
                  <a:pt x="372779" y="1460376"/>
                  <a:pt x="532503" y="1460376"/>
                </a:cubicBezTo>
                <a:cubicBezTo>
                  <a:pt x="692227" y="1460376"/>
                  <a:pt x="821709" y="1330894"/>
                  <a:pt x="821709" y="1171170"/>
                </a:cubicBezTo>
                <a:cubicBezTo>
                  <a:pt x="821709" y="1011446"/>
                  <a:pt x="692227" y="881964"/>
                  <a:pt x="532503" y="881964"/>
                </a:cubicBezTo>
                <a:close/>
                <a:moveTo>
                  <a:pt x="1162143" y="321316"/>
                </a:moveTo>
                <a:cubicBezTo>
                  <a:pt x="1002419" y="321316"/>
                  <a:pt x="872937" y="450798"/>
                  <a:pt x="872937" y="610522"/>
                </a:cubicBezTo>
                <a:cubicBezTo>
                  <a:pt x="872937" y="770246"/>
                  <a:pt x="1002419" y="899728"/>
                  <a:pt x="1162143" y="899728"/>
                </a:cubicBezTo>
                <a:cubicBezTo>
                  <a:pt x="1321867" y="899728"/>
                  <a:pt x="1451349" y="770246"/>
                  <a:pt x="1451349" y="610522"/>
                </a:cubicBezTo>
                <a:cubicBezTo>
                  <a:pt x="1451349" y="450798"/>
                  <a:pt x="1321867" y="321316"/>
                  <a:pt x="1162143" y="321316"/>
                </a:cubicBezTo>
                <a:close/>
                <a:moveTo>
                  <a:pt x="1963447" y="177300"/>
                </a:moveTo>
                <a:cubicBezTo>
                  <a:pt x="1803723" y="177300"/>
                  <a:pt x="1674241" y="306782"/>
                  <a:pt x="1674241" y="466506"/>
                </a:cubicBezTo>
                <a:cubicBezTo>
                  <a:pt x="1674241" y="626230"/>
                  <a:pt x="1803723" y="755712"/>
                  <a:pt x="1963447" y="755712"/>
                </a:cubicBezTo>
                <a:cubicBezTo>
                  <a:pt x="2123171" y="755712"/>
                  <a:pt x="2252653" y="626230"/>
                  <a:pt x="2252653" y="466506"/>
                </a:cubicBezTo>
                <a:cubicBezTo>
                  <a:pt x="2252653" y="306782"/>
                  <a:pt x="2123171" y="177300"/>
                  <a:pt x="1963447" y="177300"/>
                </a:cubicBezTo>
                <a:close/>
                <a:moveTo>
                  <a:pt x="1752672" y="312"/>
                </a:moveTo>
                <a:cubicBezTo>
                  <a:pt x="1817888" y="-690"/>
                  <a:pt x="1885249" y="703"/>
                  <a:pt x="1954799" y="4657"/>
                </a:cubicBezTo>
                <a:cubicBezTo>
                  <a:pt x="2504015" y="53541"/>
                  <a:pt x="2975590" y="412975"/>
                  <a:pt x="3145244" y="944937"/>
                </a:cubicBezTo>
                <a:cubicBezTo>
                  <a:pt x="3412664" y="2126757"/>
                  <a:pt x="2837568" y="2017487"/>
                  <a:pt x="2506889" y="1867964"/>
                </a:cubicBezTo>
                <a:cubicBezTo>
                  <a:pt x="1580987" y="1673869"/>
                  <a:pt x="2725425" y="3197869"/>
                  <a:pt x="1014520" y="3161925"/>
                </a:cubicBezTo>
                <a:cubicBezTo>
                  <a:pt x="-14898" y="3061283"/>
                  <a:pt x="-138545" y="1873713"/>
                  <a:pt x="108747" y="1100212"/>
                </a:cubicBezTo>
                <a:cubicBezTo>
                  <a:pt x="278579" y="569148"/>
                  <a:pt x="774429" y="15339"/>
                  <a:pt x="1752672" y="31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60" name="Rectangle 30">
            <a:extLst>
              <a:ext uri="{FF2B5EF4-FFF2-40B4-BE49-F238E27FC236}">
                <a16:creationId xmlns:a16="http://schemas.microsoft.com/office/drawing/2014/main" id="{3BFEE74E-183A-4C32-9BDF-AC2573B061E0}"/>
              </a:ext>
            </a:extLst>
          </p:cNvPr>
          <p:cNvSpPr/>
          <p:nvPr/>
        </p:nvSpPr>
        <p:spPr>
          <a:xfrm>
            <a:off x="11063701" y="3600566"/>
            <a:ext cx="464493" cy="463135"/>
          </a:xfrm>
          <a:custGeom>
            <a:avLst/>
            <a:gdLst/>
            <a:ahLst/>
            <a:cxnLst/>
            <a:rect l="l" t="t" r="r" b="b"/>
            <a:pathLst>
              <a:path w="3240000" h="3230531">
                <a:moveTo>
                  <a:pt x="720000" y="2697973"/>
                </a:moveTo>
                <a:cubicBezTo>
                  <a:pt x="680235" y="2697973"/>
                  <a:pt x="648000" y="2730208"/>
                  <a:pt x="648000" y="2769973"/>
                </a:cubicBezTo>
                <a:cubicBezTo>
                  <a:pt x="648000" y="2809738"/>
                  <a:pt x="680235" y="2841973"/>
                  <a:pt x="720000" y="2841973"/>
                </a:cubicBezTo>
                <a:lnTo>
                  <a:pt x="2520000" y="2841973"/>
                </a:lnTo>
                <a:cubicBezTo>
                  <a:pt x="2559765" y="2841973"/>
                  <a:pt x="2592000" y="2809738"/>
                  <a:pt x="2592000" y="2769973"/>
                </a:cubicBezTo>
                <a:cubicBezTo>
                  <a:pt x="2592000" y="2730208"/>
                  <a:pt x="2559765" y="2697973"/>
                  <a:pt x="2520000" y="2697973"/>
                </a:cubicBezTo>
                <a:close/>
                <a:moveTo>
                  <a:pt x="720000" y="2366733"/>
                </a:moveTo>
                <a:cubicBezTo>
                  <a:pt x="680235" y="2366733"/>
                  <a:pt x="648000" y="2398968"/>
                  <a:pt x="648000" y="2438733"/>
                </a:cubicBezTo>
                <a:cubicBezTo>
                  <a:pt x="648000" y="2478498"/>
                  <a:pt x="680235" y="2510733"/>
                  <a:pt x="720000" y="2510733"/>
                </a:cubicBezTo>
                <a:lnTo>
                  <a:pt x="2520000" y="2510733"/>
                </a:lnTo>
                <a:cubicBezTo>
                  <a:pt x="2559765" y="2510733"/>
                  <a:pt x="2592000" y="2478498"/>
                  <a:pt x="2592000" y="2438733"/>
                </a:cubicBezTo>
                <a:cubicBezTo>
                  <a:pt x="2592000" y="2398968"/>
                  <a:pt x="2559765" y="2366733"/>
                  <a:pt x="2520000" y="2366733"/>
                </a:cubicBezTo>
                <a:close/>
                <a:moveTo>
                  <a:pt x="720000" y="2035493"/>
                </a:moveTo>
                <a:cubicBezTo>
                  <a:pt x="680235" y="2035493"/>
                  <a:pt x="648000" y="2067728"/>
                  <a:pt x="648000" y="2107493"/>
                </a:cubicBezTo>
                <a:cubicBezTo>
                  <a:pt x="648000" y="2147258"/>
                  <a:pt x="680235" y="2179493"/>
                  <a:pt x="720000" y="2179493"/>
                </a:cubicBezTo>
                <a:lnTo>
                  <a:pt x="2520000" y="2179493"/>
                </a:lnTo>
                <a:cubicBezTo>
                  <a:pt x="2559765" y="2179493"/>
                  <a:pt x="2592000" y="2147258"/>
                  <a:pt x="2592000" y="2107493"/>
                </a:cubicBezTo>
                <a:cubicBezTo>
                  <a:pt x="2592000" y="2067728"/>
                  <a:pt x="2559765" y="2035493"/>
                  <a:pt x="2520000" y="2035493"/>
                </a:cubicBezTo>
                <a:close/>
                <a:moveTo>
                  <a:pt x="720000" y="1704253"/>
                </a:moveTo>
                <a:cubicBezTo>
                  <a:pt x="680235" y="1704253"/>
                  <a:pt x="648000" y="1736488"/>
                  <a:pt x="648000" y="1776253"/>
                </a:cubicBezTo>
                <a:cubicBezTo>
                  <a:pt x="648000" y="1816018"/>
                  <a:pt x="680235" y="1848253"/>
                  <a:pt x="720000" y="1848253"/>
                </a:cubicBezTo>
                <a:lnTo>
                  <a:pt x="2520000" y="1848253"/>
                </a:lnTo>
                <a:cubicBezTo>
                  <a:pt x="2559765" y="1848253"/>
                  <a:pt x="2592000" y="1816018"/>
                  <a:pt x="2592000" y="1776253"/>
                </a:cubicBezTo>
                <a:cubicBezTo>
                  <a:pt x="2592000" y="1736488"/>
                  <a:pt x="2559765" y="1704253"/>
                  <a:pt x="2520000" y="1704253"/>
                </a:cubicBezTo>
                <a:close/>
                <a:moveTo>
                  <a:pt x="720000" y="1373013"/>
                </a:moveTo>
                <a:cubicBezTo>
                  <a:pt x="680235" y="1373013"/>
                  <a:pt x="648000" y="1405248"/>
                  <a:pt x="648000" y="1445013"/>
                </a:cubicBezTo>
                <a:cubicBezTo>
                  <a:pt x="648000" y="1484778"/>
                  <a:pt x="680235" y="1517013"/>
                  <a:pt x="720000" y="1517013"/>
                </a:cubicBezTo>
                <a:lnTo>
                  <a:pt x="2520000" y="1517013"/>
                </a:lnTo>
                <a:cubicBezTo>
                  <a:pt x="2559765" y="1517013"/>
                  <a:pt x="2592000" y="1484778"/>
                  <a:pt x="2592000" y="1445013"/>
                </a:cubicBezTo>
                <a:cubicBezTo>
                  <a:pt x="2592000" y="1405248"/>
                  <a:pt x="2559765" y="1373013"/>
                  <a:pt x="2520000" y="1373013"/>
                </a:cubicBezTo>
                <a:close/>
                <a:moveTo>
                  <a:pt x="720000" y="1041773"/>
                </a:moveTo>
                <a:cubicBezTo>
                  <a:pt x="680235" y="1041773"/>
                  <a:pt x="648000" y="1074008"/>
                  <a:pt x="648000" y="1113773"/>
                </a:cubicBezTo>
                <a:cubicBezTo>
                  <a:pt x="648000" y="1153538"/>
                  <a:pt x="680235" y="1185773"/>
                  <a:pt x="720000" y="1185773"/>
                </a:cubicBezTo>
                <a:lnTo>
                  <a:pt x="2520000" y="1185773"/>
                </a:lnTo>
                <a:cubicBezTo>
                  <a:pt x="2559765" y="1185773"/>
                  <a:pt x="2592000" y="1153538"/>
                  <a:pt x="2592000" y="1113773"/>
                </a:cubicBezTo>
                <a:cubicBezTo>
                  <a:pt x="2592000" y="1074008"/>
                  <a:pt x="2559765" y="1041773"/>
                  <a:pt x="2520000" y="1041773"/>
                </a:cubicBezTo>
                <a:close/>
                <a:moveTo>
                  <a:pt x="0" y="305988"/>
                </a:moveTo>
                <a:lnTo>
                  <a:pt x="181957" y="305988"/>
                </a:lnTo>
                <a:lnTo>
                  <a:pt x="181957" y="470032"/>
                </a:lnTo>
                <a:cubicBezTo>
                  <a:pt x="181957" y="599267"/>
                  <a:pt x="286722" y="704032"/>
                  <a:pt x="415957" y="704032"/>
                </a:cubicBezTo>
                <a:cubicBezTo>
                  <a:pt x="545192" y="704032"/>
                  <a:pt x="649957" y="599267"/>
                  <a:pt x="649957" y="470032"/>
                </a:cubicBezTo>
                <a:lnTo>
                  <a:pt x="649957" y="305988"/>
                </a:lnTo>
                <a:lnTo>
                  <a:pt x="802357" y="305988"/>
                </a:lnTo>
                <a:lnTo>
                  <a:pt x="802357" y="470031"/>
                </a:lnTo>
                <a:cubicBezTo>
                  <a:pt x="802357" y="599266"/>
                  <a:pt x="907122" y="704031"/>
                  <a:pt x="1036357" y="704031"/>
                </a:cubicBezTo>
                <a:cubicBezTo>
                  <a:pt x="1165592" y="704031"/>
                  <a:pt x="1270357" y="599266"/>
                  <a:pt x="1270357" y="470031"/>
                </a:cubicBezTo>
                <a:lnTo>
                  <a:pt x="1270357" y="305988"/>
                </a:lnTo>
                <a:lnTo>
                  <a:pt x="1422757" y="305988"/>
                </a:lnTo>
                <a:lnTo>
                  <a:pt x="1422757" y="470030"/>
                </a:lnTo>
                <a:cubicBezTo>
                  <a:pt x="1422757" y="599265"/>
                  <a:pt x="1527522" y="704030"/>
                  <a:pt x="1656757" y="704030"/>
                </a:cubicBezTo>
                <a:cubicBezTo>
                  <a:pt x="1785992" y="704030"/>
                  <a:pt x="1890757" y="599265"/>
                  <a:pt x="1890757" y="470030"/>
                </a:cubicBezTo>
                <a:lnTo>
                  <a:pt x="1890757" y="305988"/>
                </a:lnTo>
                <a:lnTo>
                  <a:pt x="2043157" y="305988"/>
                </a:lnTo>
                <a:lnTo>
                  <a:pt x="2043157" y="470029"/>
                </a:lnTo>
                <a:cubicBezTo>
                  <a:pt x="2043157" y="599264"/>
                  <a:pt x="2147922" y="704029"/>
                  <a:pt x="2277157" y="704029"/>
                </a:cubicBezTo>
                <a:cubicBezTo>
                  <a:pt x="2406392" y="704029"/>
                  <a:pt x="2511157" y="599264"/>
                  <a:pt x="2511157" y="470029"/>
                </a:cubicBezTo>
                <a:lnTo>
                  <a:pt x="2511157" y="305988"/>
                </a:lnTo>
                <a:lnTo>
                  <a:pt x="2663557" y="305988"/>
                </a:lnTo>
                <a:lnTo>
                  <a:pt x="2663557" y="470028"/>
                </a:lnTo>
                <a:cubicBezTo>
                  <a:pt x="2663557" y="599263"/>
                  <a:pt x="2768322" y="704028"/>
                  <a:pt x="2897557" y="704028"/>
                </a:cubicBezTo>
                <a:cubicBezTo>
                  <a:pt x="3026792" y="704028"/>
                  <a:pt x="3131557" y="599263"/>
                  <a:pt x="3131557" y="470028"/>
                </a:cubicBezTo>
                <a:lnTo>
                  <a:pt x="3131557" y="305988"/>
                </a:lnTo>
                <a:lnTo>
                  <a:pt x="3240000" y="305988"/>
                </a:lnTo>
                <a:lnTo>
                  <a:pt x="3240000" y="3230531"/>
                </a:lnTo>
                <a:lnTo>
                  <a:pt x="0" y="3230531"/>
                </a:lnTo>
                <a:close/>
                <a:moveTo>
                  <a:pt x="415957" y="4"/>
                </a:moveTo>
                <a:cubicBezTo>
                  <a:pt x="485545" y="4"/>
                  <a:pt x="541957" y="56416"/>
                  <a:pt x="541957" y="126004"/>
                </a:cubicBezTo>
                <a:lnTo>
                  <a:pt x="541957" y="485972"/>
                </a:lnTo>
                <a:cubicBezTo>
                  <a:pt x="541957" y="555560"/>
                  <a:pt x="485545" y="611972"/>
                  <a:pt x="415957" y="611972"/>
                </a:cubicBezTo>
                <a:cubicBezTo>
                  <a:pt x="346369" y="611972"/>
                  <a:pt x="289957" y="555560"/>
                  <a:pt x="289957" y="485972"/>
                </a:cubicBezTo>
                <a:lnTo>
                  <a:pt x="289957" y="126004"/>
                </a:lnTo>
                <a:cubicBezTo>
                  <a:pt x="289957" y="56416"/>
                  <a:pt x="346369" y="4"/>
                  <a:pt x="415957" y="4"/>
                </a:cubicBezTo>
                <a:close/>
                <a:moveTo>
                  <a:pt x="1036357" y="3"/>
                </a:moveTo>
                <a:cubicBezTo>
                  <a:pt x="1105945" y="3"/>
                  <a:pt x="1162357" y="56415"/>
                  <a:pt x="1162357" y="126003"/>
                </a:cubicBezTo>
                <a:lnTo>
                  <a:pt x="1162357" y="485971"/>
                </a:lnTo>
                <a:cubicBezTo>
                  <a:pt x="1162357" y="555559"/>
                  <a:pt x="1105945" y="611971"/>
                  <a:pt x="1036357" y="611971"/>
                </a:cubicBezTo>
                <a:cubicBezTo>
                  <a:pt x="966769" y="611971"/>
                  <a:pt x="910357" y="555559"/>
                  <a:pt x="910357" y="485971"/>
                </a:cubicBezTo>
                <a:lnTo>
                  <a:pt x="910357" y="126003"/>
                </a:lnTo>
                <a:cubicBezTo>
                  <a:pt x="910357" y="56415"/>
                  <a:pt x="966769" y="3"/>
                  <a:pt x="1036357" y="3"/>
                </a:cubicBezTo>
                <a:close/>
                <a:moveTo>
                  <a:pt x="1656757" y="2"/>
                </a:moveTo>
                <a:cubicBezTo>
                  <a:pt x="1726345" y="2"/>
                  <a:pt x="1782757" y="56414"/>
                  <a:pt x="1782757" y="126002"/>
                </a:cubicBezTo>
                <a:lnTo>
                  <a:pt x="1782757" y="485970"/>
                </a:lnTo>
                <a:cubicBezTo>
                  <a:pt x="1782757" y="555558"/>
                  <a:pt x="1726345" y="611970"/>
                  <a:pt x="1656757" y="611970"/>
                </a:cubicBezTo>
                <a:cubicBezTo>
                  <a:pt x="1587169" y="611970"/>
                  <a:pt x="1530757" y="555558"/>
                  <a:pt x="1530757" y="485970"/>
                </a:cubicBezTo>
                <a:lnTo>
                  <a:pt x="1530757" y="126002"/>
                </a:lnTo>
                <a:cubicBezTo>
                  <a:pt x="1530757" y="56414"/>
                  <a:pt x="1587169" y="2"/>
                  <a:pt x="1656757" y="2"/>
                </a:cubicBezTo>
                <a:close/>
                <a:moveTo>
                  <a:pt x="2277157" y="1"/>
                </a:moveTo>
                <a:cubicBezTo>
                  <a:pt x="2346745" y="1"/>
                  <a:pt x="2403157" y="56413"/>
                  <a:pt x="2403157" y="126001"/>
                </a:cubicBezTo>
                <a:lnTo>
                  <a:pt x="2403157" y="485969"/>
                </a:lnTo>
                <a:cubicBezTo>
                  <a:pt x="2403157" y="555557"/>
                  <a:pt x="2346745" y="611969"/>
                  <a:pt x="2277157" y="611969"/>
                </a:cubicBezTo>
                <a:cubicBezTo>
                  <a:pt x="2207569" y="611969"/>
                  <a:pt x="2151157" y="555557"/>
                  <a:pt x="2151157" y="485969"/>
                </a:cubicBezTo>
                <a:lnTo>
                  <a:pt x="2151157" y="126001"/>
                </a:lnTo>
                <a:cubicBezTo>
                  <a:pt x="2151157" y="56413"/>
                  <a:pt x="2207569" y="1"/>
                  <a:pt x="2277157" y="1"/>
                </a:cubicBezTo>
                <a:close/>
                <a:moveTo>
                  <a:pt x="2897557" y="0"/>
                </a:moveTo>
                <a:cubicBezTo>
                  <a:pt x="2967145" y="0"/>
                  <a:pt x="3023557" y="56412"/>
                  <a:pt x="3023557" y="126000"/>
                </a:cubicBezTo>
                <a:lnTo>
                  <a:pt x="3023557" y="485968"/>
                </a:lnTo>
                <a:cubicBezTo>
                  <a:pt x="3023557" y="555556"/>
                  <a:pt x="2967145" y="611968"/>
                  <a:pt x="2897557" y="611968"/>
                </a:cubicBezTo>
                <a:cubicBezTo>
                  <a:pt x="2827969" y="611968"/>
                  <a:pt x="2771557" y="555556"/>
                  <a:pt x="2771557" y="485968"/>
                </a:cubicBezTo>
                <a:lnTo>
                  <a:pt x="2771557" y="126000"/>
                </a:lnTo>
                <a:cubicBezTo>
                  <a:pt x="2771557" y="56412"/>
                  <a:pt x="2827969" y="0"/>
                  <a:pt x="2897557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61" name="Rectangle 7">
            <a:extLst>
              <a:ext uri="{FF2B5EF4-FFF2-40B4-BE49-F238E27FC236}">
                <a16:creationId xmlns:a16="http://schemas.microsoft.com/office/drawing/2014/main" id="{A2454068-D6A0-42C7-BCE1-D03833DCF2E4}"/>
              </a:ext>
            </a:extLst>
          </p:cNvPr>
          <p:cNvSpPr/>
          <p:nvPr/>
        </p:nvSpPr>
        <p:spPr>
          <a:xfrm>
            <a:off x="6950824" y="1518716"/>
            <a:ext cx="471567" cy="471567"/>
          </a:xfrm>
          <a:custGeom>
            <a:avLst/>
            <a:gdLst/>
            <a:ahLst/>
            <a:cxnLst/>
            <a:rect l="l" t="t" r="r" b="b"/>
            <a:pathLst>
              <a:path w="3240000" h="3240000">
                <a:moveTo>
                  <a:pt x="401869" y="2055482"/>
                </a:moveTo>
                <a:lnTo>
                  <a:pt x="869869" y="2055482"/>
                </a:lnTo>
                <a:lnTo>
                  <a:pt x="869869" y="2919482"/>
                </a:lnTo>
                <a:lnTo>
                  <a:pt x="401869" y="2919482"/>
                </a:lnTo>
                <a:close/>
                <a:moveTo>
                  <a:pt x="1121949" y="1695482"/>
                </a:moveTo>
                <a:lnTo>
                  <a:pt x="1589949" y="1695482"/>
                </a:lnTo>
                <a:lnTo>
                  <a:pt x="1589949" y="2919482"/>
                </a:lnTo>
                <a:lnTo>
                  <a:pt x="1121949" y="2919482"/>
                </a:lnTo>
                <a:close/>
                <a:moveTo>
                  <a:pt x="1842029" y="1335482"/>
                </a:moveTo>
                <a:lnTo>
                  <a:pt x="2310029" y="1335482"/>
                </a:lnTo>
                <a:lnTo>
                  <a:pt x="2310029" y="2919482"/>
                </a:lnTo>
                <a:lnTo>
                  <a:pt x="1842029" y="2919482"/>
                </a:lnTo>
                <a:close/>
                <a:moveTo>
                  <a:pt x="2562109" y="975482"/>
                </a:moveTo>
                <a:lnTo>
                  <a:pt x="3030109" y="975482"/>
                </a:lnTo>
                <a:lnTo>
                  <a:pt x="3030109" y="2919482"/>
                </a:lnTo>
                <a:lnTo>
                  <a:pt x="2562109" y="2919482"/>
                </a:lnTo>
                <a:close/>
                <a:moveTo>
                  <a:pt x="2321888" y="224805"/>
                </a:moveTo>
                <a:lnTo>
                  <a:pt x="2880631" y="247420"/>
                </a:lnTo>
                <a:lnTo>
                  <a:pt x="2620844" y="742612"/>
                </a:lnTo>
                <a:lnTo>
                  <a:pt x="2546105" y="613161"/>
                </a:lnTo>
                <a:lnTo>
                  <a:pt x="541555" y="1770488"/>
                </a:lnTo>
                <a:lnTo>
                  <a:pt x="392077" y="1511585"/>
                </a:lnTo>
                <a:lnTo>
                  <a:pt x="2396627" y="354257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3059999"/>
                </a:lnTo>
                <a:lnTo>
                  <a:pt x="3240000" y="3059999"/>
                </a:lnTo>
                <a:lnTo>
                  <a:pt x="3240000" y="3239999"/>
                </a:lnTo>
                <a:lnTo>
                  <a:pt x="180000" y="3239999"/>
                </a:lnTo>
                <a:lnTo>
                  <a:pt x="180000" y="3240000"/>
                </a:lnTo>
                <a:lnTo>
                  <a:pt x="0" y="3240000"/>
                </a:lnTo>
                <a:lnTo>
                  <a:pt x="0" y="3239999"/>
                </a:lnTo>
                <a:lnTo>
                  <a:pt x="0" y="305999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62" name="Rectangle 15">
            <a:extLst>
              <a:ext uri="{FF2B5EF4-FFF2-40B4-BE49-F238E27FC236}">
                <a16:creationId xmlns:a16="http://schemas.microsoft.com/office/drawing/2014/main" id="{ECBB7944-2021-44C3-960E-8480CFC6DEF9}"/>
              </a:ext>
            </a:extLst>
          </p:cNvPr>
          <p:cNvSpPr/>
          <p:nvPr/>
        </p:nvSpPr>
        <p:spPr>
          <a:xfrm rot="5400000">
            <a:off x="7737684" y="1518715"/>
            <a:ext cx="472195" cy="471568"/>
          </a:xfrm>
          <a:custGeom>
            <a:avLst/>
            <a:gdLst/>
            <a:ahLst/>
            <a:cxnLst/>
            <a:rect l="l" t="t" r="r" b="b"/>
            <a:pathLst>
              <a:path w="3244313" h="3240000">
                <a:moveTo>
                  <a:pt x="2055482" y="677891"/>
                </a:moveTo>
                <a:lnTo>
                  <a:pt x="2055482" y="209891"/>
                </a:lnTo>
                <a:lnTo>
                  <a:pt x="2919482" y="209891"/>
                </a:lnTo>
                <a:lnTo>
                  <a:pt x="2919482" y="677891"/>
                </a:lnTo>
                <a:close/>
                <a:moveTo>
                  <a:pt x="1695482" y="1397971"/>
                </a:moveTo>
                <a:lnTo>
                  <a:pt x="1695482" y="929971"/>
                </a:lnTo>
                <a:lnTo>
                  <a:pt x="2919482" y="929971"/>
                </a:lnTo>
                <a:lnTo>
                  <a:pt x="2919482" y="1397971"/>
                </a:lnTo>
                <a:close/>
                <a:moveTo>
                  <a:pt x="1335482" y="2118051"/>
                </a:moveTo>
                <a:lnTo>
                  <a:pt x="1335482" y="1650051"/>
                </a:lnTo>
                <a:lnTo>
                  <a:pt x="2919482" y="1650051"/>
                </a:lnTo>
                <a:lnTo>
                  <a:pt x="2919482" y="2118051"/>
                </a:lnTo>
                <a:close/>
                <a:moveTo>
                  <a:pt x="975482" y="2838131"/>
                </a:moveTo>
                <a:lnTo>
                  <a:pt x="975482" y="2370131"/>
                </a:lnTo>
                <a:lnTo>
                  <a:pt x="2919482" y="2370131"/>
                </a:lnTo>
                <a:lnTo>
                  <a:pt x="2919482" y="2838131"/>
                </a:lnTo>
                <a:close/>
                <a:moveTo>
                  <a:pt x="10788" y="2651034"/>
                </a:moveTo>
                <a:lnTo>
                  <a:pt x="1168116" y="646484"/>
                </a:lnTo>
                <a:lnTo>
                  <a:pt x="1038664" y="571745"/>
                </a:lnTo>
                <a:lnTo>
                  <a:pt x="1533856" y="311959"/>
                </a:lnTo>
                <a:lnTo>
                  <a:pt x="1556471" y="870701"/>
                </a:lnTo>
                <a:lnTo>
                  <a:pt x="1427019" y="795962"/>
                </a:lnTo>
                <a:lnTo>
                  <a:pt x="269691" y="2800512"/>
                </a:lnTo>
                <a:close/>
                <a:moveTo>
                  <a:pt x="0" y="3240000"/>
                </a:moveTo>
                <a:lnTo>
                  <a:pt x="0" y="3060000"/>
                </a:lnTo>
                <a:lnTo>
                  <a:pt x="3064313" y="3060000"/>
                </a:lnTo>
                <a:lnTo>
                  <a:pt x="3064313" y="0"/>
                </a:lnTo>
                <a:lnTo>
                  <a:pt x="3244313" y="0"/>
                </a:lnTo>
                <a:lnTo>
                  <a:pt x="3244313" y="3240000"/>
                </a:lnTo>
                <a:lnTo>
                  <a:pt x="3240000" y="3240000"/>
                </a:lnTo>
                <a:lnTo>
                  <a:pt x="3064313" y="3240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63" name="Pie 24">
            <a:extLst>
              <a:ext uri="{FF2B5EF4-FFF2-40B4-BE49-F238E27FC236}">
                <a16:creationId xmlns:a16="http://schemas.microsoft.com/office/drawing/2014/main" id="{DB38F196-AF37-4B00-AA3E-183F9372FBAD}"/>
              </a:ext>
            </a:extLst>
          </p:cNvPr>
          <p:cNvSpPr/>
          <p:nvPr/>
        </p:nvSpPr>
        <p:spPr>
          <a:xfrm>
            <a:off x="6809927" y="4618984"/>
            <a:ext cx="513183" cy="510342"/>
          </a:xfrm>
          <a:custGeom>
            <a:avLst/>
            <a:gdLst/>
            <a:ahLst/>
            <a:cxnLst/>
            <a:rect l="l" t="t" r="r" b="b"/>
            <a:pathLst>
              <a:path w="3228711" h="3210836">
                <a:moveTo>
                  <a:pt x="351626" y="695968"/>
                </a:moveTo>
                <a:lnTo>
                  <a:pt x="1548007" y="1678300"/>
                </a:lnTo>
                <a:lnTo>
                  <a:pt x="236194" y="2500159"/>
                </a:lnTo>
                <a:cubicBezTo>
                  <a:pt x="-116985" y="1936431"/>
                  <a:pt x="-70514" y="1210092"/>
                  <a:pt x="351626" y="695968"/>
                </a:cubicBezTo>
                <a:close/>
                <a:moveTo>
                  <a:pt x="1957429" y="262366"/>
                </a:moveTo>
                <a:cubicBezTo>
                  <a:pt x="2634256" y="359480"/>
                  <a:pt x="3156733" y="907132"/>
                  <a:pt x="3221913" y="1587776"/>
                </a:cubicBezTo>
                <a:cubicBezTo>
                  <a:pt x="3287093" y="2268421"/>
                  <a:pt x="2878048" y="2905277"/>
                  <a:pt x="2231953" y="3129078"/>
                </a:cubicBezTo>
                <a:cubicBezTo>
                  <a:pt x="1585858" y="3352879"/>
                  <a:pt x="870522" y="3105497"/>
                  <a:pt x="500715" y="2530372"/>
                </a:cubicBezTo>
                <a:lnTo>
                  <a:pt x="1746987" y="1729019"/>
                </a:lnTo>
                <a:close/>
                <a:moveTo>
                  <a:pt x="1604447" y="200"/>
                </a:moveTo>
                <a:cubicBezTo>
                  <a:pt x="1665125" y="-778"/>
                  <a:pt x="1726175" y="1809"/>
                  <a:pt x="1787307" y="8072"/>
                </a:cubicBezTo>
                <a:lnTo>
                  <a:pt x="1629532" y="1548011"/>
                </a:lnTo>
                <a:lnTo>
                  <a:pt x="483856" y="506987"/>
                </a:lnTo>
                <a:cubicBezTo>
                  <a:pt x="773141" y="188622"/>
                  <a:pt x="1179697" y="7051"/>
                  <a:pt x="1604447" y="20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64" name="Parallelogram 30">
            <a:extLst>
              <a:ext uri="{FF2B5EF4-FFF2-40B4-BE49-F238E27FC236}">
                <a16:creationId xmlns:a16="http://schemas.microsoft.com/office/drawing/2014/main" id="{07A9DF64-EAEC-4F98-A0C9-E2239CA0F425}"/>
              </a:ext>
            </a:extLst>
          </p:cNvPr>
          <p:cNvSpPr/>
          <p:nvPr/>
        </p:nvSpPr>
        <p:spPr>
          <a:xfrm flipH="1">
            <a:off x="11038458" y="2527766"/>
            <a:ext cx="514976" cy="516250"/>
          </a:xfrm>
          <a:custGeom>
            <a:avLst/>
            <a:gdLst/>
            <a:ahLst/>
            <a:cxnLst/>
            <a:rect l="l" t="t" r="r" b="b"/>
            <a:pathLst>
              <a:path w="3240000" h="3248012">
                <a:moveTo>
                  <a:pt x="712553" y="858820"/>
                </a:moveTo>
                <a:cubicBezTo>
                  <a:pt x="727950" y="858820"/>
                  <a:pt x="743348" y="864694"/>
                  <a:pt x="755096" y="876443"/>
                </a:cubicBezTo>
                <a:lnTo>
                  <a:pt x="1193671" y="1315016"/>
                </a:lnTo>
                <a:lnTo>
                  <a:pt x="1509169" y="999517"/>
                </a:lnTo>
                <a:cubicBezTo>
                  <a:pt x="1509517" y="999169"/>
                  <a:pt x="1509868" y="998827"/>
                  <a:pt x="1510414" y="998691"/>
                </a:cubicBezTo>
                <a:lnTo>
                  <a:pt x="1518932" y="988592"/>
                </a:lnTo>
                <a:cubicBezTo>
                  <a:pt x="1531945" y="978263"/>
                  <a:pt x="1547912" y="974188"/>
                  <a:pt x="1563209" y="975946"/>
                </a:cubicBezTo>
                <a:cubicBezTo>
                  <a:pt x="1578505" y="977705"/>
                  <a:pt x="1593131" y="985299"/>
                  <a:pt x="1603459" y="998313"/>
                </a:cubicBezTo>
                <a:lnTo>
                  <a:pt x="1892346" y="1362277"/>
                </a:lnTo>
                <a:lnTo>
                  <a:pt x="2149759" y="1177067"/>
                </a:lnTo>
                <a:lnTo>
                  <a:pt x="2151621" y="1174867"/>
                </a:lnTo>
                <a:cubicBezTo>
                  <a:pt x="2159033" y="1169006"/>
                  <a:pt x="2167397" y="1165168"/>
                  <a:pt x="2176160" y="1163802"/>
                </a:cubicBezTo>
                <a:cubicBezTo>
                  <a:pt x="2177188" y="1163485"/>
                  <a:pt x="2178237" y="1163269"/>
                  <a:pt x="2179375" y="1163558"/>
                </a:cubicBezTo>
                <a:cubicBezTo>
                  <a:pt x="2184768" y="1161771"/>
                  <a:pt x="2190389" y="1161654"/>
                  <a:pt x="2195921" y="1162300"/>
                </a:cubicBezTo>
                <a:cubicBezTo>
                  <a:pt x="2196662" y="1162386"/>
                  <a:pt x="2197402" y="1162487"/>
                  <a:pt x="2198081" y="1162987"/>
                </a:cubicBezTo>
                <a:cubicBezTo>
                  <a:pt x="2202197" y="1163290"/>
                  <a:pt x="2206218" y="1164270"/>
                  <a:pt x="2209739" y="1166702"/>
                </a:cubicBezTo>
                <a:cubicBezTo>
                  <a:pt x="2213116" y="1166857"/>
                  <a:pt x="2216051" y="1168231"/>
                  <a:pt x="2218766" y="1170038"/>
                </a:cubicBezTo>
                <a:cubicBezTo>
                  <a:pt x="2225342" y="1173160"/>
                  <a:pt x="2231151" y="1177875"/>
                  <a:pt x="2235489" y="1184194"/>
                </a:cubicBezTo>
                <a:lnTo>
                  <a:pt x="2236132" y="1184737"/>
                </a:lnTo>
                <a:lnTo>
                  <a:pt x="2236287" y="1184934"/>
                </a:lnTo>
                <a:lnTo>
                  <a:pt x="2238712" y="1187183"/>
                </a:lnTo>
                <a:cubicBezTo>
                  <a:pt x="2239115" y="1187744"/>
                  <a:pt x="2239507" y="1188310"/>
                  <a:pt x="2239574" y="1189090"/>
                </a:cubicBezTo>
                <a:lnTo>
                  <a:pt x="2540580" y="1569705"/>
                </a:lnTo>
                <a:cubicBezTo>
                  <a:pt x="2561191" y="1595768"/>
                  <a:pt x="2556772" y="1633604"/>
                  <a:pt x="2530710" y="1654215"/>
                </a:cubicBezTo>
                <a:cubicBezTo>
                  <a:pt x="2504647" y="1674827"/>
                  <a:pt x="2466811" y="1670408"/>
                  <a:pt x="2446199" y="1644345"/>
                </a:cubicBezTo>
                <a:lnTo>
                  <a:pt x="2177884" y="1305067"/>
                </a:lnTo>
                <a:lnTo>
                  <a:pt x="1934804" y="1479967"/>
                </a:lnTo>
                <a:cubicBezTo>
                  <a:pt x="1927367" y="1485317"/>
                  <a:pt x="1919123" y="1488726"/>
                  <a:pt x="1910598" y="1489881"/>
                </a:cubicBezTo>
                <a:cubicBezTo>
                  <a:pt x="1885257" y="1507791"/>
                  <a:pt x="1850121" y="1502627"/>
                  <a:pt x="1830495" y="1477903"/>
                </a:cubicBezTo>
                <a:lnTo>
                  <a:pt x="1551924" y="1126933"/>
                </a:lnTo>
                <a:lnTo>
                  <a:pt x="1239041" y="1439816"/>
                </a:lnTo>
                <a:cubicBezTo>
                  <a:pt x="1226569" y="1452288"/>
                  <a:pt x="1209983" y="1458139"/>
                  <a:pt x="1193674" y="1456888"/>
                </a:cubicBezTo>
                <a:cubicBezTo>
                  <a:pt x="1177363" y="1458142"/>
                  <a:pt x="1160774" y="1452290"/>
                  <a:pt x="1148301" y="1439816"/>
                </a:cubicBezTo>
                <a:lnTo>
                  <a:pt x="670011" y="961527"/>
                </a:lnTo>
                <a:cubicBezTo>
                  <a:pt x="646515" y="938031"/>
                  <a:pt x="646515" y="899938"/>
                  <a:pt x="670011" y="876442"/>
                </a:cubicBezTo>
                <a:cubicBezTo>
                  <a:pt x="681760" y="864694"/>
                  <a:pt x="697157" y="858820"/>
                  <a:pt x="712553" y="858820"/>
                </a:cubicBezTo>
                <a:close/>
                <a:moveTo>
                  <a:pt x="2790000" y="699581"/>
                </a:moveTo>
                <a:lnTo>
                  <a:pt x="450000" y="699581"/>
                </a:lnTo>
                <a:lnTo>
                  <a:pt x="450000" y="1851581"/>
                </a:lnTo>
                <a:lnTo>
                  <a:pt x="2790000" y="1851581"/>
                </a:lnTo>
                <a:close/>
                <a:moveTo>
                  <a:pt x="2987972" y="519497"/>
                </a:moveTo>
                <a:lnTo>
                  <a:pt x="2987972" y="2031665"/>
                </a:lnTo>
                <a:lnTo>
                  <a:pt x="252028" y="2031665"/>
                </a:lnTo>
                <a:lnTo>
                  <a:pt x="252028" y="519497"/>
                </a:lnTo>
                <a:close/>
                <a:moveTo>
                  <a:pt x="1620000" y="0"/>
                </a:moveTo>
                <a:cubicBezTo>
                  <a:pt x="1540462" y="0"/>
                  <a:pt x="1475984" y="64478"/>
                  <a:pt x="1475984" y="144016"/>
                </a:cubicBezTo>
                <a:lnTo>
                  <a:pt x="1475984" y="267469"/>
                </a:lnTo>
                <a:lnTo>
                  <a:pt x="0" y="267469"/>
                </a:lnTo>
                <a:lnTo>
                  <a:pt x="0" y="2283693"/>
                </a:lnTo>
                <a:lnTo>
                  <a:pt x="852101" y="2283693"/>
                </a:lnTo>
                <a:lnTo>
                  <a:pt x="323771" y="3248012"/>
                </a:lnTo>
                <a:lnTo>
                  <a:pt x="621526" y="3248012"/>
                </a:lnTo>
                <a:lnTo>
                  <a:pt x="1149856" y="2283693"/>
                </a:lnTo>
                <a:lnTo>
                  <a:pt x="2090146" y="2283693"/>
                </a:lnTo>
                <a:lnTo>
                  <a:pt x="2618476" y="3248012"/>
                </a:lnTo>
                <a:lnTo>
                  <a:pt x="2916231" y="3248012"/>
                </a:lnTo>
                <a:lnTo>
                  <a:pt x="2387901" y="2283693"/>
                </a:lnTo>
                <a:lnTo>
                  <a:pt x="3240000" y="2283693"/>
                </a:lnTo>
                <a:lnTo>
                  <a:pt x="3240000" y="267469"/>
                </a:lnTo>
                <a:lnTo>
                  <a:pt x="1764016" y="267469"/>
                </a:lnTo>
                <a:lnTo>
                  <a:pt x="1764016" y="144016"/>
                </a:lnTo>
                <a:cubicBezTo>
                  <a:pt x="1764016" y="64478"/>
                  <a:pt x="1699538" y="0"/>
                  <a:pt x="1620000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65" name="Block Arc 14">
            <a:extLst>
              <a:ext uri="{FF2B5EF4-FFF2-40B4-BE49-F238E27FC236}">
                <a16:creationId xmlns:a16="http://schemas.microsoft.com/office/drawing/2014/main" id="{F84CC100-88A8-4E3E-8091-D49E44C308ED}"/>
              </a:ext>
            </a:extLst>
          </p:cNvPr>
          <p:cNvSpPr/>
          <p:nvPr/>
        </p:nvSpPr>
        <p:spPr>
          <a:xfrm rot="16200000">
            <a:off x="8525358" y="1470612"/>
            <a:ext cx="567400" cy="567774"/>
          </a:xfrm>
          <a:custGeom>
            <a:avLst/>
            <a:gdLst/>
            <a:ahLst/>
            <a:cxnLst/>
            <a:rect l="l" t="t" r="r" b="b"/>
            <a:pathLst>
              <a:path w="3185463" h="3187558">
                <a:moveTo>
                  <a:pt x="764000" y="2343999"/>
                </a:moveTo>
                <a:cubicBezTo>
                  <a:pt x="566798" y="2256389"/>
                  <a:pt x="385374" y="2134753"/>
                  <a:pt x="230072" y="1981662"/>
                </a:cubicBezTo>
                <a:cubicBezTo>
                  <a:pt x="297001" y="2223876"/>
                  <a:pt x="428049" y="2439341"/>
                  <a:pt x="603989" y="2608945"/>
                </a:cubicBezTo>
                <a:cubicBezTo>
                  <a:pt x="667739" y="2525681"/>
                  <a:pt x="720588" y="2436567"/>
                  <a:pt x="764000" y="2343999"/>
                </a:cubicBezTo>
                <a:close/>
                <a:moveTo>
                  <a:pt x="783530" y="862903"/>
                </a:moveTo>
                <a:cubicBezTo>
                  <a:pt x="737619" y="760936"/>
                  <a:pt x="681240" y="662513"/>
                  <a:pt x="611676" y="571152"/>
                </a:cubicBezTo>
                <a:cubicBezTo>
                  <a:pt x="419218" y="754019"/>
                  <a:pt x="279227" y="991173"/>
                  <a:pt x="215545" y="1258034"/>
                </a:cubicBezTo>
                <a:cubicBezTo>
                  <a:pt x="378729" y="1090139"/>
                  <a:pt x="571934" y="956907"/>
                  <a:pt x="783530" y="862903"/>
                </a:cubicBezTo>
                <a:close/>
                <a:moveTo>
                  <a:pt x="935657" y="1673146"/>
                </a:moveTo>
                <a:lnTo>
                  <a:pt x="227023" y="1673146"/>
                </a:lnTo>
                <a:cubicBezTo>
                  <a:pt x="393068" y="1882941"/>
                  <a:pt x="605618" y="2045968"/>
                  <a:pt x="844267" y="2153109"/>
                </a:cubicBezTo>
                <a:cubicBezTo>
                  <a:pt x="897907" y="1997390"/>
                  <a:pt x="928862" y="1835739"/>
                  <a:pt x="935657" y="1673146"/>
                </a:cubicBezTo>
                <a:close/>
                <a:moveTo>
                  <a:pt x="935928" y="1493146"/>
                </a:moveTo>
                <a:cubicBezTo>
                  <a:pt x="928922" y="1345638"/>
                  <a:pt x="902278" y="1198995"/>
                  <a:pt x="856775" y="1056956"/>
                </a:cubicBezTo>
                <a:cubicBezTo>
                  <a:pt x="636768" y="1156959"/>
                  <a:pt x="439487" y="1304654"/>
                  <a:pt x="281464" y="1493146"/>
                </a:cubicBezTo>
                <a:close/>
                <a:moveTo>
                  <a:pt x="1469785" y="2515107"/>
                </a:moveTo>
                <a:cubicBezTo>
                  <a:pt x="1283000" y="2508124"/>
                  <a:pt x="1100523" y="2472287"/>
                  <a:pt x="927628" y="2411229"/>
                </a:cubicBezTo>
                <a:cubicBezTo>
                  <a:pt x="876831" y="2520843"/>
                  <a:pt x="814172" y="2626182"/>
                  <a:pt x="738220" y="2724387"/>
                </a:cubicBezTo>
                <a:cubicBezTo>
                  <a:pt x="944637" y="2881665"/>
                  <a:pt x="1196120" y="2982471"/>
                  <a:pt x="1469785" y="3005418"/>
                </a:cubicBezTo>
                <a:close/>
                <a:moveTo>
                  <a:pt x="1469785" y="1673146"/>
                </a:moveTo>
                <a:lnTo>
                  <a:pt x="1112275" y="1673146"/>
                </a:lnTo>
                <a:cubicBezTo>
                  <a:pt x="1105327" y="1858153"/>
                  <a:pt x="1070032" y="2042144"/>
                  <a:pt x="1008001" y="2219039"/>
                </a:cubicBezTo>
                <a:cubicBezTo>
                  <a:pt x="1155519" y="2270408"/>
                  <a:pt x="1310845" y="2300826"/>
                  <a:pt x="1469785" y="2307834"/>
                </a:cubicBezTo>
                <a:close/>
                <a:moveTo>
                  <a:pt x="1469785" y="898989"/>
                </a:moveTo>
                <a:cubicBezTo>
                  <a:pt x="1315103" y="907762"/>
                  <a:pt x="1164166" y="938783"/>
                  <a:pt x="1020939" y="990066"/>
                </a:cubicBezTo>
                <a:cubicBezTo>
                  <a:pt x="1074574" y="1153655"/>
                  <a:pt x="1105461" y="1322925"/>
                  <a:pt x="1112368" y="1493146"/>
                </a:cubicBezTo>
                <a:lnTo>
                  <a:pt x="1469785" y="1493146"/>
                </a:lnTo>
                <a:close/>
                <a:moveTo>
                  <a:pt x="1469785" y="182141"/>
                </a:moveTo>
                <a:cubicBezTo>
                  <a:pt x="1199839" y="204777"/>
                  <a:pt x="951477" y="303168"/>
                  <a:pt x="746615" y="456764"/>
                </a:cubicBezTo>
                <a:cubicBezTo>
                  <a:pt x="828296" y="562801"/>
                  <a:pt x="894225" y="677310"/>
                  <a:pt x="947434" y="796072"/>
                </a:cubicBezTo>
                <a:cubicBezTo>
                  <a:pt x="1113886" y="736067"/>
                  <a:pt x="1289644" y="700323"/>
                  <a:pt x="1469785" y="691530"/>
                </a:cubicBezTo>
                <a:close/>
                <a:moveTo>
                  <a:pt x="2150063" y="992171"/>
                </a:moveTo>
                <a:cubicBezTo>
                  <a:pt x="1990712" y="935501"/>
                  <a:pt x="1822242" y="902595"/>
                  <a:pt x="1649785" y="897224"/>
                </a:cubicBezTo>
                <a:lnTo>
                  <a:pt x="1649785" y="1493146"/>
                </a:lnTo>
                <a:lnTo>
                  <a:pt x="2063712" y="1493146"/>
                </a:lnTo>
                <a:cubicBezTo>
                  <a:pt x="2069089" y="1323887"/>
                  <a:pt x="2098366" y="1155330"/>
                  <a:pt x="2150063" y="992171"/>
                </a:cubicBezTo>
                <a:close/>
                <a:moveTo>
                  <a:pt x="2168848" y="2199110"/>
                </a:moveTo>
                <a:cubicBezTo>
                  <a:pt x="2108555" y="2028681"/>
                  <a:pt x="2073581" y="1851532"/>
                  <a:pt x="2065295" y="1673146"/>
                </a:cubicBezTo>
                <a:lnTo>
                  <a:pt x="1649785" y="1673146"/>
                </a:lnTo>
                <a:lnTo>
                  <a:pt x="1649785" y="2307299"/>
                </a:lnTo>
                <a:cubicBezTo>
                  <a:pt x="1829404" y="2299517"/>
                  <a:pt x="2004315" y="2261965"/>
                  <a:pt x="2168848" y="2199110"/>
                </a:cubicBezTo>
                <a:close/>
                <a:moveTo>
                  <a:pt x="2422394" y="446879"/>
                </a:moveTo>
                <a:cubicBezTo>
                  <a:pt x="2204309" y="287209"/>
                  <a:pt x="1938140" y="189883"/>
                  <a:pt x="1649785" y="178919"/>
                </a:cubicBezTo>
                <a:lnTo>
                  <a:pt x="1649785" y="689876"/>
                </a:lnTo>
                <a:cubicBezTo>
                  <a:pt x="1846998" y="695154"/>
                  <a:pt x="2039668" y="732502"/>
                  <a:pt x="2221721" y="797410"/>
                </a:cubicBezTo>
                <a:cubicBezTo>
                  <a:pt x="2275056" y="675360"/>
                  <a:pt x="2341760" y="557662"/>
                  <a:pt x="2422394" y="446879"/>
                </a:cubicBezTo>
                <a:close/>
                <a:moveTo>
                  <a:pt x="2447278" y="2722123"/>
                </a:moveTo>
                <a:cubicBezTo>
                  <a:pt x="2366121" y="2618714"/>
                  <a:pt x="2299534" y="2507403"/>
                  <a:pt x="2246145" y="2391362"/>
                </a:cubicBezTo>
                <a:cubicBezTo>
                  <a:pt x="2057375" y="2464119"/>
                  <a:pt x="1856285" y="2506958"/>
                  <a:pt x="1649785" y="2514779"/>
                </a:cubicBezTo>
                <a:lnTo>
                  <a:pt x="1649785" y="3008639"/>
                </a:lnTo>
                <a:cubicBezTo>
                  <a:pt x="1949198" y="2997255"/>
                  <a:pt x="2224691" y="2892757"/>
                  <a:pt x="2447278" y="2722123"/>
                </a:cubicBezTo>
                <a:close/>
                <a:moveTo>
                  <a:pt x="2878934" y="1493146"/>
                </a:moveTo>
                <a:cubicBezTo>
                  <a:pt x="2723190" y="1307255"/>
                  <a:pt x="2529440" y="1161128"/>
                  <a:pt x="2313862" y="1060620"/>
                </a:cubicBezTo>
                <a:cubicBezTo>
                  <a:pt x="2270535" y="1201714"/>
                  <a:pt x="2245604" y="1347104"/>
                  <a:pt x="2240109" y="1493146"/>
                </a:cubicBezTo>
                <a:close/>
                <a:moveTo>
                  <a:pt x="2890636" y="1673146"/>
                </a:moveTo>
                <a:lnTo>
                  <a:pt x="2241814" y="1673146"/>
                </a:lnTo>
                <a:cubicBezTo>
                  <a:pt x="2249736" y="1827102"/>
                  <a:pt x="2279520" y="1979973"/>
                  <a:pt x="2329964" y="2127513"/>
                </a:cubicBezTo>
                <a:cubicBezTo>
                  <a:pt x="2545677" y="2019923"/>
                  <a:pt x="2738160" y="1866413"/>
                  <a:pt x="2890636" y="1673146"/>
                </a:cubicBezTo>
                <a:close/>
                <a:moveTo>
                  <a:pt x="2973035" y="1284386"/>
                </a:moveTo>
                <a:cubicBezTo>
                  <a:pt x="2912066" y="1001840"/>
                  <a:pt x="2765308" y="751379"/>
                  <a:pt x="2561381" y="561108"/>
                </a:cubicBezTo>
                <a:cubicBezTo>
                  <a:pt x="2489321" y="656437"/>
                  <a:pt x="2431363" y="759225"/>
                  <a:pt x="2384553" y="865647"/>
                </a:cubicBezTo>
                <a:cubicBezTo>
                  <a:pt x="2604520" y="964977"/>
                  <a:pt x="2804622" y="1106677"/>
                  <a:pt x="2973035" y="1284386"/>
                </a:cubicBezTo>
                <a:close/>
                <a:moveTo>
                  <a:pt x="2974277" y="1897328"/>
                </a:moveTo>
                <a:cubicBezTo>
                  <a:pt x="2812488" y="2073933"/>
                  <a:pt x="2619878" y="2216690"/>
                  <a:pt x="2407486" y="2319665"/>
                </a:cubicBezTo>
                <a:cubicBezTo>
                  <a:pt x="2454169" y="2420503"/>
                  <a:pt x="2511856" y="2517376"/>
                  <a:pt x="2582047" y="2607468"/>
                </a:cubicBezTo>
                <a:cubicBezTo>
                  <a:pt x="2776399" y="2417974"/>
                  <a:pt x="2916061" y="2172750"/>
                  <a:pt x="2974277" y="1897328"/>
                </a:cubicBezTo>
                <a:close/>
                <a:moveTo>
                  <a:pt x="3185463" y="1593779"/>
                </a:moveTo>
                <a:cubicBezTo>
                  <a:pt x="3185463" y="2473999"/>
                  <a:pt x="2471904" y="3187558"/>
                  <a:pt x="1591684" y="3187558"/>
                </a:cubicBezTo>
                <a:cubicBezTo>
                  <a:pt x="738111" y="3187558"/>
                  <a:pt x="41261" y="2516549"/>
                  <a:pt x="1913" y="1673146"/>
                </a:cubicBezTo>
                <a:lnTo>
                  <a:pt x="0" y="1673146"/>
                </a:lnTo>
                <a:lnTo>
                  <a:pt x="0" y="1493146"/>
                </a:lnTo>
                <a:lnTo>
                  <a:pt x="2750" y="1493146"/>
                </a:lnTo>
                <a:cubicBezTo>
                  <a:pt x="50490" y="700174"/>
                  <a:pt x="679654" y="64473"/>
                  <a:pt x="1469785" y="6156"/>
                </a:cubicBezTo>
                <a:lnTo>
                  <a:pt x="1469785" y="0"/>
                </a:lnTo>
                <a:lnTo>
                  <a:pt x="1591684" y="0"/>
                </a:lnTo>
                <a:lnTo>
                  <a:pt x="1649785" y="0"/>
                </a:lnTo>
                <a:lnTo>
                  <a:pt x="1649785" y="2934"/>
                </a:lnTo>
                <a:cubicBezTo>
                  <a:pt x="2503127" y="31654"/>
                  <a:pt x="3185463" y="733032"/>
                  <a:pt x="3185463" y="159377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66" name="Block Arc 41">
            <a:extLst>
              <a:ext uri="{FF2B5EF4-FFF2-40B4-BE49-F238E27FC236}">
                <a16:creationId xmlns:a16="http://schemas.microsoft.com/office/drawing/2014/main" id="{39949893-05ED-44C7-999C-84CE9B52D118}"/>
              </a:ext>
            </a:extLst>
          </p:cNvPr>
          <p:cNvSpPr/>
          <p:nvPr/>
        </p:nvSpPr>
        <p:spPr>
          <a:xfrm>
            <a:off x="9408551" y="1424302"/>
            <a:ext cx="473301" cy="660394"/>
          </a:xfrm>
          <a:custGeom>
            <a:avLst/>
            <a:gdLst/>
            <a:ahLst/>
            <a:cxnLst/>
            <a:rect l="l" t="t" r="r" b="b"/>
            <a:pathLst>
              <a:path w="2512265" h="3505352">
                <a:moveTo>
                  <a:pt x="1276582" y="2106401"/>
                </a:moveTo>
                <a:cubicBezTo>
                  <a:pt x="1154832" y="2195007"/>
                  <a:pt x="1018024" y="2262207"/>
                  <a:pt x="871321" y="2302645"/>
                </a:cubicBezTo>
                <a:cubicBezTo>
                  <a:pt x="1041049" y="2346709"/>
                  <a:pt x="1216984" y="2342691"/>
                  <a:pt x="1380867" y="2295542"/>
                </a:cubicBezTo>
                <a:cubicBezTo>
                  <a:pt x="1352791" y="2227964"/>
                  <a:pt x="1317377" y="2164934"/>
                  <a:pt x="1276582" y="2106401"/>
                </a:cubicBezTo>
                <a:close/>
                <a:moveTo>
                  <a:pt x="931061" y="1768598"/>
                </a:moveTo>
                <a:lnTo>
                  <a:pt x="785084" y="2021438"/>
                </a:lnTo>
                <a:lnTo>
                  <a:pt x="684448" y="2196711"/>
                </a:lnTo>
                <a:cubicBezTo>
                  <a:pt x="868931" y="2169533"/>
                  <a:pt x="1041385" y="2098006"/>
                  <a:pt x="1189228" y="1991290"/>
                </a:cubicBezTo>
                <a:cubicBezTo>
                  <a:pt x="1113839" y="1904543"/>
                  <a:pt x="1026949" y="1829435"/>
                  <a:pt x="931061" y="1768598"/>
                </a:cubicBezTo>
                <a:close/>
                <a:moveTo>
                  <a:pt x="1626242" y="1739577"/>
                </a:moveTo>
                <a:cubicBezTo>
                  <a:pt x="1556851" y="1850020"/>
                  <a:pt x="1471526" y="1947792"/>
                  <a:pt x="1374302" y="2030973"/>
                </a:cubicBezTo>
                <a:cubicBezTo>
                  <a:pt x="1422822" y="2099916"/>
                  <a:pt x="1464618" y="2174537"/>
                  <a:pt x="1497466" y="2254701"/>
                </a:cubicBezTo>
                <a:cubicBezTo>
                  <a:pt x="1664534" y="2184833"/>
                  <a:pt x="1813198" y="2068027"/>
                  <a:pt x="1922549" y="1910651"/>
                </a:cubicBezTo>
                <a:close/>
                <a:moveTo>
                  <a:pt x="531158" y="1601275"/>
                </a:moveTo>
                <a:cubicBezTo>
                  <a:pt x="514831" y="1769123"/>
                  <a:pt x="535254" y="1939877"/>
                  <a:pt x="594029" y="2101141"/>
                </a:cubicBezTo>
                <a:lnTo>
                  <a:pt x="822377" y="1705631"/>
                </a:lnTo>
                <a:cubicBezTo>
                  <a:pt x="730789" y="1658398"/>
                  <a:pt x="632873" y="1623335"/>
                  <a:pt x="531158" y="1601275"/>
                </a:cubicBezTo>
                <a:close/>
                <a:moveTo>
                  <a:pt x="270885" y="1572115"/>
                </a:moveTo>
                <a:cubicBezTo>
                  <a:pt x="231457" y="1572339"/>
                  <a:pt x="191799" y="1574812"/>
                  <a:pt x="152057" y="1579894"/>
                </a:cubicBezTo>
                <a:cubicBezTo>
                  <a:pt x="195418" y="1760005"/>
                  <a:pt x="289893" y="1927350"/>
                  <a:pt x="428945" y="2058945"/>
                </a:cubicBezTo>
                <a:cubicBezTo>
                  <a:pt x="384418" y="1901749"/>
                  <a:pt x="371313" y="1738504"/>
                  <a:pt x="388331" y="1577832"/>
                </a:cubicBezTo>
                <a:cubicBezTo>
                  <a:pt x="349511" y="1573916"/>
                  <a:pt x="310313" y="1571891"/>
                  <a:pt x="270885" y="1572115"/>
                </a:cubicBezTo>
                <a:close/>
                <a:moveTo>
                  <a:pt x="1117422" y="1445810"/>
                </a:moveTo>
                <a:lnTo>
                  <a:pt x="992684" y="1661863"/>
                </a:lnTo>
                <a:cubicBezTo>
                  <a:pt x="1102065" y="1730612"/>
                  <a:pt x="1200940" y="1816138"/>
                  <a:pt x="1286200" y="1915345"/>
                </a:cubicBezTo>
                <a:cubicBezTo>
                  <a:pt x="1368713" y="1844119"/>
                  <a:pt x="1441290" y="1760865"/>
                  <a:pt x="1500981" y="1667258"/>
                </a:cubicBezTo>
                <a:close/>
                <a:moveTo>
                  <a:pt x="2092402" y="1221082"/>
                </a:moveTo>
                <a:cubicBezTo>
                  <a:pt x="2001593" y="1234047"/>
                  <a:pt x="1911092" y="1235450"/>
                  <a:pt x="1822337" y="1227227"/>
                </a:cubicBezTo>
                <a:cubicBezTo>
                  <a:pt x="1800443" y="1366691"/>
                  <a:pt x="1756170" y="1503162"/>
                  <a:pt x="1688847" y="1630684"/>
                </a:cubicBezTo>
                <a:lnTo>
                  <a:pt x="1987299" y="1802996"/>
                </a:lnTo>
                <a:cubicBezTo>
                  <a:pt x="2084887" y="1618081"/>
                  <a:pt x="2117858" y="1415133"/>
                  <a:pt x="2092402" y="1221082"/>
                </a:cubicBezTo>
                <a:close/>
                <a:moveTo>
                  <a:pt x="649579" y="1175701"/>
                </a:moveTo>
                <a:cubicBezTo>
                  <a:pt x="600911" y="1272240"/>
                  <a:pt x="566994" y="1374279"/>
                  <a:pt x="548013" y="1478728"/>
                </a:cubicBezTo>
                <a:cubicBezTo>
                  <a:pt x="665588" y="1503392"/>
                  <a:pt x="778659" y="1543786"/>
                  <a:pt x="883938" y="1599004"/>
                </a:cubicBezTo>
                <a:lnTo>
                  <a:pt x="1008644" y="1383007"/>
                </a:lnTo>
                <a:close/>
                <a:moveTo>
                  <a:pt x="1325201" y="1085928"/>
                </a:moveTo>
                <a:lnTo>
                  <a:pt x="1180226" y="1337032"/>
                </a:lnTo>
                <a:lnTo>
                  <a:pt x="1563461" y="1558293"/>
                </a:lnTo>
                <a:cubicBezTo>
                  <a:pt x="1621429" y="1447029"/>
                  <a:pt x="1659763" y="1328223"/>
                  <a:pt x="1679185" y="1206861"/>
                </a:cubicBezTo>
                <a:cubicBezTo>
                  <a:pt x="1555153" y="1183834"/>
                  <a:pt x="1435895" y="1143161"/>
                  <a:pt x="1325201" y="1085928"/>
                </a:cubicBezTo>
                <a:close/>
                <a:moveTo>
                  <a:pt x="216369" y="925587"/>
                </a:moveTo>
                <a:cubicBezTo>
                  <a:pt x="135862" y="1096620"/>
                  <a:pt x="108667" y="1281041"/>
                  <a:pt x="130011" y="1458436"/>
                </a:cubicBezTo>
                <a:cubicBezTo>
                  <a:pt x="222591" y="1446071"/>
                  <a:pt x="314795" y="1446181"/>
                  <a:pt x="405131" y="1455463"/>
                </a:cubicBezTo>
                <a:cubicBezTo>
                  <a:pt x="426945" y="1333935"/>
                  <a:pt x="466667" y="1215249"/>
                  <a:pt x="524206" y="1103317"/>
                </a:cubicBezTo>
                <a:close/>
                <a:moveTo>
                  <a:pt x="943246" y="797103"/>
                </a:moveTo>
                <a:cubicBezTo>
                  <a:pt x="853400" y="873630"/>
                  <a:pt x="774733" y="963960"/>
                  <a:pt x="711316" y="1066306"/>
                </a:cubicBezTo>
                <a:lnTo>
                  <a:pt x="1071447" y="1274228"/>
                </a:lnTo>
                <a:lnTo>
                  <a:pt x="1215869" y="1024081"/>
                </a:lnTo>
                <a:cubicBezTo>
                  <a:pt x="1115458" y="961776"/>
                  <a:pt x="1023809" y="885272"/>
                  <a:pt x="943246" y="797103"/>
                </a:cubicBezTo>
                <a:close/>
                <a:moveTo>
                  <a:pt x="1777831" y="614825"/>
                </a:moveTo>
                <a:cubicBezTo>
                  <a:pt x="1828108" y="774217"/>
                  <a:pt x="1847177" y="940426"/>
                  <a:pt x="1835302" y="1104709"/>
                </a:cubicBezTo>
                <a:cubicBezTo>
                  <a:pt x="1912529" y="1111680"/>
                  <a:pt x="1991200" y="1110618"/>
                  <a:pt x="2070135" y="1099634"/>
                </a:cubicBezTo>
                <a:cubicBezTo>
                  <a:pt x="2023430" y="916066"/>
                  <a:pt x="1923963" y="746103"/>
                  <a:pt x="1777831" y="614825"/>
                </a:cubicBezTo>
                <a:close/>
                <a:moveTo>
                  <a:pt x="1613169" y="587153"/>
                </a:moveTo>
                <a:lnTo>
                  <a:pt x="1386789" y="979253"/>
                </a:lnTo>
                <a:cubicBezTo>
                  <a:pt x="1482593" y="1028182"/>
                  <a:pt x="1585369" y="1063521"/>
                  <a:pt x="1692132" y="1084514"/>
                </a:cubicBezTo>
                <a:cubicBezTo>
                  <a:pt x="1702376" y="916614"/>
                  <a:pt x="1676765" y="746730"/>
                  <a:pt x="1613169" y="587153"/>
                </a:cubicBezTo>
                <a:close/>
                <a:moveTo>
                  <a:pt x="1500307" y="531421"/>
                </a:moveTo>
                <a:cubicBezTo>
                  <a:pt x="1333628" y="560682"/>
                  <a:pt x="1177718" y="626786"/>
                  <a:pt x="1041762" y="721997"/>
                </a:cubicBezTo>
                <a:cubicBezTo>
                  <a:pt x="1111912" y="797410"/>
                  <a:pt x="1191076" y="863204"/>
                  <a:pt x="1277416" y="917480"/>
                </a:cubicBezTo>
                <a:close/>
                <a:moveTo>
                  <a:pt x="708730" y="442269"/>
                </a:moveTo>
                <a:cubicBezTo>
                  <a:pt x="536145" y="518354"/>
                  <a:pt x="384460" y="645249"/>
                  <a:pt x="277225" y="815684"/>
                </a:cubicBezTo>
                <a:lnTo>
                  <a:pt x="586010" y="993961"/>
                </a:lnTo>
                <a:cubicBezTo>
                  <a:pt x="658009" y="876621"/>
                  <a:pt x="747803" y="773217"/>
                  <a:pt x="850548" y="685844"/>
                </a:cubicBezTo>
                <a:cubicBezTo>
                  <a:pt x="795399" y="611028"/>
                  <a:pt x="747545" y="529652"/>
                  <a:pt x="708730" y="442269"/>
                </a:cubicBezTo>
                <a:close/>
                <a:moveTo>
                  <a:pt x="1114411" y="355452"/>
                </a:moveTo>
                <a:cubicBezTo>
                  <a:pt x="1016499" y="355167"/>
                  <a:pt x="919324" y="369705"/>
                  <a:pt x="826255" y="398131"/>
                </a:cubicBezTo>
                <a:cubicBezTo>
                  <a:pt x="858722" y="474940"/>
                  <a:pt x="900618" y="545829"/>
                  <a:pt x="948599" y="611249"/>
                </a:cubicBezTo>
                <a:cubicBezTo>
                  <a:pt x="1085375" y="512974"/>
                  <a:pt x="1240825" y="441488"/>
                  <a:pt x="1406980" y="401715"/>
                </a:cubicBezTo>
                <a:cubicBezTo>
                  <a:pt x="1310969" y="370847"/>
                  <a:pt x="1212322" y="355738"/>
                  <a:pt x="1114411" y="355452"/>
                </a:cubicBezTo>
                <a:close/>
                <a:moveTo>
                  <a:pt x="1776283" y="295101"/>
                </a:moveTo>
                <a:lnTo>
                  <a:pt x="1710896" y="408983"/>
                </a:lnTo>
                <a:cubicBezTo>
                  <a:pt x="2209777" y="726145"/>
                  <a:pt x="2373723" y="1383396"/>
                  <a:pt x="2075153" y="1900534"/>
                </a:cubicBezTo>
                <a:cubicBezTo>
                  <a:pt x="1777480" y="2416119"/>
                  <a:pt x="1129323" y="2603192"/>
                  <a:pt x="606057" y="2333243"/>
                </a:cubicBezTo>
                <a:lnTo>
                  <a:pt x="534769" y="2457402"/>
                </a:lnTo>
                <a:cubicBezTo>
                  <a:pt x="1115347" y="2755664"/>
                  <a:pt x="1834151" y="2554240"/>
                  <a:pt x="2173557" y="1987198"/>
                </a:cubicBezTo>
                <a:cubicBezTo>
                  <a:pt x="2520801" y="1407062"/>
                  <a:pt x="2343129" y="657734"/>
                  <a:pt x="1776283" y="295101"/>
                </a:cubicBezTo>
                <a:close/>
                <a:moveTo>
                  <a:pt x="1831804" y="0"/>
                </a:moveTo>
                <a:cubicBezTo>
                  <a:pt x="1881515" y="0"/>
                  <a:pt x="1921814" y="40299"/>
                  <a:pt x="1921814" y="90010"/>
                </a:cubicBezTo>
                <a:cubicBezTo>
                  <a:pt x="1921814" y="123853"/>
                  <a:pt x="1903137" y="153333"/>
                  <a:pt x="1874873" y="167531"/>
                </a:cubicBezTo>
                <a:cubicBezTo>
                  <a:pt x="2505724" y="579432"/>
                  <a:pt x="2701456" y="1419035"/>
                  <a:pt x="2311836" y="2069966"/>
                </a:cubicBezTo>
                <a:cubicBezTo>
                  <a:pt x="2067801" y="2477672"/>
                  <a:pt x="1650037" y="2717958"/>
                  <a:pt x="1209422" y="2750781"/>
                </a:cubicBezTo>
                <a:lnTo>
                  <a:pt x="1209422" y="3191198"/>
                </a:lnTo>
                <a:cubicBezTo>
                  <a:pt x="1228953" y="3190691"/>
                  <a:pt x="1248332" y="3191937"/>
                  <a:pt x="1267595" y="3193449"/>
                </a:cubicBezTo>
                <a:cubicBezTo>
                  <a:pt x="1660899" y="3224325"/>
                  <a:pt x="1926978" y="3358049"/>
                  <a:pt x="1884661" y="3503570"/>
                </a:cubicBezTo>
                <a:lnTo>
                  <a:pt x="318693" y="3505352"/>
                </a:lnTo>
                <a:cubicBezTo>
                  <a:pt x="273700" y="3359367"/>
                  <a:pt x="539657" y="3224666"/>
                  <a:pt x="934393" y="3193515"/>
                </a:cubicBezTo>
                <a:lnTo>
                  <a:pt x="993398" y="3191208"/>
                </a:lnTo>
                <a:lnTo>
                  <a:pt x="993398" y="2750894"/>
                </a:lnTo>
                <a:cubicBezTo>
                  <a:pt x="812915" y="2737642"/>
                  <a:pt x="632784" y="2688481"/>
                  <a:pt x="463078" y="2601537"/>
                </a:cubicBezTo>
                <a:cubicBezTo>
                  <a:pt x="463677" y="2602537"/>
                  <a:pt x="463694" y="2603560"/>
                  <a:pt x="463694" y="2604587"/>
                </a:cubicBezTo>
                <a:cubicBezTo>
                  <a:pt x="463694" y="2654298"/>
                  <a:pt x="423395" y="2694597"/>
                  <a:pt x="373684" y="2694597"/>
                </a:cubicBezTo>
                <a:cubicBezTo>
                  <a:pt x="323973" y="2694597"/>
                  <a:pt x="283674" y="2654298"/>
                  <a:pt x="283674" y="2604587"/>
                </a:cubicBezTo>
                <a:cubicBezTo>
                  <a:pt x="283674" y="2554876"/>
                  <a:pt x="323973" y="2514577"/>
                  <a:pt x="373684" y="2514577"/>
                </a:cubicBezTo>
                <a:lnTo>
                  <a:pt x="377019" y="2515250"/>
                </a:lnTo>
                <a:lnTo>
                  <a:pt x="511820" y="2280472"/>
                </a:lnTo>
                <a:lnTo>
                  <a:pt x="495824" y="2271237"/>
                </a:lnTo>
                <a:lnTo>
                  <a:pt x="496783" y="2269575"/>
                </a:lnTo>
                <a:cubicBezTo>
                  <a:pt x="34226" y="1964050"/>
                  <a:pt x="-130424" y="1362029"/>
                  <a:pt x="110016" y="864184"/>
                </a:cubicBezTo>
                <a:lnTo>
                  <a:pt x="106296" y="862036"/>
                </a:lnTo>
                <a:lnTo>
                  <a:pt x="148828" y="788370"/>
                </a:lnTo>
                <a:lnTo>
                  <a:pt x="169099" y="753258"/>
                </a:lnTo>
                <a:lnTo>
                  <a:pt x="170873" y="754281"/>
                </a:lnTo>
                <a:cubicBezTo>
                  <a:pt x="475914" y="264737"/>
                  <a:pt x="1106018" y="92008"/>
                  <a:pt x="1617242" y="355196"/>
                </a:cubicBezTo>
                <a:lnTo>
                  <a:pt x="1748044" y="127384"/>
                </a:lnTo>
                <a:lnTo>
                  <a:pt x="1751959" y="129632"/>
                </a:lnTo>
                <a:cubicBezTo>
                  <a:pt x="1745165" y="117975"/>
                  <a:pt x="1741794" y="104386"/>
                  <a:pt x="1741794" y="90010"/>
                </a:cubicBezTo>
                <a:cubicBezTo>
                  <a:pt x="1741794" y="40299"/>
                  <a:pt x="1782093" y="0"/>
                  <a:pt x="183180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67" name="Right Triangle 17">
            <a:extLst>
              <a:ext uri="{FF2B5EF4-FFF2-40B4-BE49-F238E27FC236}">
                <a16:creationId xmlns:a16="http://schemas.microsoft.com/office/drawing/2014/main" id="{6ADCC979-BA1C-4251-B6F5-CE5AA2B72FD0}"/>
              </a:ext>
            </a:extLst>
          </p:cNvPr>
          <p:cNvSpPr/>
          <p:nvPr/>
        </p:nvSpPr>
        <p:spPr>
          <a:xfrm>
            <a:off x="7705746" y="4600959"/>
            <a:ext cx="385790" cy="546392"/>
          </a:xfrm>
          <a:custGeom>
            <a:avLst/>
            <a:gdLst/>
            <a:ahLst/>
            <a:cxnLst/>
            <a:rect l="l" t="t" r="r" b="b"/>
            <a:pathLst>
              <a:path w="2387678" h="3240000">
                <a:moveTo>
                  <a:pt x="1645041" y="17032"/>
                </a:moveTo>
                <a:lnTo>
                  <a:pt x="2376264" y="17032"/>
                </a:lnTo>
                <a:lnTo>
                  <a:pt x="2376264" y="17033"/>
                </a:lnTo>
                <a:lnTo>
                  <a:pt x="1645042" y="17033"/>
                </a:lnTo>
                <a:close/>
                <a:moveTo>
                  <a:pt x="0" y="17032"/>
                </a:moveTo>
                <a:lnTo>
                  <a:pt x="1379678" y="17032"/>
                </a:lnTo>
                <a:lnTo>
                  <a:pt x="1379678" y="996125"/>
                </a:lnTo>
                <a:lnTo>
                  <a:pt x="2376264" y="996125"/>
                </a:lnTo>
                <a:lnTo>
                  <a:pt x="2376264" y="3240000"/>
                </a:lnTo>
                <a:lnTo>
                  <a:pt x="0" y="3240000"/>
                </a:lnTo>
                <a:close/>
                <a:moveTo>
                  <a:pt x="1498869" y="0"/>
                </a:moveTo>
                <a:lnTo>
                  <a:pt x="2387678" y="888809"/>
                </a:lnTo>
                <a:lnTo>
                  <a:pt x="1498869" y="88880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68" name="Oval 27">
            <a:extLst>
              <a:ext uri="{FF2B5EF4-FFF2-40B4-BE49-F238E27FC236}">
                <a16:creationId xmlns:a16="http://schemas.microsoft.com/office/drawing/2014/main" id="{7DB6E0EE-B33A-443E-887E-C319F0DAF534}"/>
              </a:ext>
            </a:extLst>
          </p:cNvPr>
          <p:cNvSpPr/>
          <p:nvPr/>
        </p:nvSpPr>
        <p:spPr>
          <a:xfrm>
            <a:off x="4418496" y="5469184"/>
            <a:ext cx="409732" cy="779216"/>
          </a:xfrm>
          <a:custGeom>
            <a:avLst/>
            <a:gdLst/>
            <a:ahLst/>
            <a:cxnLst/>
            <a:rect l="l" t="t" r="r" b="b"/>
            <a:pathLst>
              <a:path w="1703664" h="3240001">
                <a:moveTo>
                  <a:pt x="952533" y="2024463"/>
                </a:moveTo>
                <a:lnTo>
                  <a:pt x="856710" y="2024464"/>
                </a:lnTo>
                <a:lnTo>
                  <a:pt x="649879" y="2143878"/>
                </a:lnTo>
                <a:lnTo>
                  <a:pt x="728753" y="2280491"/>
                </a:lnTo>
                <a:lnTo>
                  <a:pt x="800462" y="2239090"/>
                </a:lnTo>
                <a:lnTo>
                  <a:pt x="800462" y="2476837"/>
                </a:lnTo>
                <a:lnTo>
                  <a:pt x="649878" y="2476837"/>
                </a:lnTo>
                <a:lnTo>
                  <a:pt x="649878" y="2634602"/>
                </a:lnTo>
                <a:lnTo>
                  <a:pt x="1067658" y="2634602"/>
                </a:lnTo>
                <a:lnTo>
                  <a:pt x="1067657" y="2476837"/>
                </a:lnTo>
                <a:lnTo>
                  <a:pt x="952532" y="2476837"/>
                </a:lnTo>
                <a:lnTo>
                  <a:pt x="952532" y="2151292"/>
                </a:lnTo>
                <a:lnTo>
                  <a:pt x="952534" y="2151291"/>
                </a:lnTo>
                <a:close/>
                <a:moveTo>
                  <a:pt x="851832" y="1776101"/>
                </a:moveTo>
                <a:cubicBezTo>
                  <a:pt x="1189868" y="1776101"/>
                  <a:pt x="1463900" y="2050133"/>
                  <a:pt x="1463900" y="2388169"/>
                </a:cubicBezTo>
                <a:cubicBezTo>
                  <a:pt x="1463900" y="2726205"/>
                  <a:pt x="1189868" y="3000237"/>
                  <a:pt x="851832" y="3000237"/>
                </a:cubicBezTo>
                <a:cubicBezTo>
                  <a:pt x="513796" y="3000237"/>
                  <a:pt x="239764" y="2726205"/>
                  <a:pt x="239764" y="2388169"/>
                </a:cubicBezTo>
                <a:cubicBezTo>
                  <a:pt x="239764" y="2050133"/>
                  <a:pt x="513796" y="1776101"/>
                  <a:pt x="851832" y="1776101"/>
                </a:cubicBezTo>
                <a:close/>
                <a:moveTo>
                  <a:pt x="851832" y="1689019"/>
                </a:moveTo>
                <a:cubicBezTo>
                  <a:pt x="465702" y="1689019"/>
                  <a:pt x="152682" y="2002039"/>
                  <a:pt x="152682" y="2388169"/>
                </a:cubicBezTo>
                <a:cubicBezTo>
                  <a:pt x="152682" y="2774299"/>
                  <a:pt x="465702" y="3087319"/>
                  <a:pt x="851832" y="3087319"/>
                </a:cubicBezTo>
                <a:cubicBezTo>
                  <a:pt x="1237962" y="3087319"/>
                  <a:pt x="1550982" y="2774299"/>
                  <a:pt x="1550982" y="2388169"/>
                </a:cubicBezTo>
                <a:cubicBezTo>
                  <a:pt x="1550982" y="2002039"/>
                  <a:pt x="1237962" y="1689019"/>
                  <a:pt x="851832" y="1689019"/>
                </a:cubicBezTo>
                <a:close/>
                <a:moveTo>
                  <a:pt x="851832" y="1536337"/>
                </a:moveTo>
                <a:cubicBezTo>
                  <a:pt x="1322286" y="1536337"/>
                  <a:pt x="1703664" y="1917715"/>
                  <a:pt x="1703664" y="2388169"/>
                </a:cubicBezTo>
                <a:cubicBezTo>
                  <a:pt x="1703664" y="2858623"/>
                  <a:pt x="1322286" y="3240001"/>
                  <a:pt x="851832" y="3240001"/>
                </a:cubicBezTo>
                <a:cubicBezTo>
                  <a:pt x="381378" y="3240001"/>
                  <a:pt x="0" y="2858623"/>
                  <a:pt x="0" y="2388169"/>
                </a:cubicBezTo>
                <a:cubicBezTo>
                  <a:pt x="0" y="1917715"/>
                  <a:pt x="381378" y="1536337"/>
                  <a:pt x="851832" y="1536337"/>
                </a:cubicBezTo>
                <a:close/>
                <a:moveTo>
                  <a:pt x="1173126" y="1"/>
                </a:moveTo>
                <a:lnTo>
                  <a:pt x="1383673" y="1"/>
                </a:lnTo>
                <a:lnTo>
                  <a:pt x="1383673" y="954514"/>
                </a:lnTo>
                <a:lnTo>
                  <a:pt x="1173126" y="1187717"/>
                </a:lnTo>
                <a:close/>
                <a:moveTo>
                  <a:pt x="619488" y="0"/>
                </a:moveTo>
                <a:lnTo>
                  <a:pt x="1099698" y="0"/>
                </a:lnTo>
                <a:lnTo>
                  <a:pt x="1099698" y="1265464"/>
                </a:lnTo>
                <a:lnTo>
                  <a:pt x="859593" y="1532640"/>
                </a:lnTo>
                <a:lnTo>
                  <a:pt x="619488" y="1265464"/>
                </a:lnTo>
                <a:close/>
                <a:moveTo>
                  <a:pt x="335512" y="0"/>
                </a:moveTo>
                <a:lnTo>
                  <a:pt x="546059" y="0"/>
                </a:lnTo>
                <a:lnTo>
                  <a:pt x="546059" y="1166181"/>
                </a:lnTo>
                <a:lnTo>
                  <a:pt x="335512" y="92745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69" name="Parallelogram 15">
            <a:extLst>
              <a:ext uri="{FF2B5EF4-FFF2-40B4-BE49-F238E27FC236}">
                <a16:creationId xmlns:a16="http://schemas.microsoft.com/office/drawing/2014/main" id="{24ABDD0B-564D-4579-ACF2-A3B23447A0E6}"/>
              </a:ext>
            </a:extLst>
          </p:cNvPr>
          <p:cNvSpPr/>
          <p:nvPr/>
        </p:nvSpPr>
        <p:spPr>
          <a:xfrm rot="16200000">
            <a:off x="8536863" y="3545131"/>
            <a:ext cx="598764" cy="648141"/>
          </a:xfrm>
          <a:custGeom>
            <a:avLst/>
            <a:gdLst/>
            <a:ahLst/>
            <a:cxnLst/>
            <a:rect l="l" t="t" r="r" b="b"/>
            <a:pathLst>
              <a:path w="2993176" h="3240001">
                <a:moveTo>
                  <a:pt x="1299907" y="647892"/>
                </a:moveTo>
                <a:lnTo>
                  <a:pt x="665509" y="1620000"/>
                </a:lnTo>
                <a:lnTo>
                  <a:pt x="1299907" y="2592108"/>
                </a:lnTo>
                <a:lnTo>
                  <a:pt x="634398" y="2592108"/>
                </a:lnTo>
                <a:lnTo>
                  <a:pt x="0" y="1620000"/>
                </a:lnTo>
                <a:lnTo>
                  <a:pt x="634398" y="647892"/>
                </a:lnTo>
                <a:close/>
                <a:moveTo>
                  <a:pt x="2993176" y="1620001"/>
                </a:moveTo>
                <a:lnTo>
                  <a:pt x="1913056" y="3240001"/>
                </a:lnTo>
                <a:lnTo>
                  <a:pt x="1782206" y="3043749"/>
                </a:lnTo>
                <a:lnTo>
                  <a:pt x="1110064" y="3043749"/>
                </a:lnTo>
                <a:cubicBezTo>
                  <a:pt x="1089036" y="3096599"/>
                  <a:pt x="1037333" y="3133759"/>
                  <a:pt x="976952" y="3133759"/>
                </a:cubicBezTo>
                <a:cubicBezTo>
                  <a:pt x="923853" y="3133759"/>
                  <a:pt x="877466" y="3105022"/>
                  <a:pt x="854540" y="3061058"/>
                </a:cubicBezTo>
                <a:lnTo>
                  <a:pt x="302383" y="3169763"/>
                </a:lnTo>
                <a:lnTo>
                  <a:pt x="302383" y="2809723"/>
                </a:lnTo>
                <a:lnTo>
                  <a:pt x="854540" y="2918427"/>
                </a:lnTo>
                <a:cubicBezTo>
                  <a:pt x="877466" y="2874463"/>
                  <a:pt x="923853" y="2845727"/>
                  <a:pt x="976952" y="2845727"/>
                </a:cubicBezTo>
                <a:cubicBezTo>
                  <a:pt x="1037333" y="2845727"/>
                  <a:pt x="1089036" y="2882887"/>
                  <a:pt x="1110064" y="2935737"/>
                </a:cubicBezTo>
                <a:lnTo>
                  <a:pt x="1710190" y="2935737"/>
                </a:lnTo>
                <a:lnTo>
                  <a:pt x="832936" y="1620001"/>
                </a:lnTo>
                <a:lnTo>
                  <a:pt x="1913056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70" name="Round Same Side Corner Rectangle 21">
            <a:extLst>
              <a:ext uri="{FF2B5EF4-FFF2-40B4-BE49-F238E27FC236}">
                <a16:creationId xmlns:a16="http://schemas.microsoft.com/office/drawing/2014/main" id="{A705FB8C-4E2D-4F93-8F3B-7B97C7830918}"/>
              </a:ext>
            </a:extLst>
          </p:cNvPr>
          <p:cNvSpPr/>
          <p:nvPr/>
        </p:nvSpPr>
        <p:spPr>
          <a:xfrm rot="10800000">
            <a:off x="9311063" y="2543932"/>
            <a:ext cx="386665" cy="436639"/>
          </a:xfrm>
          <a:custGeom>
            <a:avLst/>
            <a:gdLst/>
            <a:ahLst/>
            <a:cxnLst/>
            <a:rect l="l" t="t" r="r" b="b"/>
            <a:pathLst>
              <a:path w="2880320" h="3252576">
                <a:moveTo>
                  <a:pt x="612726" y="2220771"/>
                </a:moveTo>
                <a:cubicBezTo>
                  <a:pt x="662432" y="2220771"/>
                  <a:pt x="702726" y="2180477"/>
                  <a:pt x="702726" y="2130771"/>
                </a:cubicBezTo>
                <a:lnTo>
                  <a:pt x="702726" y="438771"/>
                </a:lnTo>
                <a:cubicBezTo>
                  <a:pt x="702726" y="389065"/>
                  <a:pt x="662432" y="348771"/>
                  <a:pt x="612726" y="348771"/>
                </a:cubicBezTo>
                <a:cubicBezTo>
                  <a:pt x="563020" y="348771"/>
                  <a:pt x="522726" y="389065"/>
                  <a:pt x="522726" y="438771"/>
                </a:cubicBezTo>
                <a:lnTo>
                  <a:pt x="522726" y="2130771"/>
                </a:lnTo>
                <a:cubicBezTo>
                  <a:pt x="522726" y="2180477"/>
                  <a:pt x="563020" y="2220771"/>
                  <a:pt x="612726" y="2220771"/>
                </a:cubicBezTo>
                <a:close/>
                <a:moveTo>
                  <a:pt x="1188790" y="2220771"/>
                </a:moveTo>
                <a:cubicBezTo>
                  <a:pt x="1238496" y="2220771"/>
                  <a:pt x="1278790" y="2180477"/>
                  <a:pt x="1278790" y="2130771"/>
                </a:cubicBezTo>
                <a:lnTo>
                  <a:pt x="1278790" y="438771"/>
                </a:lnTo>
                <a:cubicBezTo>
                  <a:pt x="1278790" y="389065"/>
                  <a:pt x="1238496" y="348771"/>
                  <a:pt x="1188790" y="348771"/>
                </a:cubicBezTo>
                <a:cubicBezTo>
                  <a:pt x="1139084" y="348771"/>
                  <a:pt x="1098790" y="389065"/>
                  <a:pt x="1098790" y="438771"/>
                </a:cubicBezTo>
                <a:lnTo>
                  <a:pt x="1098790" y="2130771"/>
                </a:lnTo>
                <a:cubicBezTo>
                  <a:pt x="1098790" y="2180477"/>
                  <a:pt x="1139084" y="2220771"/>
                  <a:pt x="1188790" y="2220771"/>
                </a:cubicBezTo>
                <a:close/>
                <a:moveTo>
                  <a:pt x="1764854" y="2220771"/>
                </a:moveTo>
                <a:cubicBezTo>
                  <a:pt x="1814560" y="2220771"/>
                  <a:pt x="1854854" y="2180477"/>
                  <a:pt x="1854854" y="2130771"/>
                </a:cubicBezTo>
                <a:lnTo>
                  <a:pt x="1854854" y="438771"/>
                </a:lnTo>
                <a:cubicBezTo>
                  <a:pt x="1854854" y="389065"/>
                  <a:pt x="1814560" y="348771"/>
                  <a:pt x="1764854" y="348771"/>
                </a:cubicBezTo>
                <a:cubicBezTo>
                  <a:pt x="1715148" y="348771"/>
                  <a:pt x="1674854" y="389065"/>
                  <a:pt x="1674854" y="438771"/>
                </a:cubicBezTo>
                <a:lnTo>
                  <a:pt x="1674854" y="2130771"/>
                </a:lnTo>
                <a:cubicBezTo>
                  <a:pt x="1674854" y="2180477"/>
                  <a:pt x="1715148" y="2220771"/>
                  <a:pt x="1764854" y="2220771"/>
                </a:cubicBezTo>
                <a:close/>
                <a:moveTo>
                  <a:pt x="2340918" y="2220771"/>
                </a:moveTo>
                <a:cubicBezTo>
                  <a:pt x="2390624" y="2220771"/>
                  <a:pt x="2430918" y="2180477"/>
                  <a:pt x="2430918" y="2130771"/>
                </a:cubicBezTo>
                <a:lnTo>
                  <a:pt x="2430918" y="438771"/>
                </a:lnTo>
                <a:cubicBezTo>
                  <a:pt x="2430918" y="389065"/>
                  <a:pt x="2390624" y="348771"/>
                  <a:pt x="2340918" y="348771"/>
                </a:cubicBezTo>
                <a:cubicBezTo>
                  <a:pt x="2291212" y="348771"/>
                  <a:pt x="2250918" y="389065"/>
                  <a:pt x="2250918" y="438771"/>
                </a:cubicBezTo>
                <a:lnTo>
                  <a:pt x="2250918" y="2130771"/>
                </a:lnTo>
                <a:cubicBezTo>
                  <a:pt x="2250918" y="2180477"/>
                  <a:pt x="2291212" y="2220771"/>
                  <a:pt x="2340918" y="2220771"/>
                </a:cubicBezTo>
                <a:close/>
                <a:moveTo>
                  <a:pt x="2784182" y="2519920"/>
                </a:moveTo>
                <a:lnTo>
                  <a:pt x="96136" y="2519920"/>
                </a:lnTo>
                <a:lnTo>
                  <a:pt x="96136" y="419995"/>
                </a:lnTo>
                <a:cubicBezTo>
                  <a:pt x="96136" y="188038"/>
                  <a:pt x="284174" y="0"/>
                  <a:pt x="516131" y="0"/>
                </a:cubicBezTo>
                <a:lnTo>
                  <a:pt x="2364187" y="0"/>
                </a:lnTo>
                <a:cubicBezTo>
                  <a:pt x="2596144" y="0"/>
                  <a:pt x="2784182" y="188038"/>
                  <a:pt x="2784182" y="419995"/>
                </a:cubicBezTo>
                <a:close/>
                <a:moveTo>
                  <a:pt x="1687966" y="3252576"/>
                </a:moveTo>
                <a:lnTo>
                  <a:pt x="1192350" y="3252576"/>
                </a:lnTo>
                <a:cubicBezTo>
                  <a:pt x="1129224" y="3252576"/>
                  <a:pt x="1078050" y="3201402"/>
                  <a:pt x="1078050" y="3138276"/>
                </a:cubicBezTo>
                <a:lnTo>
                  <a:pt x="1078050" y="3023976"/>
                </a:lnTo>
                <a:lnTo>
                  <a:pt x="60008" y="3023976"/>
                </a:lnTo>
                <a:cubicBezTo>
                  <a:pt x="26866" y="3023976"/>
                  <a:pt x="0" y="2997110"/>
                  <a:pt x="0" y="2963968"/>
                </a:cubicBezTo>
                <a:lnTo>
                  <a:pt x="0" y="2723944"/>
                </a:lnTo>
                <a:cubicBezTo>
                  <a:pt x="0" y="2690802"/>
                  <a:pt x="26866" y="2663936"/>
                  <a:pt x="60008" y="2663936"/>
                </a:cubicBezTo>
                <a:lnTo>
                  <a:pt x="2820312" y="2663936"/>
                </a:lnTo>
                <a:cubicBezTo>
                  <a:pt x="2853454" y="2663936"/>
                  <a:pt x="2880320" y="2690802"/>
                  <a:pt x="2880320" y="2723944"/>
                </a:cubicBezTo>
                <a:lnTo>
                  <a:pt x="2880320" y="2963968"/>
                </a:lnTo>
                <a:cubicBezTo>
                  <a:pt x="2880320" y="2997110"/>
                  <a:pt x="2853454" y="3023976"/>
                  <a:pt x="2820312" y="3023976"/>
                </a:cubicBezTo>
                <a:lnTo>
                  <a:pt x="1802266" y="3023976"/>
                </a:lnTo>
                <a:lnTo>
                  <a:pt x="1802266" y="3138276"/>
                </a:lnTo>
                <a:cubicBezTo>
                  <a:pt x="1802266" y="3201402"/>
                  <a:pt x="1751092" y="3252576"/>
                  <a:pt x="1687966" y="325257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71" name="Oval 26">
            <a:extLst>
              <a:ext uri="{FF2B5EF4-FFF2-40B4-BE49-F238E27FC236}">
                <a16:creationId xmlns:a16="http://schemas.microsoft.com/office/drawing/2014/main" id="{A8611118-4553-45C9-837B-A5EA5C617D63}"/>
              </a:ext>
            </a:extLst>
          </p:cNvPr>
          <p:cNvSpPr/>
          <p:nvPr/>
        </p:nvSpPr>
        <p:spPr>
          <a:xfrm>
            <a:off x="6966942" y="3587275"/>
            <a:ext cx="472482" cy="563852"/>
          </a:xfrm>
          <a:custGeom>
            <a:avLst/>
            <a:gdLst/>
            <a:ahLst/>
            <a:cxnLst/>
            <a:rect l="l" t="t" r="r" b="b"/>
            <a:pathLst>
              <a:path w="2543357" h="3035197">
                <a:moveTo>
                  <a:pt x="1932497" y="885460"/>
                </a:moveTo>
                <a:lnTo>
                  <a:pt x="1858608" y="981586"/>
                </a:lnTo>
                <a:cubicBezTo>
                  <a:pt x="2087948" y="1157874"/>
                  <a:pt x="2221364" y="1431493"/>
                  <a:pt x="2219022" y="1720748"/>
                </a:cubicBezTo>
                <a:lnTo>
                  <a:pt x="2340261" y="1721729"/>
                </a:lnTo>
                <a:cubicBezTo>
                  <a:pt x="2342911" y="1394473"/>
                  <a:pt x="2191967" y="1084907"/>
                  <a:pt x="1932497" y="885460"/>
                </a:cubicBezTo>
                <a:close/>
                <a:moveTo>
                  <a:pt x="1028922" y="281987"/>
                </a:moveTo>
                <a:cubicBezTo>
                  <a:pt x="1157068" y="321344"/>
                  <a:pt x="1128134" y="299573"/>
                  <a:pt x="1193247" y="332230"/>
                </a:cubicBezTo>
                <a:cubicBezTo>
                  <a:pt x="1269854" y="451410"/>
                  <a:pt x="1301375" y="602654"/>
                  <a:pt x="1295736" y="739575"/>
                </a:cubicBezTo>
                <a:cubicBezTo>
                  <a:pt x="1418781" y="730097"/>
                  <a:pt x="1391656" y="622269"/>
                  <a:pt x="1842154" y="674175"/>
                </a:cubicBezTo>
                <a:cubicBezTo>
                  <a:pt x="2251963" y="725703"/>
                  <a:pt x="2543357" y="1202505"/>
                  <a:pt x="2543357" y="1911138"/>
                </a:cubicBezTo>
                <a:cubicBezTo>
                  <a:pt x="2543357" y="2619771"/>
                  <a:pt x="2228290" y="3174439"/>
                  <a:pt x="1189012" y="3004227"/>
                </a:cubicBezTo>
                <a:cubicBezTo>
                  <a:pt x="266689" y="3142266"/>
                  <a:pt x="99973" y="2479414"/>
                  <a:pt x="24671" y="2089269"/>
                </a:cubicBezTo>
                <a:cubicBezTo>
                  <a:pt x="-50631" y="1699124"/>
                  <a:pt x="9514" y="922425"/>
                  <a:pt x="737199" y="663358"/>
                </a:cubicBezTo>
                <a:cubicBezTo>
                  <a:pt x="1021153" y="585721"/>
                  <a:pt x="1093645" y="690425"/>
                  <a:pt x="1216376" y="728497"/>
                </a:cubicBezTo>
                <a:cubicBezTo>
                  <a:pt x="1183268" y="569368"/>
                  <a:pt x="1135766" y="458984"/>
                  <a:pt x="1028922" y="281987"/>
                </a:cubicBezTo>
                <a:close/>
                <a:moveTo>
                  <a:pt x="1919942" y="47"/>
                </a:moveTo>
                <a:cubicBezTo>
                  <a:pt x="2086542" y="1491"/>
                  <a:pt x="2263938" y="35583"/>
                  <a:pt x="2350876" y="60453"/>
                </a:cubicBezTo>
                <a:cubicBezTo>
                  <a:pt x="2672784" y="174000"/>
                  <a:pt x="2321773" y="213881"/>
                  <a:pt x="2220060" y="345654"/>
                </a:cubicBezTo>
                <a:cubicBezTo>
                  <a:pt x="2118347" y="477427"/>
                  <a:pt x="2005019" y="609932"/>
                  <a:pt x="1770740" y="609932"/>
                </a:cubicBezTo>
                <a:lnTo>
                  <a:pt x="1326444" y="614956"/>
                </a:lnTo>
                <a:lnTo>
                  <a:pt x="1346541" y="320533"/>
                </a:lnTo>
                <a:cubicBezTo>
                  <a:pt x="1401807" y="115484"/>
                  <a:pt x="1563158" y="44336"/>
                  <a:pt x="1760692" y="11037"/>
                </a:cubicBezTo>
                <a:cubicBezTo>
                  <a:pt x="1810076" y="2712"/>
                  <a:pt x="1864409" y="-434"/>
                  <a:pt x="1919942" y="47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72" name="Freeform 32">
            <a:extLst>
              <a:ext uri="{FF2B5EF4-FFF2-40B4-BE49-F238E27FC236}">
                <a16:creationId xmlns:a16="http://schemas.microsoft.com/office/drawing/2014/main" id="{9C5A04AA-A50B-457A-A783-D941E78BCCDF}"/>
              </a:ext>
            </a:extLst>
          </p:cNvPr>
          <p:cNvSpPr/>
          <p:nvPr/>
        </p:nvSpPr>
        <p:spPr>
          <a:xfrm>
            <a:off x="4360223" y="1480860"/>
            <a:ext cx="597487" cy="547278"/>
          </a:xfrm>
          <a:custGeom>
            <a:avLst/>
            <a:gdLst/>
            <a:ahLst/>
            <a:cxnLst/>
            <a:rect l="l" t="t" r="r" b="b"/>
            <a:pathLst>
              <a:path w="3210745" h="2940925">
                <a:moveTo>
                  <a:pt x="340528" y="2526682"/>
                </a:moveTo>
                <a:cubicBezTo>
                  <a:pt x="280875" y="2526682"/>
                  <a:pt x="232516" y="2575041"/>
                  <a:pt x="232516" y="2634694"/>
                </a:cubicBezTo>
                <a:cubicBezTo>
                  <a:pt x="232516" y="2694347"/>
                  <a:pt x="280875" y="2742706"/>
                  <a:pt x="340528" y="2742706"/>
                </a:cubicBezTo>
                <a:cubicBezTo>
                  <a:pt x="400181" y="2742706"/>
                  <a:pt x="448540" y="2694347"/>
                  <a:pt x="448540" y="2634694"/>
                </a:cubicBezTo>
                <a:cubicBezTo>
                  <a:pt x="448540" y="2575041"/>
                  <a:pt x="400181" y="2526682"/>
                  <a:pt x="340528" y="2526682"/>
                </a:cubicBezTo>
                <a:close/>
                <a:moveTo>
                  <a:pt x="1821636" y="152"/>
                </a:moveTo>
                <a:cubicBezTo>
                  <a:pt x="1920275" y="-4956"/>
                  <a:pt x="2051571" y="119306"/>
                  <a:pt x="2102482" y="278737"/>
                </a:cubicBezTo>
                <a:cubicBezTo>
                  <a:pt x="2192513" y="649582"/>
                  <a:pt x="1575154" y="1213351"/>
                  <a:pt x="2006019" y="1236931"/>
                </a:cubicBezTo>
                <a:cubicBezTo>
                  <a:pt x="2310412" y="1206920"/>
                  <a:pt x="2473326" y="1176910"/>
                  <a:pt x="2803442" y="1166192"/>
                </a:cubicBezTo>
                <a:cubicBezTo>
                  <a:pt x="3103547" y="1170479"/>
                  <a:pt x="3152850" y="1361260"/>
                  <a:pt x="3002798" y="1564903"/>
                </a:cubicBezTo>
                <a:cubicBezTo>
                  <a:pt x="3191435" y="1575621"/>
                  <a:pt x="3347919" y="1869296"/>
                  <a:pt x="3022090" y="1989338"/>
                </a:cubicBezTo>
                <a:cubicBezTo>
                  <a:pt x="3332913" y="2182262"/>
                  <a:pt x="3154994" y="2426634"/>
                  <a:pt x="2977074" y="2471650"/>
                </a:cubicBezTo>
                <a:cubicBezTo>
                  <a:pt x="3127127" y="2606697"/>
                  <a:pt x="3109978" y="2709590"/>
                  <a:pt x="2957782" y="2793191"/>
                </a:cubicBezTo>
                <a:cubicBezTo>
                  <a:pt x="2620164" y="2932526"/>
                  <a:pt x="1747715" y="3028988"/>
                  <a:pt x="1253613" y="2818914"/>
                </a:cubicBezTo>
                <a:cubicBezTo>
                  <a:pt x="1018944" y="2738561"/>
                  <a:pt x="869067" y="2654318"/>
                  <a:pt x="700568" y="2648441"/>
                </a:cubicBezTo>
                <a:lnTo>
                  <a:pt x="700568" y="2796242"/>
                </a:lnTo>
                <a:cubicBezTo>
                  <a:pt x="700568" y="2860729"/>
                  <a:pt x="648291" y="2913006"/>
                  <a:pt x="583804" y="2913006"/>
                </a:cubicBezTo>
                <a:lnTo>
                  <a:pt x="0" y="2913006"/>
                </a:lnTo>
                <a:lnTo>
                  <a:pt x="0" y="1400838"/>
                </a:lnTo>
                <a:lnTo>
                  <a:pt x="583804" y="1400838"/>
                </a:lnTo>
                <a:cubicBezTo>
                  <a:pt x="648291" y="1400838"/>
                  <a:pt x="700568" y="1453115"/>
                  <a:pt x="700568" y="1517602"/>
                </a:cubicBezTo>
                <a:lnTo>
                  <a:pt x="700568" y="1571674"/>
                </a:lnTo>
                <a:cubicBezTo>
                  <a:pt x="721537" y="1568378"/>
                  <a:pt x="746526" y="1559634"/>
                  <a:pt x="784162" y="1539180"/>
                </a:cubicBezTo>
                <a:cubicBezTo>
                  <a:pt x="831321" y="1421281"/>
                  <a:pt x="890271" y="1323747"/>
                  <a:pt x="1034964" y="1191915"/>
                </a:cubicBezTo>
                <a:cubicBezTo>
                  <a:pt x="1257900" y="851081"/>
                  <a:pt x="1628744" y="677449"/>
                  <a:pt x="1703770" y="169413"/>
                </a:cubicBezTo>
                <a:cubicBezTo>
                  <a:pt x="1715024" y="52855"/>
                  <a:pt x="1762452" y="3217"/>
                  <a:pt x="1821636" y="15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73" name="Rounded Rectangle 10">
            <a:extLst>
              <a:ext uri="{FF2B5EF4-FFF2-40B4-BE49-F238E27FC236}">
                <a16:creationId xmlns:a16="http://schemas.microsoft.com/office/drawing/2014/main" id="{B55467B8-5BFB-46FE-82D2-AA896BC192F1}"/>
              </a:ext>
            </a:extLst>
          </p:cNvPr>
          <p:cNvSpPr/>
          <p:nvPr/>
        </p:nvSpPr>
        <p:spPr>
          <a:xfrm>
            <a:off x="8534202" y="2515987"/>
            <a:ext cx="372169" cy="492524"/>
          </a:xfrm>
          <a:custGeom>
            <a:avLst/>
            <a:gdLst/>
            <a:ahLst/>
            <a:cxnLst/>
            <a:rect l="l" t="t" r="r" b="b"/>
            <a:pathLst>
              <a:path w="2448272" h="3240000">
                <a:moveTo>
                  <a:pt x="1358676" y="2676152"/>
                </a:moveTo>
                <a:cubicBezTo>
                  <a:pt x="1327753" y="2676152"/>
                  <a:pt x="1302685" y="2701220"/>
                  <a:pt x="1302685" y="2732143"/>
                </a:cubicBezTo>
                <a:lnTo>
                  <a:pt x="1302685" y="2956101"/>
                </a:lnTo>
                <a:cubicBezTo>
                  <a:pt x="1302685" y="2987024"/>
                  <a:pt x="1327753" y="3012092"/>
                  <a:pt x="1358676" y="3012092"/>
                </a:cubicBezTo>
                <a:lnTo>
                  <a:pt x="1582634" y="3012092"/>
                </a:lnTo>
                <a:cubicBezTo>
                  <a:pt x="1613557" y="3012092"/>
                  <a:pt x="1638625" y="2987024"/>
                  <a:pt x="1638625" y="2956101"/>
                </a:cubicBezTo>
                <a:lnTo>
                  <a:pt x="1638625" y="2732143"/>
                </a:lnTo>
                <a:cubicBezTo>
                  <a:pt x="1638625" y="2701220"/>
                  <a:pt x="1613557" y="2676152"/>
                  <a:pt x="1582634" y="2676152"/>
                </a:cubicBezTo>
                <a:close/>
                <a:moveTo>
                  <a:pt x="837062" y="2676152"/>
                </a:moveTo>
                <a:cubicBezTo>
                  <a:pt x="806139" y="2676152"/>
                  <a:pt x="781071" y="2701220"/>
                  <a:pt x="781071" y="2732143"/>
                </a:cubicBezTo>
                <a:lnTo>
                  <a:pt x="781071" y="2956101"/>
                </a:lnTo>
                <a:cubicBezTo>
                  <a:pt x="781071" y="2987024"/>
                  <a:pt x="806139" y="3012092"/>
                  <a:pt x="837062" y="3012092"/>
                </a:cubicBezTo>
                <a:lnTo>
                  <a:pt x="1061020" y="3012092"/>
                </a:lnTo>
                <a:cubicBezTo>
                  <a:pt x="1091943" y="3012092"/>
                  <a:pt x="1117011" y="2987024"/>
                  <a:pt x="1117011" y="2956101"/>
                </a:cubicBezTo>
                <a:lnTo>
                  <a:pt x="1117011" y="2732143"/>
                </a:lnTo>
                <a:cubicBezTo>
                  <a:pt x="1117011" y="2701220"/>
                  <a:pt x="1091943" y="2676152"/>
                  <a:pt x="1061020" y="2676152"/>
                </a:cubicBezTo>
                <a:close/>
                <a:moveTo>
                  <a:pt x="315448" y="2676152"/>
                </a:moveTo>
                <a:cubicBezTo>
                  <a:pt x="284525" y="2676152"/>
                  <a:pt x="259457" y="2701220"/>
                  <a:pt x="259457" y="2732143"/>
                </a:cubicBezTo>
                <a:lnTo>
                  <a:pt x="259457" y="2956101"/>
                </a:lnTo>
                <a:cubicBezTo>
                  <a:pt x="259457" y="2987024"/>
                  <a:pt x="284525" y="3012092"/>
                  <a:pt x="315448" y="3012092"/>
                </a:cubicBezTo>
                <a:lnTo>
                  <a:pt x="539406" y="3012092"/>
                </a:lnTo>
                <a:cubicBezTo>
                  <a:pt x="570329" y="3012092"/>
                  <a:pt x="595397" y="2987024"/>
                  <a:pt x="595397" y="2956101"/>
                </a:cubicBezTo>
                <a:lnTo>
                  <a:pt x="595397" y="2732143"/>
                </a:lnTo>
                <a:cubicBezTo>
                  <a:pt x="595397" y="2701220"/>
                  <a:pt x="570329" y="2676152"/>
                  <a:pt x="539406" y="2676152"/>
                </a:cubicBezTo>
                <a:close/>
                <a:moveTo>
                  <a:pt x="1880291" y="2179832"/>
                </a:moveTo>
                <a:cubicBezTo>
                  <a:pt x="1849368" y="2179832"/>
                  <a:pt x="1824300" y="2204900"/>
                  <a:pt x="1824300" y="2235823"/>
                </a:cubicBezTo>
                <a:lnTo>
                  <a:pt x="1824300" y="2956101"/>
                </a:lnTo>
                <a:cubicBezTo>
                  <a:pt x="1824300" y="2987024"/>
                  <a:pt x="1849368" y="3012092"/>
                  <a:pt x="1880291" y="3012092"/>
                </a:cubicBezTo>
                <a:lnTo>
                  <a:pt x="2104249" y="3012092"/>
                </a:lnTo>
                <a:cubicBezTo>
                  <a:pt x="2135172" y="3012092"/>
                  <a:pt x="2160240" y="2987024"/>
                  <a:pt x="2160240" y="2956101"/>
                </a:cubicBezTo>
                <a:lnTo>
                  <a:pt x="2160240" y="2235823"/>
                </a:lnTo>
                <a:cubicBezTo>
                  <a:pt x="2160240" y="2204900"/>
                  <a:pt x="2135172" y="2179832"/>
                  <a:pt x="2104249" y="2179832"/>
                </a:cubicBezTo>
                <a:close/>
                <a:moveTo>
                  <a:pt x="1358676" y="2179832"/>
                </a:moveTo>
                <a:cubicBezTo>
                  <a:pt x="1327753" y="2179832"/>
                  <a:pt x="1302685" y="2204900"/>
                  <a:pt x="1302685" y="2235823"/>
                </a:cubicBezTo>
                <a:lnTo>
                  <a:pt x="1302685" y="2459781"/>
                </a:lnTo>
                <a:cubicBezTo>
                  <a:pt x="1302685" y="2490704"/>
                  <a:pt x="1327753" y="2515772"/>
                  <a:pt x="1358676" y="2515772"/>
                </a:cubicBezTo>
                <a:lnTo>
                  <a:pt x="1582634" y="2515772"/>
                </a:lnTo>
                <a:cubicBezTo>
                  <a:pt x="1613557" y="2515772"/>
                  <a:pt x="1638625" y="2490704"/>
                  <a:pt x="1638625" y="2459781"/>
                </a:cubicBezTo>
                <a:lnTo>
                  <a:pt x="1638625" y="2235823"/>
                </a:lnTo>
                <a:cubicBezTo>
                  <a:pt x="1638625" y="2204900"/>
                  <a:pt x="1613557" y="2179832"/>
                  <a:pt x="1582634" y="2179832"/>
                </a:cubicBezTo>
                <a:close/>
                <a:moveTo>
                  <a:pt x="837062" y="2179832"/>
                </a:moveTo>
                <a:cubicBezTo>
                  <a:pt x="806139" y="2179832"/>
                  <a:pt x="781071" y="2204900"/>
                  <a:pt x="781071" y="2235823"/>
                </a:cubicBezTo>
                <a:lnTo>
                  <a:pt x="781071" y="2459781"/>
                </a:lnTo>
                <a:cubicBezTo>
                  <a:pt x="781071" y="2490704"/>
                  <a:pt x="806139" y="2515772"/>
                  <a:pt x="837062" y="2515772"/>
                </a:cubicBezTo>
                <a:lnTo>
                  <a:pt x="1061020" y="2515772"/>
                </a:lnTo>
                <a:cubicBezTo>
                  <a:pt x="1091943" y="2515772"/>
                  <a:pt x="1117011" y="2490704"/>
                  <a:pt x="1117011" y="2459781"/>
                </a:cubicBezTo>
                <a:lnTo>
                  <a:pt x="1117011" y="2235823"/>
                </a:lnTo>
                <a:cubicBezTo>
                  <a:pt x="1117011" y="2204900"/>
                  <a:pt x="1091943" y="2179832"/>
                  <a:pt x="1061020" y="2179832"/>
                </a:cubicBezTo>
                <a:close/>
                <a:moveTo>
                  <a:pt x="315448" y="2179832"/>
                </a:moveTo>
                <a:cubicBezTo>
                  <a:pt x="284525" y="2179832"/>
                  <a:pt x="259457" y="2204900"/>
                  <a:pt x="259457" y="2235823"/>
                </a:cubicBezTo>
                <a:lnTo>
                  <a:pt x="259457" y="2459781"/>
                </a:lnTo>
                <a:cubicBezTo>
                  <a:pt x="259457" y="2490704"/>
                  <a:pt x="284525" y="2515772"/>
                  <a:pt x="315448" y="2515772"/>
                </a:cubicBezTo>
                <a:lnTo>
                  <a:pt x="539406" y="2515772"/>
                </a:lnTo>
                <a:cubicBezTo>
                  <a:pt x="570329" y="2515772"/>
                  <a:pt x="595397" y="2490704"/>
                  <a:pt x="595397" y="2459781"/>
                </a:cubicBezTo>
                <a:lnTo>
                  <a:pt x="595397" y="2235823"/>
                </a:lnTo>
                <a:cubicBezTo>
                  <a:pt x="595397" y="2204900"/>
                  <a:pt x="570329" y="2179832"/>
                  <a:pt x="539406" y="2179832"/>
                </a:cubicBezTo>
                <a:close/>
                <a:moveTo>
                  <a:pt x="1880291" y="1683512"/>
                </a:moveTo>
                <a:cubicBezTo>
                  <a:pt x="1849368" y="1683512"/>
                  <a:pt x="1824300" y="1708580"/>
                  <a:pt x="1824300" y="1739503"/>
                </a:cubicBezTo>
                <a:lnTo>
                  <a:pt x="1824300" y="1963461"/>
                </a:lnTo>
                <a:cubicBezTo>
                  <a:pt x="1824300" y="1994384"/>
                  <a:pt x="1849368" y="2019452"/>
                  <a:pt x="1880291" y="2019452"/>
                </a:cubicBezTo>
                <a:lnTo>
                  <a:pt x="2104249" y="2019452"/>
                </a:lnTo>
                <a:cubicBezTo>
                  <a:pt x="2135172" y="2019452"/>
                  <a:pt x="2160240" y="1994384"/>
                  <a:pt x="2160240" y="1963461"/>
                </a:cubicBezTo>
                <a:lnTo>
                  <a:pt x="2160240" y="1739503"/>
                </a:lnTo>
                <a:cubicBezTo>
                  <a:pt x="2160240" y="1708580"/>
                  <a:pt x="2135172" y="1683512"/>
                  <a:pt x="2104249" y="1683512"/>
                </a:cubicBezTo>
                <a:close/>
                <a:moveTo>
                  <a:pt x="1358676" y="1683512"/>
                </a:moveTo>
                <a:cubicBezTo>
                  <a:pt x="1327753" y="1683512"/>
                  <a:pt x="1302685" y="1708580"/>
                  <a:pt x="1302685" y="1739503"/>
                </a:cubicBezTo>
                <a:lnTo>
                  <a:pt x="1302685" y="1963461"/>
                </a:lnTo>
                <a:cubicBezTo>
                  <a:pt x="1302685" y="1994384"/>
                  <a:pt x="1327753" y="2019452"/>
                  <a:pt x="1358676" y="2019452"/>
                </a:cubicBezTo>
                <a:lnTo>
                  <a:pt x="1582634" y="2019452"/>
                </a:lnTo>
                <a:cubicBezTo>
                  <a:pt x="1613557" y="2019452"/>
                  <a:pt x="1638625" y="1994384"/>
                  <a:pt x="1638625" y="1963461"/>
                </a:cubicBezTo>
                <a:lnTo>
                  <a:pt x="1638625" y="1739503"/>
                </a:lnTo>
                <a:cubicBezTo>
                  <a:pt x="1638625" y="1708580"/>
                  <a:pt x="1613557" y="1683512"/>
                  <a:pt x="1582634" y="1683512"/>
                </a:cubicBezTo>
                <a:close/>
                <a:moveTo>
                  <a:pt x="837062" y="1683512"/>
                </a:moveTo>
                <a:cubicBezTo>
                  <a:pt x="806139" y="1683512"/>
                  <a:pt x="781071" y="1708580"/>
                  <a:pt x="781071" y="1739503"/>
                </a:cubicBezTo>
                <a:lnTo>
                  <a:pt x="781071" y="1963461"/>
                </a:lnTo>
                <a:cubicBezTo>
                  <a:pt x="781071" y="1994384"/>
                  <a:pt x="806139" y="2019452"/>
                  <a:pt x="837062" y="2019452"/>
                </a:cubicBezTo>
                <a:lnTo>
                  <a:pt x="1061020" y="2019452"/>
                </a:lnTo>
                <a:cubicBezTo>
                  <a:pt x="1091943" y="2019452"/>
                  <a:pt x="1117011" y="1994384"/>
                  <a:pt x="1117011" y="1963461"/>
                </a:cubicBezTo>
                <a:lnTo>
                  <a:pt x="1117011" y="1739503"/>
                </a:lnTo>
                <a:cubicBezTo>
                  <a:pt x="1117011" y="1708580"/>
                  <a:pt x="1091943" y="1683512"/>
                  <a:pt x="1061020" y="1683512"/>
                </a:cubicBezTo>
                <a:close/>
                <a:moveTo>
                  <a:pt x="315448" y="1683512"/>
                </a:moveTo>
                <a:cubicBezTo>
                  <a:pt x="284525" y="1683512"/>
                  <a:pt x="259457" y="1708580"/>
                  <a:pt x="259457" y="1739503"/>
                </a:cubicBezTo>
                <a:lnTo>
                  <a:pt x="259457" y="1963461"/>
                </a:lnTo>
                <a:cubicBezTo>
                  <a:pt x="259457" y="1994384"/>
                  <a:pt x="284525" y="2019452"/>
                  <a:pt x="315448" y="2019452"/>
                </a:cubicBezTo>
                <a:lnTo>
                  <a:pt x="539406" y="2019452"/>
                </a:lnTo>
                <a:cubicBezTo>
                  <a:pt x="570329" y="2019452"/>
                  <a:pt x="595397" y="1994384"/>
                  <a:pt x="595397" y="1963461"/>
                </a:cubicBezTo>
                <a:lnTo>
                  <a:pt x="595397" y="1739503"/>
                </a:lnTo>
                <a:cubicBezTo>
                  <a:pt x="595397" y="1708580"/>
                  <a:pt x="570329" y="1683512"/>
                  <a:pt x="539406" y="1683512"/>
                </a:cubicBezTo>
                <a:close/>
                <a:moveTo>
                  <a:pt x="1880291" y="1187192"/>
                </a:moveTo>
                <a:cubicBezTo>
                  <a:pt x="1849368" y="1187192"/>
                  <a:pt x="1824300" y="1212260"/>
                  <a:pt x="1824300" y="1243183"/>
                </a:cubicBezTo>
                <a:lnTo>
                  <a:pt x="1824300" y="1467141"/>
                </a:lnTo>
                <a:cubicBezTo>
                  <a:pt x="1824300" y="1498064"/>
                  <a:pt x="1849368" y="1523132"/>
                  <a:pt x="1880291" y="1523132"/>
                </a:cubicBezTo>
                <a:lnTo>
                  <a:pt x="2104249" y="1523132"/>
                </a:lnTo>
                <a:cubicBezTo>
                  <a:pt x="2135172" y="1523132"/>
                  <a:pt x="2160240" y="1498064"/>
                  <a:pt x="2160240" y="1467141"/>
                </a:cubicBezTo>
                <a:lnTo>
                  <a:pt x="2160240" y="1243183"/>
                </a:lnTo>
                <a:cubicBezTo>
                  <a:pt x="2160240" y="1212260"/>
                  <a:pt x="2135172" y="1187192"/>
                  <a:pt x="2104249" y="1187192"/>
                </a:cubicBezTo>
                <a:close/>
                <a:moveTo>
                  <a:pt x="1358676" y="1187192"/>
                </a:moveTo>
                <a:cubicBezTo>
                  <a:pt x="1327753" y="1187192"/>
                  <a:pt x="1302685" y="1212260"/>
                  <a:pt x="1302685" y="1243183"/>
                </a:cubicBezTo>
                <a:lnTo>
                  <a:pt x="1302685" y="1467141"/>
                </a:lnTo>
                <a:cubicBezTo>
                  <a:pt x="1302685" y="1498064"/>
                  <a:pt x="1327753" y="1523132"/>
                  <a:pt x="1358676" y="1523132"/>
                </a:cubicBezTo>
                <a:lnTo>
                  <a:pt x="1582634" y="1523132"/>
                </a:lnTo>
                <a:cubicBezTo>
                  <a:pt x="1613557" y="1523132"/>
                  <a:pt x="1638625" y="1498064"/>
                  <a:pt x="1638625" y="1467141"/>
                </a:cubicBezTo>
                <a:lnTo>
                  <a:pt x="1638625" y="1243183"/>
                </a:lnTo>
                <a:cubicBezTo>
                  <a:pt x="1638625" y="1212260"/>
                  <a:pt x="1613557" y="1187192"/>
                  <a:pt x="1582634" y="1187192"/>
                </a:cubicBezTo>
                <a:close/>
                <a:moveTo>
                  <a:pt x="837062" y="1187192"/>
                </a:moveTo>
                <a:cubicBezTo>
                  <a:pt x="806139" y="1187192"/>
                  <a:pt x="781071" y="1212260"/>
                  <a:pt x="781071" y="1243183"/>
                </a:cubicBezTo>
                <a:lnTo>
                  <a:pt x="781071" y="1467141"/>
                </a:lnTo>
                <a:cubicBezTo>
                  <a:pt x="781071" y="1498064"/>
                  <a:pt x="806139" y="1523132"/>
                  <a:pt x="837062" y="1523132"/>
                </a:cubicBezTo>
                <a:lnTo>
                  <a:pt x="1061020" y="1523132"/>
                </a:lnTo>
                <a:cubicBezTo>
                  <a:pt x="1091943" y="1523132"/>
                  <a:pt x="1117011" y="1498064"/>
                  <a:pt x="1117011" y="1467141"/>
                </a:cubicBezTo>
                <a:lnTo>
                  <a:pt x="1117011" y="1243183"/>
                </a:lnTo>
                <a:cubicBezTo>
                  <a:pt x="1117011" y="1212260"/>
                  <a:pt x="1091943" y="1187192"/>
                  <a:pt x="1061020" y="1187192"/>
                </a:cubicBezTo>
                <a:close/>
                <a:moveTo>
                  <a:pt x="315448" y="1187192"/>
                </a:moveTo>
                <a:cubicBezTo>
                  <a:pt x="284525" y="1187192"/>
                  <a:pt x="259457" y="1212260"/>
                  <a:pt x="259457" y="1243183"/>
                </a:cubicBezTo>
                <a:lnTo>
                  <a:pt x="259457" y="1467141"/>
                </a:lnTo>
                <a:cubicBezTo>
                  <a:pt x="259457" y="1498064"/>
                  <a:pt x="284525" y="1523132"/>
                  <a:pt x="315448" y="1523132"/>
                </a:cubicBezTo>
                <a:lnTo>
                  <a:pt x="539406" y="1523132"/>
                </a:lnTo>
                <a:cubicBezTo>
                  <a:pt x="570329" y="1523132"/>
                  <a:pt x="595397" y="1498064"/>
                  <a:pt x="595397" y="1467141"/>
                </a:cubicBezTo>
                <a:lnTo>
                  <a:pt x="595397" y="1243183"/>
                </a:lnTo>
                <a:cubicBezTo>
                  <a:pt x="595397" y="1212260"/>
                  <a:pt x="570329" y="1187192"/>
                  <a:pt x="539406" y="1187192"/>
                </a:cubicBezTo>
                <a:close/>
                <a:moveTo>
                  <a:pt x="348041" y="163575"/>
                </a:moveTo>
                <a:cubicBezTo>
                  <a:pt x="275130" y="163575"/>
                  <a:pt x="216024" y="222681"/>
                  <a:pt x="216024" y="295592"/>
                </a:cubicBezTo>
                <a:lnTo>
                  <a:pt x="216024" y="823646"/>
                </a:lnTo>
                <a:cubicBezTo>
                  <a:pt x="216024" y="896557"/>
                  <a:pt x="275130" y="955663"/>
                  <a:pt x="348041" y="955663"/>
                </a:cubicBezTo>
                <a:lnTo>
                  <a:pt x="2100231" y="955663"/>
                </a:lnTo>
                <a:cubicBezTo>
                  <a:pt x="2173142" y="955663"/>
                  <a:pt x="2232248" y="896557"/>
                  <a:pt x="2232248" y="823646"/>
                </a:cubicBezTo>
                <a:lnTo>
                  <a:pt x="2232248" y="295592"/>
                </a:lnTo>
                <a:cubicBezTo>
                  <a:pt x="2232248" y="222681"/>
                  <a:pt x="2173142" y="163575"/>
                  <a:pt x="2100231" y="163575"/>
                </a:cubicBezTo>
                <a:close/>
                <a:moveTo>
                  <a:pt x="265172" y="0"/>
                </a:moveTo>
                <a:lnTo>
                  <a:pt x="2183100" y="0"/>
                </a:lnTo>
                <a:cubicBezTo>
                  <a:pt x="2329550" y="0"/>
                  <a:pt x="2448272" y="118722"/>
                  <a:pt x="2448272" y="265172"/>
                </a:cubicBezTo>
                <a:lnTo>
                  <a:pt x="2448272" y="2974828"/>
                </a:lnTo>
                <a:cubicBezTo>
                  <a:pt x="2448272" y="3121278"/>
                  <a:pt x="2329550" y="3240000"/>
                  <a:pt x="2183100" y="3240000"/>
                </a:cubicBezTo>
                <a:lnTo>
                  <a:pt x="265172" y="3240000"/>
                </a:lnTo>
                <a:cubicBezTo>
                  <a:pt x="118722" y="3240000"/>
                  <a:pt x="0" y="3121278"/>
                  <a:pt x="0" y="2974828"/>
                </a:cubicBezTo>
                <a:lnTo>
                  <a:pt x="0" y="265172"/>
                </a:lnTo>
                <a:cubicBezTo>
                  <a:pt x="0" y="118722"/>
                  <a:pt x="118722" y="0"/>
                  <a:pt x="265172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74" name="Rounded Rectangle 32">
            <a:extLst>
              <a:ext uri="{FF2B5EF4-FFF2-40B4-BE49-F238E27FC236}">
                <a16:creationId xmlns:a16="http://schemas.microsoft.com/office/drawing/2014/main" id="{A7C45BCB-0B8E-4E0E-842A-DD554B68B1C0}"/>
              </a:ext>
            </a:extLst>
          </p:cNvPr>
          <p:cNvSpPr/>
          <p:nvPr/>
        </p:nvSpPr>
        <p:spPr>
          <a:xfrm>
            <a:off x="10179594" y="3623455"/>
            <a:ext cx="491492" cy="491492"/>
          </a:xfrm>
          <a:custGeom>
            <a:avLst/>
            <a:gdLst/>
            <a:ahLst/>
            <a:cxnLst/>
            <a:rect l="l" t="t" r="r" b="b"/>
            <a:pathLst>
              <a:path w="3240000" h="3240000">
                <a:moveTo>
                  <a:pt x="2019696" y="2510955"/>
                </a:moveTo>
                <a:lnTo>
                  <a:pt x="2019696" y="2797359"/>
                </a:lnTo>
                <a:lnTo>
                  <a:pt x="2914589" y="2797359"/>
                </a:lnTo>
                <a:lnTo>
                  <a:pt x="2914589" y="2510955"/>
                </a:lnTo>
                <a:close/>
                <a:moveTo>
                  <a:pt x="2019696" y="2081348"/>
                </a:moveTo>
                <a:lnTo>
                  <a:pt x="2019696" y="2367752"/>
                </a:lnTo>
                <a:lnTo>
                  <a:pt x="2914589" y="2367752"/>
                </a:lnTo>
                <a:lnTo>
                  <a:pt x="2914589" y="2081348"/>
                </a:lnTo>
                <a:close/>
                <a:moveTo>
                  <a:pt x="580710" y="2021703"/>
                </a:moveTo>
                <a:lnTo>
                  <a:pt x="378191" y="2224222"/>
                </a:lnTo>
                <a:lnTo>
                  <a:pt x="593323" y="2439354"/>
                </a:lnTo>
                <a:lnTo>
                  <a:pt x="378191" y="2654485"/>
                </a:lnTo>
                <a:lnTo>
                  <a:pt x="580710" y="2857004"/>
                </a:lnTo>
                <a:lnTo>
                  <a:pt x="795842" y="2641872"/>
                </a:lnTo>
                <a:lnTo>
                  <a:pt x="1010973" y="2857004"/>
                </a:lnTo>
                <a:lnTo>
                  <a:pt x="1213492" y="2654485"/>
                </a:lnTo>
                <a:lnTo>
                  <a:pt x="998360" y="2439354"/>
                </a:lnTo>
                <a:lnTo>
                  <a:pt x="1213492" y="2224222"/>
                </a:lnTo>
                <a:lnTo>
                  <a:pt x="1010973" y="2021703"/>
                </a:lnTo>
                <a:lnTo>
                  <a:pt x="795842" y="2236835"/>
                </a:lnTo>
                <a:close/>
                <a:moveTo>
                  <a:pt x="1656000" y="1656001"/>
                </a:moveTo>
                <a:lnTo>
                  <a:pt x="3240000" y="1656001"/>
                </a:lnTo>
                <a:lnTo>
                  <a:pt x="3240000" y="2699989"/>
                </a:lnTo>
                <a:cubicBezTo>
                  <a:pt x="3240000" y="2998229"/>
                  <a:pt x="2998229" y="3240000"/>
                  <a:pt x="2699989" y="3240000"/>
                </a:cubicBezTo>
                <a:lnTo>
                  <a:pt x="1656000" y="3240000"/>
                </a:lnTo>
                <a:close/>
                <a:moveTo>
                  <a:pt x="0" y="1656001"/>
                </a:moveTo>
                <a:lnTo>
                  <a:pt x="1584000" y="1656001"/>
                </a:lnTo>
                <a:lnTo>
                  <a:pt x="1584000" y="3240000"/>
                </a:lnTo>
                <a:lnTo>
                  <a:pt x="540011" y="3240000"/>
                </a:lnTo>
                <a:cubicBezTo>
                  <a:pt x="241771" y="3240000"/>
                  <a:pt x="0" y="2998229"/>
                  <a:pt x="0" y="2699989"/>
                </a:cubicBezTo>
                <a:close/>
                <a:moveTo>
                  <a:pt x="2467143" y="957859"/>
                </a:moveTo>
                <a:cubicBezTo>
                  <a:pt x="2388055" y="957859"/>
                  <a:pt x="2323941" y="1021973"/>
                  <a:pt x="2323941" y="1101061"/>
                </a:cubicBezTo>
                <a:cubicBezTo>
                  <a:pt x="2323941" y="1180149"/>
                  <a:pt x="2388055" y="1244263"/>
                  <a:pt x="2467143" y="1244263"/>
                </a:cubicBezTo>
                <a:cubicBezTo>
                  <a:pt x="2546231" y="1244263"/>
                  <a:pt x="2610345" y="1180149"/>
                  <a:pt x="2610345" y="1101061"/>
                </a:cubicBezTo>
                <a:cubicBezTo>
                  <a:pt x="2610345" y="1021973"/>
                  <a:pt x="2546231" y="957859"/>
                  <a:pt x="2467143" y="957859"/>
                </a:cubicBezTo>
                <a:close/>
                <a:moveTo>
                  <a:pt x="2019696" y="635775"/>
                </a:moveTo>
                <a:lnTo>
                  <a:pt x="2019696" y="922180"/>
                </a:lnTo>
                <a:lnTo>
                  <a:pt x="2914589" y="922180"/>
                </a:lnTo>
                <a:lnTo>
                  <a:pt x="2914589" y="635775"/>
                </a:lnTo>
                <a:close/>
                <a:moveTo>
                  <a:pt x="652639" y="331531"/>
                </a:moveTo>
                <a:lnTo>
                  <a:pt x="652639" y="635775"/>
                </a:lnTo>
                <a:lnTo>
                  <a:pt x="348395" y="635775"/>
                </a:lnTo>
                <a:lnTo>
                  <a:pt x="348395" y="922180"/>
                </a:lnTo>
                <a:lnTo>
                  <a:pt x="652639" y="922180"/>
                </a:lnTo>
                <a:lnTo>
                  <a:pt x="652639" y="1226424"/>
                </a:lnTo>
                <a:lnTo>
                  <a:pt x="939044" y="1226424"/>
                </a:lnTo>
                <a:lnTo>
                  <a:pt x="939044" y="922180"/>
                </a:lnTo>
                <a:lnTo>
                  <a:pt x="1243288" y="922180"/>
                </a:lnTo>
                <a:lnTo>
                  <a:pt x="1243288" y="635775"/>
                </a:lnTo>
                <a:lnTo>
                  <a:pt x="939044" y="635775"/>
                </a:lnTo>
                <a:lnTo>
                  <a:pt x="939044" y="331531"/>
                </a:lnTo>
                <a:close/>
                <a:moveTo>
                  <a:pt x="2467143" y="313692"/>
                </a:moveTo>
                <a:cubicBezTo>
                  <a:pt x="2388055" y="313692"/>
                  <a:pt x="2323941" y="377806"/>
                  <a:pt x="2323941" y="456894"/>
                </a:cubicBezTo>
                <a:cubicBezTo>
                  <a:pt x="2323941" y="535982"/>
                  <a:pt x="2388055" y="600096"/>
                  <a:pt x="2467143" y="600096"/>
                </a:cubicBezTo>
                <a:cubicBezTo>
                  <a:pt x="2546231" y="600096"/>
                  <a:pt x="2610345" y="535982"/>
                  <a:pt x="2610345" y="456894"/>
                </a:cubicBezTo>
                <a:cubicBezTo>
                  <a:pt x="2610345" y="377806"/>
                  <a:pt x="2546231" y="313692"/>
                  <a:pt x="2467143" y="313692"/>
                </a:cubicBezTo>
                <a:close/>
                <a:moveTo>
                  <a:pt x="540011" y="0"/>
                </a:moveTo>
                <a:lnTo>
                  <a:pt x="2699989" y="0"/>
                </a:lnTo>
                <a:cubicBezTo>
                  <a:pt x="2998229" y="0"/>
                  <a:pt x="3240000" y="241771"/>
                  <a:pt x="3240000" y="540011"/>
                </a:cubicBezTo>
                <a:lnTo>
                  <a:pt x="3240000" y="1584001"/>
                </a:lnTo>
                <a:lnTo>
                  <a:pt x="1656000" y="1584001"/>
                </a:lnTo>
                <a:lnTo>
                  <a:pt x="1656000" y="1"/>
                </a:lnTo>
                <a:lnTo>
                  <a:pt x="1584000" y="1"/>
                </a:lnTo>
                <a:lnTo>
                  <a:pt x="1584000" y="1584001"/>
                </a:lnTo>
                <a:lnTo>
                  <a:pt x="0" y="1584001"/>
                </a:lnTo>
                <a:lnTo>
                  <a:pt x="0" y="540011"/>
                </a:lnTo>
                <a:cubicBezTo>
                  <a:pt x="0" y="241771"/>
                  <a:pt x="241771" y="0"/>
                  <a:pt x="540011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75" name="Trapezoid 13">
            <a:extLst>
              <a:ext uri="{FF2B5EF4-FFF2-40B4-BE49-F238E27FC236}">
                <a16:creationId xmlns:a16="http://schemas.microsoft.com/office/drawing/2014/main" id="{EAB635DE-58EF-4585-A0F5-0790A1957A5B}"/>
              </a:ext>
            </a:extLst>
          </p:cNvPr>
          <p:cNvSpPr/>
          <p:nvPr/>
        </p:nvSpPr>
        <p:spPr>
          <a:xfrm>
            <a:off x="5324216" y="2538243"/>
            <a:ext cx="529844" cy="448015"/>
          </a:xfrm>
          <a:custGeom>
            <a:avLst/>
            <a:gdLst/>
            <a:ahLst/>
            <a:cxnLst/>
            <a:rect l="l" t="t" r="r" b="b"/>
            <a:pathLst>
              <a:path w="2736304" h="2313707">
                <a:moveTo>
                  <a:pt x="1046195" y="1945901"/>
                </a:moveTo>
                <a:lnTo>
                  <a:pt x="998316" y="2093032"/>
                </a:lnTo>
                <a:lnTo>
                  <a:pt x="1737988" y="2093032"/>
                </a:lnTo>
                <a:lnTo>
                  <a:pt x="1690109" y="1945901"/>
                </a:lnTo>
                <a:close/>
                <a:moveTo>
                  <a:pt x="396044" y="89541"/>
                </a:moveTo>
                <a:lnTo>
                  <a:pt x="396044" y="1241668"/>
                </a:lnTo>
                <a:lnTo>
                  <a:pt x="2340260" y="1241668"/>
                </a:lnTo>
                <a:lnTo>
                  <a:pt x="2340260" y="89541"/>
                </a:lnTo>
                <a:close/>
                <a:moveTo>
                  <a:pt x="252028" y="0"/>
                </a:moveTo>
                <a:lnTo>
                  <a:pt x="2484276" y="0"/>
                </a:lnTo>
                <a:lnTo>
                  <a:pt x="2484276" y="1331208"/>
                </a:lnTo>
                <a:lnTo>
                  <a:pt x="2484679" y="1331208"/>
                </a:lnTo>
                <a:lnTo>
                  <a:pt x="2736304" y="2195304"/>
                </a:lnTo>
                <a:lnTo>
                  <a:pt x="2736304" y="2313707"/>
                </a:lnTo>
                <a:lnTo>
                  <a:pt x="0" y="2313707"/>
                </a:lnTo>
                <a:lnTo>
                  <a:pt x="0" y="2195304"/>
                </a:lnTo>
                <a:lnTo>
                  <a:pt x="251625" y="1331208"/>
                </a:lnTo>
                <a:lnTo>
                  <a:pt x="252028" y="1331208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76" name="Rounded Rectangle 7">
            <a:extLst>
              <a:ext uri="{FF2B5EF4-FFF2-40B4-BE49-F238E27FC236}">
                <a16:creationId xmlns:a16="http://schemas.microsoft.com/office/drawing/2014/main" id="{890A206E-8EB0-46CB-87E5-BB62DA827BE4}"/>
              </a:ext>
            </a:extLst>
          </p:cNvPr>
          <p:cNvSpPr/>
          <p:nvPr/>
        </p:nvSpPr>
        <p:spPr>
          <a:xfrm>
            <a:off x="7858216" y="2527504"/>
            <a:ext cx="271294" cy="469495"/>
          </a:xfrm>
          <a:custGeom>
            <a:avLst/>
            <a:gdLst/>
            <a:ahLst/>
            <a:cxnLst/>
            <a:rect l="l" t="t" r="r" b="b"/>
            <a:pathLst>
              <a:path w="1872208" h="3240000">
                <a:moveTo>
                  <a:pt x="936104" y="2852499"/>
                </a:moveTo>
                <a:cubicBezTo>
                  <a:pt x="861605" y="2852499"/>
                  <a:pt x="801211" y="2912893"/>
                  <a:pt x="801211" y="2987392"/>
                </a:cubicBezTo>
                <a:cubicBezTo>
                  <a:pt x="801211" y="3061891"/>
                  <a:pt x="861605" y="3122285"/>
                  <a:pt x="936104" y="3122285"/>
                </a:cubicBezTo>
                <a:cubicBezTo>
                  <a:pt x="1010603" y="3122285"/>
                  <a:pt x="1070997" y="3061891"/>
                  <a:pt x="1070997" y="2987392"/>
                </a:cubicBezTo>
                <a:cubicBezTo>
                  <a:pt x="1070997" y="2912893"/>
                  <a:pt x="1010603" y="2852499"/>
                  <a:pt x="936104" y="2852499"/>
                </a:cubicBezTo>
                <a:close/>
                <a:moveTo>
                  <a:pt x="144016" y="323096"/>
                </a:moveTo>
                <a:lnTo>
                  <a:pt x="144016" y="2699360"/>
                </a:lnTo>
                <a:lnTo>
                  <a:pt x="1728192" y="2699360"/>
                </a:lnTo>
                <a:lnTo>
                  <a:pt x="1728192" y="323096"/>
                </a:lnTo>
                <a:close/>
                <a:moveTo>
                  <a:pt x="720104" y="107072"/>
                </a:moveTo>
                <a:cubicBezTo>
                  <a:pt x="690281" y="107072"/>
                  <a:pt x="666104" y="131249"/>
                  <a:pt x="666104" y="161072"/>
                </a:cubicBezTo>
                <a:cubicBezTo>
                  <a:pt x="666104" y="190895"/>
                  <a:pt x="690281" y="215072"/>
                  <a:pt x="720104" y="215072"/>
                </a:cubicBezTo>
                <a:lnTo>
                  <a:pt x="1152104" y="215072"/>
                </a:lnTo>
                <a:cubicBezTo>
                  <a:pt x="1181927" y="215072"/>
                  <a:pt x="1206104" y="190895"/>
                  <a:pt x="1206104" y="161072"/>
                </a:cubicBezTo>
                <a:cubicBezTo>
                  <a:pt x="1206104" y="131249"/>
                  <a:pt x="1181927" y="107072"/>
                  <a:pt x="1152104" y="107072"/>
                </a:cubicBezTo>
                <a:close/>
                <a:moveTo>
                  <a:pt x="312041" y="0"/>
                </a:moveTo>
                <a:lnTo>
                  <a:pt x="1560167" y="0"/>
                </a:lnTo>
                <a:cubicBezTo>
                  <a:pt x="1732502" y="0"/>
                  <a:pt x="1872208" y="139706"/>
                  <a:pt x="1872208" y="312041"/>
                </a:cubicBezTo>
                <a:lnTo>
                  <a:pt x="1872208" y="2927959"/>
                </a:lnTo>
                <a:cubicBezTo>
                  <a:pt x="1872208" y="3100294"/>
                  <a:pt x="1732502" y="3240000"/>
                  <a:pt x="1560167" y="3240000"/>
                </a:cubicBezTo>
                <a:lnTo>
                  <a:pt x="312041" y="3240000"/>
                </a:lnTo>
                <a:cubicBezTo>
                  <a:pt x="139706" y="3240000"/>
                  <a:pt x="0" y="3100294"/>
                  <a:pt x="0" y="2927959"/>
                </a:cubicBezTo>
                <a:lnTo>
                  <a:pt x="0" y="312041"/>
                </a:lnTo>
                <a:cubicBezTo>
                  <a:pt x="0" y="139706"/>
                  <a:pt x="139706" y="0"/>
                  <a:pt x="312041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77" name="Rectangle 18">
            <a:extLst>
              <a:ext uri="{FF2B5EF4-FFF2-40B4-BE49-F238E27FC236}">
                <a16:creationId xmlns:a16="http://schemas.microsoft.com/office/drawing/2014/main" id="{D8BFBE69-EC90-491A-A905-789398F4B3A8}"/>
              </a:ext>
            </a:extLst>
          </p:cNvPr>
          <p:cNvSpPr/>
          <p:nvPr/>
        </p:nvSpPr>
        <p:spPr>
          <a:xfrm>
            <a:off x="6258752" y="2567175"/>
            <a:ext cx="491054" cy="390153"/>
          </a:xfrm>
          <a:custGeom>
            <a:avLst/>
            <a:gdLst/>
            <a:ahLst/>
            <a:cxnLst/>
            <a:rect l="l" t="t" r="r" b="b"/>
            <a:pathLst>
              <a:path w="3240000" h="2574247">
                <a:moveTo>
                  <a:pt x="2393400" y="1814089"/>
                </a:moveTo>
                <a:cubicBezTo>
                  <a:pt x="2363577" y="1814089"/>
                  <a:pt x="2339400" y="1838266"/>
                  <a:pt x="2339400" y="1868089"/>
                </a:cubicBezTo>
                <a:cubicBezTo>
                  <a:pt x="2339400" y="1897912"/>
                  <a:pt x="2363577" y="1922089"/>
                  <a:pt x="2393400" y="1922089"/>
                </a:cubicBezTo>
                <a:lnTo>
                  <a:pt x="2573400" y="1922089"/>
                </a:lnTo>
                <a:cubicBezTo>
                  <a:pt x="2603223" y="1922089"/>
                  <a:pt x="2627400" y="1897912"/>
                  <a:pt x="2627400" y="1868089"/>
                </a:cubicBezTo>
                <a:cubicBezTo>
                  <a:pt x="2627400" y="1838266"/>
                  <a:pt x="2603223" y="1814089"/>
                  <a:pt x="2573400" y="1814089"/>
                </a:cubicBezTo>
                <a:close/>
                <a:moveTo>
                  <a:pt x="173344" y="1814089"/>
                </a:moveTo>
                <a:cubicBezTo>
                  <a:pt x="143521" y="1814089"/>
                  <a:pt x="119344" y="1838266"/>
                  <a:pt x="119344" y="1868089"/>
                </a:cubicBezTo>
                <a:cubicBezTo>
                  <a:pt x="119344" y="1897912"/>
                  <a:pt x="143521" y="1922089"/>
                  <a:pt x="173344" y="1922089"/>
                </a:cubicBezTo>
                <a:lnTo>
                  <a:pt x="353344" y="1922089"/>
                </a:lnTo>
                <a:cubicBezTo>
                  <a:pt x="383167" y="1922089"/>
                  <a:pt x="407344" y="1897912"/>
                  <a:pt x="407344" y="1868089"/>
                </a:cubicBezTo>
                <a:cubicBezTo>
                  <a:pt x="407344" y="1838266"/>
                  <a:pt x="383167" y="1814089"/>
                  <a:pt x="353344" y="1814089"/>
                </a:cubicBezTo>
                <a:close/>
                <a:moveTo>
                  <a:pt x="2933496" y="1796081"/>
                </a:moveTo>
                <a:cubicBezTo>
                  <a:pt x="2893727" y="1796081"/>
                  <a:pt x="2861488" y="1828320"/>
                  <a:pt x="2861488" y="1868089"/>
                </a:cubicBezTo>
                <a:cubicBezTo>
                  <a:pt x="2861488" y="1907858"/>
                  <a:pt x="2893727" y="1940097"/>
                  <a:pt x="2933496" y="1940097"/>
                </a:cubicBezTo>
                <a:cubicBezTo>
                  <a:pt x="2973265" y="1940097"/>
                  <a:pt x="3005504" y="1907858"/>
                  <a:pt x="3005504" y="1868089"/>
                </a:cubicBezTo>
                <a:cubicBezTo>
                  <a:pt x="3005504" y="1828320"/>
                  <a:pt x="2973265" y="1796081"/>
                  <a:pt x="2933496" y="1796081"/>
                </a:cubicBezTo>
                <a:close/>
                <a:moveTo>
                  <a:pt x="119344" y="122856"/>
                </a:moveTo>
                <a:lnTo>
                  <a:pt x="119344" y="1728192"/>
                </a:lnTo>
                <a:lnTo>
                  <a:pt x="3120656" y="1728192"/>
                </a:lnTo>
                <a:lnTo>
                  <a:pt x="3120656" y="122856"/>
                </a:lnTo>
                <a:close/>
                <a:moveTo>
                  <a:pt x="0" y="0"/>
                </a:moveTo>
                <a:lnTo>
                  <a:pt x="3240000" y="0"/>
                </a:lnTo>
                <a:lnTo>
                  <a:pt x="3240000" y="2016224"/>
                </a:lnTo>
                <a:lnTo>
                  <a:pt x="1812079" y="2016224"/>
                </a:lnTo>
                <a:lnTo>
                  <a:pt x="1857107" y="2320159"/>
                </a:lnTo>
                <a:lnTo>
                  <a:pt x="2357140" y="2320159"/>
                </a:lnTo>
                <a:cubicBezTo>
                  <a:pt x="2427304" y="2320159"/>
                  <a:pt x="2484184" y="2377039"/>
                  <a:pt x="2484184" y="2447203"/>
                </a:cubicBezTo>
                <a:lnTo>
                  <a:pt x="2484184" y="2574247"/>
                </a:lnTo>
                <a:lnTo>
                  <a:pt x="755992" y="2574247"/>
                </a:lnTo>
                <a:lnTo>
                  <a:pt x="755992" y="2447203"/>
                </a:lnTo>
                <a:cubicBezTo>
                  <a:pt x="755992" y="2377039"/>
                  <a:pt x="812872" y="2320159"/>
                  <a:pt x="883036" y="2320159"/>
                </a:cubicBezTo>
                <a:lnTo>
                  <a:pt x="1382894" y="2320159"/>
                </a:lnTo>
                <a:lnTo>
                  <a:pt x="1427922" y="2016224"/>
                </a:lnTo>
                <a:lnTo>
                  <a:pt x="0" y="2016224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78" name="Rounded Rectangle 25">
            <a:extLst>
              <a:ext uri="{FF2B5EF4-FFF2-40B4-BE49-F238E27FC236}">
                <a16:creationId xmlns:a16="http://schemas.microsoft.com/office/drawing/2014/main" id="{4572E89B-D1A8-4A73-807F-C57BE0137D47}"/>
              </a:ext>
            </a:extLst>
          </p:cNvPr>
          <p:cNvSpPr/>
          <p:nvPr/>
        </p:nvSpPr>
        <p:spPr>
          <a:xfrm>
            <a:off x="7154498" y="2552022"/>
            <a:ext cx="299026" cy="420457"/>
          </a:xfrm>
          <a:custGeom>
            <a:avLst/>
            <a:gdLst/>
            <a:ahLst/>
            <a:cxnLst/>
            <a:rect l="l" t="t" r="r" b="b"/>
            <a:pathLst>
              <a:path w="2304256" h="3240000">
                <a:moveTo>
                  <a:pt x="954128" y="3024336"/>
                </a:moveTo>
                <a:cubicBezTo>
                  <a:pt x="924305" y="3024336"/>
                  <a:pt x="900128" y="3048513"/>
                  <a:pt x="900128" y="3078336"/>
                </a:cubicBezTo>
                <a:cubicBezTo>
                  <a:pt x="900128" y="3108159"/>
                  <a:pt x="924305" y="3132336"/>
                  <a:pt x="954128" y="3132336"/>
                </a:cubicBezTo>
                <a:lnTo>
                  <a:pt x="1350128" y="3132336"/>
                </a:lnTo>
                <a:cubicBezTo>
                  <a:pt x="1379951" y="3132336"/>
                  <a:pt x="1404128" y="3108159"/>
                  <a:pt x="1404128" y="3078336"/>
                </a:cubicBezTo>
                <a:cubicBezTo>
                  <a:pt x="1404128" y="3048513"/>
                  <a:pt x="1379951" y="3024336"/>
                  <a:pt x="1350128" y="3024336"/>
                </a:cubicBezTo>
                <a:close/>
                <a:moveTo>
                  <a:pt x="131531" y="224650"/>
                </a:moveTo>
                <a:lnTo>
                  <a:pt x="131531" y="2888946"/>
                </a:lnTo>
                <a:lnTo>
                  <a:pt x="2172725" y="2888946"/>
                </a:lnTo>
                <a:lnTo>
                  <a:pt x="2172725" y="224650"/>
                </a:lnTo>
                <a:close/>
                <a:moveTo>
                  <a:pt x="936128" y="73520"/>
                </a:moveTo>
                <a:cubicBezTo>
                  <a:pt x="916246" y="73520"/>
                  <a:pt x="900128" y="89638"/>
                  <a:pt x="900128" y="109520"/>
                </a:cubicBezTo>
                <a:cubicBezTo>
                  <a:pt x="900128" y="129402"/>
                  <a:pt x="916246" y="145520"/>
                  <a:pt x="936128" y="145520"/>
                </a:cubicBezTo>
                <a:lnTo>
                  <a:pt x="1368128" y="145520"/>
                </a:lnTo>
                <a:cubicBezTo>
                  <a:pt x="1388010" y="145520"/>
                  <a:pt x="1404128" y="129402"/>
                  <a:pt x="1404128" y="109520"/>
                </a:cubicBezTo>
                <a:cubicBezTo>
                  <a:pt x="1404128" y="89638"/>
                  <a:pt x="1388010" y="73520"/>
                  <a:pt x="1368128" y="73520"/>
                </a:cubicBezTo>
                <a:close/>
                <a:moveTo>
                  <a:pt x="155330" y="0"/>
                </a:moveTo>
                <a:lnTo>
                  <a:pt x="2148926" y="0"/>
                </a:lnTo>
                <a:cubicBezTo>
                  <a:pt x="2234712" y="0"/>
                  <a:pt x="2304256" y="69544"/>
                  <a:pt x="2304256" y="155330"/>
                </a:cubicBezTo>
                <a:lnTo>
                  <a:pt x="2304256" y="3084670"/>
                </a:lnTo>
                <a:cubicBezTo>
                  <a:pt x="2304256" y="3170456"/>
                  <a:pt x="2234712" y="3240000"/>
                  <a:pt x="2148926" y="3240000"/>
                </a:cubicBezTo>
                <a:lnTo>
                  <a:pt x="155330" y="3240000"/>
                </a:lnTo>
                <a:cubicBezTo>
                  <a:pt x="69544" y="3240000"/>
                  <a:pt x="0" y="3170456"/>
                  <a:pt x="0" y="3084670"/>
                </a:cubicBezTo>
                <a:lnTo>
                  <a:pt x="0" y="155330"/>
                </a:lnTo>
                <a:cubicBezTo>
                  <a:pt x="0" y="69544"/>
                  <a:pt x="69544" y="0"/>
                  <a:pt x="155330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79" name="Chord 14">
            <a:extLst>
              <a:ext uri="{FF2B5EF4-FFF2-40B4-BE49-F238E27FC236}">
                <a16:creationId xmlns:a16="http://schemas.microsoft.com/office/drawing/2014/main" id="{55CB0732-5078-415F-A13A-7992B69C1679}"/>
              </a:ext>
            </a:extLst>
          </p:cNvPr>
          <p:cNvSpPr/>
          <p:nvPr/>
        </p:nvSpPr>
        <p:spPr>
          <a:xfrm>
            <a:off x="5919945" y="5535338"/>
            <a:ext cx="512639" cy="646909"/>
          </a:xfrm>
          <a:custGeom>
            <a:avLst/>
            <a:gdLst/>
            <a:ahLst/>
            <a:cxnLst/>
            <a:rect l="l" t="t" r="r" b="b"/>
            <a:pathLst>
              <a:path w="2120980" h="2676504">
                <a:moveTo>
                  <a:pt x="824057" y="2198115"/>
                </a:moveTo>
                <a:lnTo>
                  <a:pt x="824057" y="2229022"/>
                </a:lnTo>
                <a:lnTo>
                  <a:pt x="751177" y="2229022"/>
                </a:lnTo>
                <a:lnTo>
                  <a:pt x="751177" y="2510330"/>
                </a:lnTo>
                <a:lnTo>
                  <a:pt x="824057" y="2510330"/>
                </a:lnTo>
                <a:lnTo>
                  <a:pt x="824057" y="2541237"/>
                </a:lnTo>
                <a:lnTo>
                  <a:pt x="1298129" y="2541237"/>
                </a:lnTo>
                <a:lnTo>
                  <a:pt x="1298129" y="2510330"/>
                </a:lnTo>
                <a:lnTo>
                  <a:pt x="1371008" y="2510330"/>
                </a:lnTo>
                <a:lnTo>
                  <a:pt x="1371008" y="2229022"/>
                </a:lnTo>
                <a:lnTo>
                  <a:pt x="1298129" y="2229022"/>
                </a:lnTo>
                <a:lnTo>
                  <a:pt x="1298129" y="2198115"/>
                </a:lnTo>
                <a:close/>
                <a:moveTo>
                  <a:pt x="1933495" y="134375"/>
                </a:moveTo>
                <a:cubicBezTo>
                  <a:pt x="1872496" y="128267"/>
                  <a:pt x="1778964" y="206162"/>
                  <a:pt x="1655092" y="316398"/>
                </a:cubicBezTo>
                <a:lnTo>
                  <a:pt x="1655092" y="762581"/>
                </a:lnTo>
                <a:lnTo>
                  <a:pt x="1651862" y="762581"/>
                </a:lnTo>
                <a:cubicBezTo>
                  <a:pt x="1647824" y="843406"/>
                  <a:pt x="1633793" y="920606"/>
                  <a:pt x="1611266" y="992211"/>
                </a:cubicBezTo>
                <a:cubicBezTo>
                  <a:pt x="1739269" y="1047184"/>
                  <a:pt x="1828260" y="986425"/>
                  <a:pt x="1895778" y="900656"/>
                </a:cubicBezTo>
                <a:cubicBezTo>
                  <a:pt x="1964561" y="813279"/>
                  <a:pt x="2016746" y="624382"/>
                  <a:pt x="2016490" y="465292"/>
                </a:cubicBezTo>
                <a:cubicBezTo>
                  <a:pt x="2023696" y="232949"/>
                  <a:pt x="1995287" y="140561"/>
                  <a:pt x="1933495" y="134375"/>
                </a:cubicBezTo>
                <a:close/>
                <a:moveTo>
                  <a:pt x="187485" y="134375"/>
                </a:moveTo>
                <a:cubicBezTo>
                  <a:pt x="125693" y="140561"/>
                  <a:pt x="97284" y="232949"/>
                  <a:pt x="104490" y="465292"/>
                </a:cubicBezTo>
                <a:cubicBezTo>
                  <a:pt x="104234" y="624382"/>
                  <a:pt x="156419" y="813279"/>
                  <a:pt x="225202" y="900656"/>
                </a:cubicBezTo>
                <a:cubicBezTo>
                  <a:pt x="292944" y="986710"/>
                  <a:pt x="382303" y="1047587"/>
                  <a:pt x="511026" y="991745"/>
                </a:cubicBezTo>
                <a:cubicBezTo>
                  <a:pt x="488627" y="920189"/>
                  <a:pt x="474740" y="843131"/>
                  <a:pt x="470841" y="762581"/>
                </a:cubicBezTo>
                <a:lnTo>
                  <a:pt x="467092" y="762581"/>
                </a:lnTo>
                <a:lnTo>
                  <a:pt x="467092" y="317447"/>
                </a:lnTo>
                <a:cubicBezTo>
                  <a:pt x="342616" y="206663"/>
                  <a:pt x="248680" y="128248"/>
                  <a:pt x="187485" y="134375"/>
                </a:cubicBezTo>
                <a:close/>
                <a:moveTo>
                  <a:pt x="171293" y="338"/>
                </a:moveTo>
                <a:cubicBezTo>
                  <a:pt x="267101" y="7324"/>
                  <a:pt x="383647" y="121035"/>
                  <a:pt x="467092" y="183917"/>
                </a:cubicBezTo>
                <a:lnTo>
                  <a:pt x="467092" y="127304"/>
                </a:lnTo>
                <a:cubicBezTo>
                  <a:pt x="446033" y="120339"/>
                  <a:pt x="431092" y="100383"/>
                  <a:pt x="431092" y="76938"/>
                </a:cubicBezTo>
                <a:cubicBezTo>
                  <a:pt x="431092" y="47115"/>
                  <a:pt x="455269" y="22938"/>
                  <a:pt x="485092" y="22938"/>
                </a:cubicBezTo>
                <a:lnTo>
                  <a:pt x="1637092" y="22938"/>
                </a:lnTo>
                <a:cubicBezTo>
                  <a:pt x="1666915" y="22938"/>
                  <a:pt x="1691092" y="47115"/>
                  <a:pt x="1691092" y="76938"/>
                </a:cubicBezTo>
                <a:cubicBezTo>
                  <a:pt x="1691092" y="100383"/>
                  <a:pt x="1676151" y="120339"/>
                  <a:pt x="1655092" y="127304"/>
                </a:cubicBezTo>
                <a:lnTo>
                  <a:pt x="1655092" y="182958"/>
                </a:lnTo>
                <a:cubicBezTo>
                  <a:pt x="1738474" y="119924"/>
                  <a:pt x="1854348" y="7289"/>
                  <a:pt x="1949687" y="338"/>
                </a:cubicBezTo>
                <a:cubicBezTo>
                  <a:pt x="2046947" y="-6754"/>
                  <a:pt x="2122836" y="96139"/>
                  <a:pt x="2120946" y="473736"/>
                </a:cubicBezTo>
                <a:cubicBezTo>
                  <a:pt x="2117166" y="673942"/>
                  <a:pt x="2058714" y="872497"/>
                  <a:pt x="1966316" y="974360"/>
                </a:cubicBezTo>
                <a:cubicBezTo>
                  <a:pt x="1875288" y="1074712"/>
                  <a:pt x="1740706" y="1159472"/>
                  <a:pt x="1574365" y="1087619"/>
                </a:cubicBezTo>
                <a:cubicBezTo>
                  <a:pt x="1498402" y="1256706"/>
                  <a:pt x="1371540" y="1383225"/>
                  <a:pt x="1220432" y="1434843"/>
                </a:cubicBezTo>
                <a:lnTo>
                  <a:pt x="1220432" y="1524098"/>
                </a:lnTo>
                <a:cubicBezTo>
                  <a:pt x="1242816" y="1529237"/>
                  <a:pt x="1259092" y="1549488"/>
                  <a:pt x="1259092" y="1573540"/>
                </a:cubicBezTo>
                <a:lnTo>
                  <a:pt x="1259092" y="1782216"/>
                </a:lnTo>
                <a:cubicBezTo>
                  <a:pt x="1259092" y="1806269"/>
                  <a:pt x="1242816" y="1826519"/>
                  <a:pt x="1220432" y="1831659"/>
                </a:cubicBezTo>
                <a:lnTo>
                  <a:pt x="1220432" y="1899972"/>
                </a:lnTo>
                <a:cubicBezTo>
                  <a:pt x="1220432" y="1908643"/>
                  <a:pt x="1218317" y="1916820"/>
                  <a:pt x="1214011" y="1923722"/>
                </a:cubicBezTo>
                <a:cubicBezTo>
                  <a:pt x="1480406" y="1939701"/>
                  <a:pt x="1673079" y="1996147"/>
                  <a:pt x="1682229" y="2062848"/>
                </a:cubicBezTo>
                <a:lnTo>
                  <a:pt x="1925188" y="2062848"/>
                </a:lnTo>
                <a:lnTo>
                  <a:pt x="1925188" y="2676504"/>
                </a:lnTo>
                <a:lnTo>
                  <a:pt x="196996" y="2676504"/>
                </a:lnTo>
                <a:lnTo>
                  <a:pt x="196996" y="2062848"/>
                </a:lnTo>
                <a:lnTo>
                  <a:pt x="427501" y="2062848"/>
                </a:lnTo>
                <a:cubicBezTo>
                  <a:pt x="436455" y="1995236"/>
                  <a:pt x="634470" y="1937990"/>
                  <a:pt x="907722" y="1923052"/>
                </a:cubicBezTo>
                <a:cubicBezTo>
                  <a:pt x="903729" y="1916275"/>
                  <a:pt x="901752" y="1908354"/>
                  <a:pt x="901752" y="1899972"/>
                </a:cubicBezTo>
                <a:lnTo>
                  <a:pt x="901752" y="1831659"/>
                </a:lnTo>
                <a:cubicBezTo>
                  <a:pt x="879369" y="1826519"/>
                  <a:pt x="863092" y="1806269"/>
                  <a:pt x="863092" y="1782216"/>
                </a:cubicBezTo>
                <a:lnTo>
                  <a:pt x="863092" y="1573540"/>
                </a:lnTo>
                <a:cubicBezTo>
                  <a:pt x="863092" y="1549488"/>
                  <a:pt x="879369" y="1529237"/>
                  <a:pt x="901752" y="1524098"/>
                </a:cubicBezTo>
                <a:lnTo>
                  <a:pt x="901752" y="1435225"/>
                </a:lnTo>
                <a:cubicBezTo>
                  <a:pt x="750211" y="1383280"/>
                  <a:pt x="623484" y="1256276"/>
                  <a:pt x="547795" y="1087211"/>
                </a:cubicBezTo>
                <a:cubicBezTo>
                  <a:pt x="380891" y="1159861"/>
                  <a:pt x="245901" y="1074942"/>
                  <a:pt x="154664" y="974360"/>
                </a:cubicBezTo>
                <a:cubicBezTo>
                  <a:pt x="62266" y="872497"/>
                  <a:pt x="3814" y="673942"/>
                  <a:pt x="34" y="473736"/>
                </a:cubicBezTo>
                <a:cubicBezTo>
                  <a:pt x="-1856" y="96139"/>
                  <a:pt x="74033" y="-6754"/>
                  <a:pt x="171293" y="33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80" name="Rounded Rectangle 6">
            <a:extLst>
              <a:ext uri="{FF2B5EF4-FFF2-40B4-BE49-F238E27FC236}">
                <a16:creationId xmlns:a16="http://schemas.microsoft.com/office/drawing/2014/main" id="{11DB8BB9-D675-470D-AC1D-C9EF80405172}"/>
              </a:ext>
            </a:extLst>
          </p:cNvPr>
          <p:cNvSpPr/>
          <p:nvPr/>
        </p:nvSpPr>
        <p:spPr>
          <a:xfrm>
            <a:off x="4411373" y="2471636"/>
            <a:ext cx="508153" cy="516633"/>
          </a:xfrm>
          <a:custGeom>
            <a:avLst/>
            <a:gdLst/>
            <a:ahLst/>
            <a:cxnLst/>
            <a:rect l="l" t="t" r="r" b="b"/>
            <a:pathLst>
              <a:path w="3186824" h="3060919">
                <a:moveTo>
                  <a:pt x="1045874" y="2696689"/>
                </a:moveTo>
                <a:lnTo>
                  <a:pt x="2125874" y="2696689"/>
                </a:lnTo>
                <a:lnTo>
                  <a:pt x="2125874" y="2804689"/>
                </a:lnTo>
                <a:lnTo>
                  <a:pt x="1045874" y="2804689"/>
                </a:lnTo>
                <a:close/>
                <a:moveTo>
                  <a:pt x="1045874" y="2410468"/>
                </a:moveTo>
                <a:lnTo>
                  <a:pt x="2125874" y="2410468"/>
                </a:lnTo>
                <a:lnTo>
                  <a:pt x="2125874" y="2518468"/>
                </a:lnTo>
                <a:lnTo>
                  <a:pt x="1045874" y="2518468"/>
                </a:lnTo>
                <a:close/>
                <a:moveTo>
                  <a:pt x="1045874" y="2124247"/>
                </a:moveTo>
                <a:lnTo>
                  <a:pt x="2125874" y="2124247"/>
                </a:lnTo>
                <a:lnTo>
                  <a:pt x="2125874" y="2232247"/>
                </a:lnTo>
                <a:lnTo>
                  <a:pt x="1045874" y="2232247"/>
                </a:lnTo>
                <a:close/>
                <a:moveTo>
                  <a:pt x="902547" y="1956791"/>
                </a:moveTo>
                <a:lnTo>
                  <a:pt x="902547" y="2109191"/>
                </a:lnTo>
                <a:lnTo>
                  <a:pt x="902547" y="2185391"/>
                </a:lnTo>
                <a:lnTo>
                  <a:pt x="902547" y="2376263"/>
                </a:lnTo>
                <a:lnTo>
                  <a:pt x="902547" y="2973921"/>
                </a:lnTo>
                <a:lnTo>
                  <a:pt x="2284277" y="2973921"/>
                </a:lnTo>
                <a:lnTo>
                  <a:pt x="2284277" y="2376263"/>
                </a:lnTo>
                <a:lnTo>
                  <a:pt x="2284277" y="2185391"/>
                </a:lnTo>
                <a:lnTo>
                  <a:pt x="2284277" y="2109191"/>
                </a:lnTo>
                <a:lnTo>
                  <a:pt x="2284277" y="1956791"/>
                </a:lnTo>
                <a:close/>
                <a:moveTo>
                  <a:pt x="469172" y="1728191"/>
                </a:moveTo>
                <a:lnTo>
                  <a:pt x="469172" y="2185391"/>
                </a:lnTo>
                <a:lnTo>
                  <a:pt x="767127" y="2185391"/>
                </a:lnTo>
                <a:lnTo>
                  <a:pt x="767127" y="2109191"/>
                </a:lnTo>
                <a:lnTo>
                  <a:pt x="545372" y="2109191"/>
                </a:lnTo>
                <a:lnTo>
                  <a:pt x="545372" y="1804391"/>
                </a:lnTo>
                <a:lnTo>
                  <a:pt x="2641452" y="1804391"/>
                </a:lnTo>
                <a:lnTo>
                  <a:pt x="2641452" y="2109191"/>
                </a:lnTo>
                <a:lnTo>
                  <a:pt x="2419697" y="2109191"/>
                </a:lnTo>
                <a:lnTo>
                  <a:pt x="2419697" y="2185391"/>
                </a:lnTo>
                <a:lnTo>
                  <a:pt x="2717652" y="2185391"/>
                </a:lnTo>
                <a:lnTo>
                  <a:pt x="2717652" y="1728191"/>
                </a:lnTo>
                <a:close/>
                <a:moveTo>
                  <a:pt x="2819005" y="1350909"/>
                </a:moveTo>
                <a:cubicBezTo>
                  <a:pt x="2769294" y="1350909"/>
                  <a:pt x="2728995" y="1391208"/>
                  <a:pt x="2728995" y="1440919"/>
                </a:cubicBezTo>
                <a:cubicBezTo>
                  <a:pt x="2728995" y="1490630"/>
                  <a:pt x="2769294" y="1530929"/>
                  <a:pt x="2819005" y="1530929"/>
                </a:cubicBezTo>
                <a:cubicBezTo>
                  <a:pt x="2868716" y="1530929"/>
                  <a:pt x="2909015" y="1490630"/>
                  <a:pt x="2909015" y="1440919"/>
                </a:cubicBezTo>
                <a:cubicBezTo>
                  <a:pt x="2909015" y="1391208"/>
                  <a:pt x="2868716" y="1350909"/>
                  <a:pt x="2819005" y="1350909"/>
                </a:cubicBezTo>
                <a:close/>
                <a:moveTo>
                  <a:pt x="2509707" y="1350909"/>
                </a:moveTo>
                <a:cubicBezTo>
                  <a:pt x="2459996" y="1350909"/>
                  <a:pt x="2419697" y="1391208"/>
                  <a:pt x="2419697" y="1440919"/>
                </a:cubicBezTo>
                <a:cubicBezTo>
                  <a:pt x="2419697" y="1490630"/>
                  <a:pt x="2459996" y="1530929"/>
                  <a:pt x="2509707" y="1530929"/>
                </a:cubicBezTo>
                <a:cubicBezTo>
                  <a:pt x="2559418" y="1530929"/>
                  <a:pt x="2599717" y="1490630"/>
                  <a:pt x="2599717" y="1440919"/>
                </a:cubicBezTo>
                <a:cubicBezTo>
                  <a:pt x="2599717" y="1391208"/>
                  <a:pt x="2559418" y="1350909"/>
                  <a:pt x="2509707" y="1350909"/>
                </a:cubicBezTo>
                <a:close/>
                <a:moveTo>
                  <a:pt x="195993" y="1200328"/>
                </a:moveTo>
                <a:lnTo>
                  <a:pt x="2990831" y="1200328"/>
                </a:lnTo>
                <a:cubicBezTo>
                  <a:pt x="3099075" y="1200328"/>
                  <a:pt x="3186824" y="1288077"/>
                  <a:pt x="3186824" y="1396321"/>
                </a:cubicBezTo>
                <a:lnTo>
                  <a:pt x="3186824" y="2180270"/>
                </a:lnTo>
                <a:cubicBezTo>
                  <a:pt x="3186824" y="2288514"/>
                  <a:pt x="3099075" y="2376263"/>
                  <a:pt x="2990831" y="2376263"/>
                </a:cubicBezTo>
                <a:lnTo>
                  <a:pt x="2419697" y="2376263"/>
                </a:lnTo>
                <a:lnTo>
                  <a:pt x="2419697" y="3060919"/>
                </a:lnTo>
                <a:lnTo>
                  <a:pt x="767127" y="3060919"/>
                </a:lnTo>
                <a:lnTo>
                  <a:pt x="767127" y="2376263"/>
                </a:lnTo>
                <a:lnTo>
                  <a:pt x="195993" y="2376263"/>
                </a:lnTo>
                <a:cubicBezTo>
                  <a:pt x="87749" y="2376263"/>
                  <a:pt x="0" y="2288514"/>
                  <a:pt x="0" y="2180270"/>
                </a:cubicBezTo>
                <a:lnTo>
                  <a:pt x="0" y="1396321"/>
                </a:lnTo>
                <a:cubicBezTo>
                  <a:pt x="0" y="1288077"/>
                  <a:pt x="87749" y="1200328"/>
                  <a:pt x="195993" y="1200328"/>
                </a:cubicBezTo>
                <a:close/>
                <a:moveTo>
                  <a:pt x="767127" y="0"/>
                </a:moveTo>
                <a:lnTo>
                  <a:pt x="2419697" y="0"/>
                </a:lnTo>
                <a:lnTo>
                  <a:pt x="2419697" y="190589"/>
                </a:lnTo>
                <a:lnTo>
                  <a:pt x="2565249" y="190589"/>
                </a:lnTo>
                <a:cubicBezTo>
                  <a:pt x="2649419" y="190589"/>
                  <a:pt x="2717652" y="258822"/>
                  <a:pt x="2717652" y="342992"/>
                </a:cubicBezTo>
                <a:lnTo>
                  <a:pt x="2717652" y="1104989"/>
                </a:lnTo>
                <a:lnTo>
                  <a:pt x="2284277" y="1104989"/>
                </a:lnTo>
                <a:lnTo>
                  <a:pt x="2284277" y="1104128"/>
                </a:lnTo>
                <a:lnTo>
                  <a:pt x="2284277" y="190589"/>
                </a:lnTo>
                <a:lnTo>
                  <a:pt x="2284277" y="96523"/>
                </a:lnTo>
                <a:lnTo>
                  <a:pt x="902547" y="96523"/>
                </a:lnTo>
                <a:lnTo>
                  <a:pt x="902547" y="190589"/>
                </a:lnTo>
                <a:lnTo>
                  <a:pt x="902547" y="1104128"/>
                </a:lnTo>
                <a:lnTo>
                  <a:pt x="902547" y="1104989"/>
                </a:lnTo>
                <a:lnTo>
                  <a:pt x="469172" y="1104989"/>
                </a:lnTo>
                <a:lnTo>
                  <a:pt x="469172" y="342992"/>
                </a:lnTo>
                <a:cubicBezTo>
                  <a:pt x="469172" y="258822"/>
                  <a:pt x="537405" y="190589"/>
                  <a:pt x="621575" y="190589"/>
                </a:cubicBezTo>
                <a:lnTo>
                  <a:pt x="767127" y="190589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81" name="Oval 66">
            <a:extLst>
              <a:ext uri="{FF2B5EF4-FFF2-40B4-BE49-F238E27FC236}">
                <a16:creationId xmlns:a16="http://schemas.microsoft.com/office/drawing/2014/main" id="{64136ECC-E882-4D1E-8298-06A6A02A6E1A}"/>
              </a:ext>
            </a:extLst>
          </p:cNvPr>
          <p:cNvSpPr/>
          <p:nvPr/>
        </p:nvSpPr>
        <p:spPr>
          <a:xfrm rot="20700000">
            <a:off x="6137536" y="3634206"/>
            <a:ext cx="548680" cy="469988"/>
          </a:xfrm>
          <a:custGeom>
            <a:avLst/>
            <a:gdLst/>
            <a:ahLst/>
            <a:cxnLst/>
            <a:rect l="l" t="t" r="r" b="b"/>
            <a:pathLst>
              <a:path w="2901316" h="2485205">
                <a:moveTo>
                  <a:pt x="2901316" y="8833"/>
                </a:moveTo>
                <a:lnTo>
                  <a:pt x="2885407" y="69738"/>
                </a:lnTo>
                <a:lnTo>
                  <a:pt x="2890344" y="71061"/>
                </a:lnTo>
                <a:lnTo>
                  <a:pt x="2331295" y="2157461"/>
                </a:lnTo>
                <a:lnTo>
                  <a:pt x="2322295" y="2155049"/>
                </a:lnTo>
                <a:cubicBezTo>
                  <a:pt x="2311779" y="2339141"/>
                  <a:pt x="2127696" y="2485205"/>
                  <a:pt x="1902404" y="2485205"/>
                </a:cubicBezTo>
                <a:cubicBezTo>
                  <a:pt x="1669201" y="2485205"/>
                  <a:pt x="1480151" y="2328701"/>
                  <a:pt x="1480150" y="2135644"/>
                </a:cubicBezTo>
                <a:cubicBezTo>
                  <a:pt x="1480150" y="1942587"/>
                  <a:pt x="1669200" y="1786083"/>
                  <a:pt x="1902404" y="1786083"/>
                </a:cubicBezTo>
                <a:cubicBezTo>
                  <a:pt x="2026046" y="1786083"/>
                  <a:pt x="2137276" y="1830075"/>
                  <a:pt x="2213623" y="1901150"/>
                </a:cubicBezTo>
                <a:lnTo>
                  <a:pt x="2586815" y="508378"/>
                </a:lnTo>
                <a:lnTo>
                  <a:pt x="1283297" y="508378"/>
                </a:lnTo>
                <a:lnTo>
                  <a:pt x="847984" y="2132988"/>
                </a:lnTo>
                <a:lnTo>
                  <a:pt x="841776" y="2131324"/>
                </a:lnTo>
                <a:cubicBezTo>
                  <a:pt x="829584" y="2314002"/>
                  <a:pt x="646295" y="2458448"/>
                  <a:pt x="422254" y="2458448"/>
                </a:cubicBezTo>
                <a:cubicBezTo>
                  <a:pt x="189051" y="2458448"/>
                  <a:pt x="1" y="2301944"/>
                  <a:pt x="0" y="2108887"/>
                </a:cubicBezTo>
                <a:cubicBezTo>
                  <a:pt x="0" y="1915830"/>
                  <a:pt x="189051" y="1759326"/>
                  <a:pt x="422255" y="1759326"/>
                </a:cubicBezTo>
                <a:cubicBezTo>
                  <a:pt x="544771" y="1759326"/>
                  <a:pt x="655100" y="1802522"/>
                  <a:pt x="731465" y="1872378"/>
                </a:cubicBezTo>
                <a:lnTo>
                  <a:pt x="1233167" y="0"/>
                </a:lnTo>
                <a:lnTo>
                  <a:pt x="1266129" y="883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82" name="Isosceles Triangle 13">
            <a:extLst>
              <a:ext uri="{FF2B5EF4-FFF2-40B4-BE49-F238E27FC236}">
                <a16:creationId xmlns:a16="http://schemas.microsoft.com/office/drawing/2014/main" id="{A54A6140-C0D9-4440-A5D4-E05BC900724C}"/>
              </a:ext>
            </a:extLst>
          </p:cNvPr>
          <p:cNvSpPr/>
          <p:nvPr/>
        </p:nvSpPr>
        <p:spPr>
          <a:xfrm rot="10800000">
            <a:off x="5188220" y="5485943"/>
            <a:ext cx="376548" cy="745701"/>
          </a:xfrm>
          <a:custGeom>
            <a:avLst/>
            <a:gdLst/>
            <a:ahLst/>
            <a:cxnLst/>
            <a:rect l="l" t="t" r="r" b="b"/>
            <a:pathLst>
              <a:path w="1613569" h="3195455">
                <a:moveTo>
                  <a:pt x="1348422" y="2012960"/>
                </a:moveTo>
                <a:lnTo>
                  <a:pt x="264249" y="2012960"/>
                </a:lnTo>
                <a:cubicBezTo>
                  <a:pt x="99656" y="1932015"/>
                  <a:pt x="172" y="1814225"/>
                  <a:pt x="0" y="1686651"/>
                </a:cubicBezTo>
                <a:lnTo>
                  <a:pt x="716785" y="1678553"/>
                </a:lnTo>
                <a:lnTo>
                  <a:pt x="716785" y="360000"/>
                </a:lnTo>
                <a:lnTo>
                  <a:pt x="716785" y="355479"/>
                </a:lnTo>
                <a:lnTo>
                  <a:pt x="717916" y="355479"/>
                </a:lnTo>
                <a:lnTo>
                  <a:pt x="806785" y="0"/>
                </a:lnTo>
                <a:lnTo>
                  <a:pt x="895655" y="355479"/>
                </a:lnTo>
                <a:lnTo>
                  <a:pt x="896785" y="355479"/>
                </a:lnTo>
                <a:lnTo>
                  <a:pt x="896785" y="360000"/>
                </a:lnTo>
                <a:lnTo>
                  <a:pt x="896785" y="1676520"/>
                </a:lnTo>
                <a:lnTo>
                  <a:pt x="1612906" y="1668429"/>
                </a:lnTo>
                <a:cubicBezTo>
                  <a:pt x="1622778" y="1802631"/>
                  <a:pt x="1521918" y="1928220"/>
                  <a:pt x="1348422" y="2012960"/>
                </a:cubicBezTo>
                <a:close/>
                <a:moveTo>
                  <a:pt x="1175921" y="2908428"/>
                </a:moveTo>
                <a:lnTo>
                  <a:pt x="437641" y="2908428"/>
                </a:lnTo>
                <a:lnTo>
                  <a:pt x="250570" y="2083962"/>
                </a:lnTo>
                <a:lnTo>
                  <a:pt x="1362992" y="2083962"/>
                </a:lnTo>
                <a:close/>
                <a:moveTo>
                  <a:pt x="1155969" y="3195455"/>
                </a:moveTo>
                <a:lnTo>
                  <a:pt x="457593" y="3195455"/>
                </a:lnTo>
                <a:cubicBezTo>
                  <a:pt x="397940" y="3195455"/>
                  <a:pt x="349581" y="3147096"/>
                  <a:pt x="349581" y="3087443"/>
                </a:cubicBezTo>
                <a:cubicBezTo>
                  <a:pt x="349581" y="3027790"/>
                  <a:pt x="397940" y="2979431"/>
                  <a:pt x="457593" y="2979431"/>
                </a:cubicBezTo>
                <a:lnTo>
                  <a:pt x="1155969" y="2979431"/>
                </a:lnTo>
                <a:cubicBezTo>
                  <a:pt x="1215622" y="2979431"/>
                  <a:pt x="1263981" y="3027790"/>
                  <a:pt x="1263981" y="3087443"/>
                </a:cubicBezTo>
                <a:cubicBezTo>
                  <a:pt x="1263981" y="3147096"/>
                  <a:pt x="1215622" y="3195455"/>
                  <a:pt x="1155969" y="319545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83" name="Smiley Face 14">
            <a:extLst>
              <a:ext uri="{FF2B5EF4-FFF2-40B4-BE49-F238E27FC236}">
                <a16:creationId xmlns:a16="http://schemas.microsoft.com/office/drawing/2014/main" id="{BD37565A-D14C-4133-B9E1-D7F8BF1C6551}"/>
              </a:ext>
            </a:extLst>
          </p:cNvPr>
          <p:cNvSpPr/>
          <p:nvPr/>
        </p:nvSpPr>
        <p:spPr>
          <a:xfrm>
            <a:off x="7617042" y="5578826"/>
            <a:ext cx="559934" cy="559934"/>
          </a:xfrm>
          <a:custGeom>
            <a:avLst/>
            <a:gdLst/>
            <a:ahLst/>
            <a:cxnLst/>
            <a:rect l="l" t="t" r="r" b="b"/>
            <a:pathLst>
              <a:path w="3240000" h="3240000">
                <a:moveTo>
                  <a:pt x="2026698" y="2215122"/>
                </a:moveTo>
                <a:cubicBezTo>
                  <a:pt x="1959656" y="2378616"/>
                  <a:pt x="1801229" y="2486070"/>
                  <a:pt x="1624533" y="2487892"/>
                </a:cubicBezTo>
                <a:cubicBezTo>
                  <a:pt x="1447837" y="2489714"/>
                  <a:pt x="1287227" y="2385551"/>
                  <a:pt x="1216828" y="2223474"/>
                </a:cubicBezTo>
                <a:lnTo>
                  <a:pt x="1039110" y="2300667"/>
                </a:lnTo>
                <a:cubicBezTo>
                  <a:pt x="1140541" y="2534187"/>
                  <a:pt x="1371947" y="2684266"/>
                  <a:pt x="1626531" y="2681641"/>
                </a:cubicBezTo>
                <a:cubicBezTo>
                  <a:pt x="1881115" y="2679016"/>
                  <a:pt x="2109376" y="2524196"/>
                  <a:pt x="2205970" y="2288634"/>
                </a:cubicBezTo>
                <a:close/>
                <a:moveTo>
                  <a:pt x="2165423" y="986226"/>
                </a:moveTo>
                <a:cubicBezTo>
                  <a:pt x="2072622" y="986226"/>
                  <a:pt x="1997392" y="1061456"/>
                  <a:pt x="1997392" y="1154257"/>
                </a:cubicBezTo>
                <a:cubicBezTo>
                  <a:pt x="1997392" y="1247058"/>
                  <a:pt x="2072622" y="1322288"/>
                  <a:pt x="2165423" y="1322288"/>
                </a:cubicBezTo>
                <a:cubicBezTo>
                  <a:pt x="2258224" y="1322288"/>
                  <a:pt x="2333454" y="1247058"/>
                  <a:pt x="2333454" y="1154257"/>
                </a:cubicBezTo>
                <a:cubicBezTo>
                  <a:pt x="2333454" y="1061456"/>
                  <a:pt x="2258224" y="986226"/>
                  <a:pt x="2165423" y="986226"/>
                </a:cubicBezTo>
                <a:close/>
                <a:moveTo>
                  <a:pt x="1107401" y="986226"/>
                </a:moveTo>
                <a:cubicBezTo>
                  <a:pt x="1014600" y="986226"/>
                  <a:pt x="939370" y="1061456"/>
                  <a:pt x="939370" y="1154257"/>
                </a:cubicBezTo>
                <a:cubicBezTo>
                  <a:pt x="939370" y="1247058"/>
                  <a:pt x="1014600" y="1322288"/>
                  <a:pt x="1107401" y="1322288"/>
                </a:cubicBezTo>
                <a:cubicBezTo>
                  <a:pt x="1200202" y="1322288"/>
                  <a:pt x="1275432" y="1247058"/>
                  <a:pt x="1275432" y="1154257"/>
                </a:cubicBezTo>
                <a:cubicBezTo>
                  <a:pt x="1275432" y="1061456"/>
                  <a:pt x="1200202" y="986226"/>
                  <a:pt x="1107401" y="986226"/>
                </a:cubicBezTo>
                <a:close/>
                <a:moveTo>
                  <a:pt x="1620000" y="0"/>
                </a:moveTo>
                <a:lnTo>
                  <a:pt x="1785636" y="8364"/>
                </a:lnTo>
                <a:lnTo>
                  <a:pt x="1946487" y="32913"/>
                </a:lnTo>
                <a:lnTo>
                  <a:pt x="2101738" y="72832"/>
                </a:lnTo>
                <a:lnTo>
                  <a:pt x="2250577" y="127308"/>
                </a:lnTo>
                <a:lnTo>
                  <a:pt x="2392188" y="195525"/>
                </a:lnTo>
                <a:lnTo>
                  <a:pt x="2525757" y="276671"/>
                </a:lnTo>
                <a:lnTo>
                  <a:pt x="2650470" y="369929"/>
                </a:lnTo>
                <a:lnTo>
                  <a:pt x="2765513" y="474487"/>
                </a:lnTo>
                <a:lnTo>
                  <a:pt x="2870071" y="589530"/>
                </a:lnTo>
                <a:lnTo>
                  <a:pt x="2963329" y="714243"/>
                </a:lnTo>
                <a:lnTo>
                  <a:pt x="3044475" y="847812"/>
                </a:lnTo>
                <a:lnTo>
                  <a:pt x="3112693" y="989423"/>
                </a:lnTo>
                <a:lnTo>
                  <a:pt x="3167168" y="1138262"/>
                </a:lnTo>
                <a:lnTo>
                  <a:pt x="3207088" y="1293514"/>
                </a:lnTo>
                <a:lnTo>
                  <a:pt x="3231636" y="1454365"/>
                </a:lnTo>
                <a:lnTo>
                  <a:pt x="3240000" y="1620000"/>
                </a:lnTo>
                <a:lnTo>
                  <a:pt x="3231636" y="1785636"/>
                </a:lnTo>
                <a:lnTo>
                  <a:pt x="3207088" y="1946487"/>
                </a:lnTo>
                <a:lnTo>
                  <a:pt x="3167168" y="2101739"/>
                </a:lnTo>
                <a:lnTo>
                  <a:pt x="3112693" y="2250577"/>
                </a:lnTo>
                <a:lnTo>
                  <a:pt x="3044475" y="2392188"/>
                </a:lnTo>
                <a:lnTo>
                  <a:pt x="2963329" y="2525758"/>
                </a:lnTo>
                <a:lnTo>
                  <a:pt x="2870071" y="2650471"/>
                </a:lnTo>
                <a:lnTo>
                  <a:pt x="2765513" y="2765513"/>
                </a:lnTo>
                <a:lnTo>
                  <a:pt x="2650470" y="2870071"/>
                </a:lnTo>
                <a:lnTo>
                  <a:pt x="2525757" y="2963330"/>
                </a:lnTo>
                <a:lnTo>
                  <a:pt x="2392188" y="3044475"/>
                </a:lnTo>
                <a:lnTo>
                  <a:pt x="2250577" y="3112693"/>
                </a:lnTo>
                <a:lnTo>
                  <a:pt x="2101738" y="3167168"/>
                </a:lnTo>
                <a:lnTo>
                  <a:pt x="1946487" y="3207088"/>
                </a:lnTo>
                <a:lnTo>
                  <a:pt x="1785636" y="3231636"/>
                </a:lnTo>
                <a:cubicBezTo>
                  <a:pt x="1731176" y="3237167"/>
                  <a:pt x="1675919" y="3240000"/>
                  <a:pt x="1620000" y="3240000"/>
                </a:cubicBezTo>
                <a:cubicBezTo>
                  <a:pt x="1508162" y="3240000"/>
                  <a:pt x="1398972" y="3228667"/>
                  <a:pt x="1293514" y="3207088"/>
                </a:cubicBezTo>
                <a:cubicBezTo>
                  <a:pt x="1240785" y="3196298"/>
                  <a:pt x="1188989" y="3182946"/>
                  <a:pt x="1138262" y="3167168"/>
                </a:cubicBezTo>
                <a:cubicBezTo>
                  <a:pt x="1087535" y="3151390"/>
                  <a:pt x="1037877" y="3133187"/>
                  <a:pt x="989423" y="3112693"/>
                </a:cubicBezTo>
                <a:cubicBezTo>
                  <a:pt x="940970" y="3092198"/>
                  <a:pt x="893721" y="3069414"/>
                  <a:pt x="847812" y="3044475"/>
                </a:cubicBezTo>
                <a:cubicBezTo>
                  <a:pt x="801903" y="3019536"/>
                  <a:pt x="757335" y="2992442"/>
                  <a:pt x="714243" y="2963330"/>
                </a:cubicBezTo>
                <a:cubicBezTo>
                  <a:pt x="671151" y="2934217"/>
                  <a:pt x="629534" y="2903086"/>
                  <a:pt x="589530" y="2870071"/>
                </a:cubicBezTo>
                <a:cubicBezTo>
                  <a:pt x="549525" y="2837056"/>
                  <a:pt x="511132" y="2802158"/>
                  <a:pt x="474487" y="2765513"/>
                </a:cubicBezTo>
                <a:cubicBezTo>
                  <a:pt x="437842" y="2728868"/>
                  <a:pt x="402944" y="2690475"/>
                  <a:pt x="369929" y="2650471"/>
                </a:cubicBezTo>
                <a:cubicBezTo>
                  <a:pt x="336915" y="2610466"/>
                  <a:pt x="305783" y="2568850"/>
                  <a:pt x="276671" y="2525758"/>
                </a:cubicBezTo>
                <a:cubicBezTo>
                  <a:pt x="247558" y="2482665"/>
                  <a:pt x="220464" y="2438097"/>
                  <a:pt x="195525" y="2392188"/>
                </a:cubicBezTo>
                <a:cubicBezTo>
                  <a:pt x="170586" y="2346280"/>
                  <a:pt x="147802" y="2299031"/>
                  <a:pt x="127308" y="2250577"/>
                </a:cubicBezTo>
                <a:cubicBezTo>
                  <a:pt x="106814" y="2202124"/>
                  <a:pt x="88610" y="2152466"/>
                  <a:pt x="72832" y="2101739"/>
                </a:cubicBezTo>
                <a:cubicBezTo>
                  <a:pt x="57054" y="2051012"/>
                  <a:pt x="43703" y="1999216"/>
                  <a:pt x="32913" y="1946487"/>
                </a:cubicBezTo>
                <a:cubicBezTo>
                  <a:pt x="22123" y="1893758"/>
                  <a:pt x="13895" y="1840095"/>
                  <a:pt x="8364" y="1785636"/>
                </a:cubicBezTo>
                <a:cubicBezTo>
                  <a:pt x="2833" y="1731176"/>
                  <a:pt x="0" y="1675919"/>
                  <a:pt x="0" y="1620000"/>
                </a:cubicBezTo>
                <a:cubicBezTo>
                  <a:pt x="0" y="1508163"/>
                  <a:pt x="11333" y="1398972"/>
                  <a:pt x="32913" y="1293514"/>
                </a:cubicBezTo>
                <a:cubicBezTo>
                  <a:pt x="43703" y="1240785"/>
                  <a:pt x="57054" y="1188989"/>
                  <a:pt x="72832" y="1138262"/>
                </a:cubicBezTo>
                <a:cubicBezTo>
                  <a:pt x="88610" y="1087535"/>
                  <a:pt x="106814" y="1037877"/>
                  <a:pt x="127308" y="989423"/>
                </a:cubicBezTo>
                <a:cubicBezTo>
                  <a:pt x="147802" y="940970"/>
                  <a:pt x="170586" y="893721"/>
                  <a:pt x="195525" y="847812"/>
                </a:cubicBezTo>
                <a:cubicBezTo>
                  <a:pt x="220464" y="801904"/>
                  <a:pt x="247558" y="757335"/>
                  <a:pt x="276671" y="714243"/>
                </a:cubicBezTo>
                <a:cubicBezTo>
                  <a:pt x="305783" y="671151"/>
                  <a:pt x="336915" y="629534"/>
                  <a:pt x="369929" y="589530"/>
                </a:cubicBezTo>
                <a:cubicBezTo>
                  <a:pt x="402944" y="549525"/>
                  <a:pt x="437842" y="511133"/>
                  <a:pt x="474487" y="474487"/>
                </a:cubicBezTo>
                <a:cubicBezTo>
                  <a:pt x="511132" y="437842"/>
                  <a:pt x="549525" y="402944"/>
                  <a:pt x="589530" y="369929"/>
                </a:cubicBezTo>
                <a:cubicBezTo>
                  <a:pt x="629534" y="336915"/>
                  <a:pt x="671151" y="305783"/>
                  <a:pt x="714243" y="276671"/>
                </a:cubicBezTo>
                <a:cubicBezTo>
                  <a:pt x="757335" y="247558"/>
                  <a:pt x="801903" y="220465"/>
                  <a:pt x="847812" y="195525"/>
                </a:cubicBezTo>
                <a:cubicBezTo>
                  <a:pt x="893721" y="170586"/>
                  <a:pt x="940970" y="147802"/>
                  <a:pt x="989423" y="127308"/>
                </a:cubicBezTo>
                <a:cubicBezTo>
                  <a:pt x="1037877" y="106814"/>
                  <a:pt x="1087535" y="88610"/>
                  <a:pt x="1138262" y="72832"/>
                </a:cubicBezTo>
                <a:cubicBezTo>
                  <a:pt x="1188989" y="57054"/>
                  <a:pt x="1240785" y="43703"/>
                  <a:pt x="1293514" y="32913"/>
                </a:cubicBezTo>
                <a:cubicBezTo>
                  <a:pt x="1346243" y="22123"/>
                  <a:pt x="1399905" y="13895"/>
                  <a:pt x="1454365" y="8364"/>
                </a:cubicBezTo>
                <a:cubicBezTo>
                  <a:pt x="1508824" y="2833"/>
                  <a:pt x="1564081" y="0"/>
                  <a:pt x="1620000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84" name="Smiley Face 12">
            <a:extLst>
              <a:ext uri="{FF2B5EF4-FFF2-40B4-BE49-F238E27FC236}">
                <a16:creationId xmlns:a16="http://schemas.microsoft.com/office/drawing/2014/main" id="{7F01996A-EF70-44A8-AD2D-1E270513DCED}"/>
              </a:ext>
            </a:extLst>
          </p:cNvPr>
          <p:cNvSpPr/>
          <p:nvPr/>
        </p:nvSpPr>
        <p:spPr>
          <a:xfrm>
            <a:off x="10160622" y="5578826"/>
            <a:ext cx="559934" cy="559934"/>
          </a:xfrm>
          <a:custGeom>
            <a:avLst/>
            <a:gdLst/>
            <a:ahLst/>
            <a:cxnLst/>
            <a:rect l="l" t="t" r="r" b="b"/>
            <a:pathLst>
              <a:path w="3240000" h="3240000">
                <a:moveTo>
                  <a:pt x="1613470" y="2077417"/>
                </a:moveTo>
                <a:cubicBezTo>
                  <a:pt x="1358886" y="2080042"/>
                  <a:pt x="1130625" y="2234862"/>
                  <a:pt x="1034031" y="2470424"/>
                </a:cubicBezTo>
                <a:lnTo>
                  <a:pt x="1213303" y="2543936"/>
                </a:lnTo>
                <a:cubicBezTo>
                  <a:pt x="1280345" y="2380442"/>
                  <a:pt x="1438772" y="2272988"/>
                  <a:pt x="1615468" y="2271166"/>
                </a:cubicBezTo>
                <a:cubicBezTo>
                  <a:pt x="1792164" y="2269344"/>
                  <a:pt x="1952774" y="2373507"/>
                  <a:pt x="2023173" y="2535584"/>
                </a:cubicBezTo>
                <a:lnTo>
                  <a:pt x="2200891" y="2458391"/>
                </a:lnTo>
                <a:cubicBezTo>
                  <a:pt x="2099460" y="2224871"/>
                  <a:pt x="1868054" y="2074792"/>
                  <a:pt x="1613470" y="2077417"/>
                </a:cubicBezTo>
                <a:close/>
                <a:moveTo>
                  <a:pt x="2165423" y="986226"/>
                </a:moveTo>
                <a:cubicBezTo>
                  <a:pt x="2072622" y="986226"/>
                  <a:pt x="1997392" y="1061456"/>
                  <a:pt x="1997392" y="1154257"/>
                </a:cubicBezTo>
                <a:cubicBezTo>
                  <a:pt x="1997392" y="1247058"/>
                  <a:pt x="2072622" y="1322288"/>
                  <a:pt x="2165423" y="1322288"/>
                </a:cubicBezTo>
                <a:cubicBezTo>
                  <a:pt x="2258224" y="1322288"/>
                  <a:pt x="2333454" y="1247058"/>
                  <a:pt x="2333454" y="1154257"/>
                </a:cubicBezTo>
                <a:cubicBezTo>
                  <a:pt x="2333454" y="1061456"/>
                  <a:pt x="2258224" y="986226"/>
                  <a:pt x="2165423" y="986226"/>
                </a:cubicBezTo>
                <a:close/>
                <a:moveTo>
                  <a:pt x="1107401" y="986226"/>
                </a:moveTo>
                <a:cubicBezTo>
                  <a:pt x="1014600" y="986226"/>
                  <a:pt x="939370" y="1061456"/>
                  <a:pt x="939370" y="1154257"/>
                </a:cubicBezTo>
                <a:cubicBezTo>
                  <a:pt x="939370" y="1247058"/>
                  <a:pt x="1014600" y="1322288"/>
                  <a:pt x="1107401" y="1322288"/>
                </a:cubicBezTo>
                <a:cubicBezTo>
                  <a:pt x="1200202" y="1322288"/>
                  <a:pt x="1275432" y="1247058"/>
                  <a:pt x="1275432" y="1154257"/>
                </a:cubicBezTo>
                <a:cubicBezTo>
                  <a:pt x="1275432" y="1061456"/>
                  <a:pt x="1200202" y="986226"/>
                  <a:pt x="1107401" y="986226"/>
                </a:cubicBezTo>
                <a:close/>
                <a:moveTo>
                  <a:pt x="1620000" y="0"/>
                </a:moveTo>
                <a:lnTo>
                  <a:pt x="1785636" y="8364"/>
                </a:lnTo>
                <a:lnTo>
                  <a:pt x="1946487" y="32913"/>
                </a:lnTo>
                <a:lnTo>
                  <a:pt x="2101739" y="72832"/>
                </a:lnTo>
                <a:lnTo>
                  <a:pt x="2250577" y="127308"/>
                </a:lnTo>
                <a:lnTo>
                  <a:pt x="2392188" y="195525"/>
                </a:lnTo>
                <a:lnTo>
                  <a:pt x="2525758" y="276671"/>
                </a:lnTo>
                <a:lnTo>
                  <a:pt x="2650471" y="369929"/>
                </a:lnTo>
                <a:lnTo>
                  <a:pt x="2765513" y="474487"/>
                </a:lnTo>
                <a:lnTo>
                  <a:pt x="2870071" y="589530"/>
                </a:lnTo>
                <a:lnTo>
                  <a:pt x="2963330" y="714243"/>
                </a:lnTo>
                <a:lnTo>
                  <a:pt x="3044475" y="847812"/>
                </a:lnTo>
                <a:lnTo>
                  <a:pt x="3112693" y="989423"/>
                </a:lnTo>
                <a:lnTo>
                  <a:pt x="3167168" y="1138262"/>
                </a:lnTo>
                <a:lnTo>
                  <a:pt x="3207088" y="1293514"/>
                </a:lnTo>
                <a:lnTo>
                  <a:pt x="3231636" y="1454365"/>
                </a:lnTo>
                <a:lnTo>
                  <a:pt x="3240000" y="1620000"/>
                </a:lnTo>
                <a:lnTo>
                  <a:pt x="3231636" y="1785636"/>
                </a:lnTo>
                <a:lnTo>
                  <a:pt x="3207088" y="1946487"/>
                </a:lnTo>
                <a:lnTo>
                  <a:pt x="3167168" y="2101739"/>
                </a:lnTo>
                <a:lnTo>
                  <a:pt x="3112693" y="2250577"/>
                </a:lnTo>
                <a:lnTo>
                  <a:pt x="3044475" y="2392188"/>
                </a:lnTo>
                <a:lnTo>
                  <a:pt x="2963330" y="2525758"/>
                </a:lnTo>
                <a:lnTo>
                  <a:pt x="2870071" y="2650471"/>
                </a:lnTo>
                <a:lnTo>
                  <a:pt x="2765513" y="2765513"/>
                </a:lnTo>
                <a:lnTo>
                  <a:pt x="2650471" y="2870071"/>
                </a:lnTo>
                <a:lnTo>
                  <a:pt x="2525758" y="2963330"/>
                </a:lnTo>
                <a:lnTo>
                  <a:pt x="2392188" y="3044475"/>
                </a:lnTo>
                <a:lnTo>
                  <a:pt x="2250577" y="3112693"/>
                </a:lnTo>
                <a:lnTo>
                  <a:pt x="2101739" y="3167168"/>
                </a:lnTo>
                <a:lnTo>
                  <a:pt x="1946487" y="3207088"/>
                </a:lnTo>
                <a:lnTo>
                  <a:pt x="1785636" y="3231636"/>
                </a:lnTo>
                <a:cubicBezTo>
                  <a:pt x="1731176" y="3237167"/>
                  <a:pt x="1675919" y="3240000"/>
                  <a:pt x="1620000" y="3240000"/>
                </a:cubicBezTo>
                <a:cubicBezTo>
                  <a:pt x="1508163" y="3240000"/>
                  <a:pt x="1398972" y="3228667"/>
                  <a:pt x="1293514" y="3207088"/>
                </a:cubicBezTo>
                <a:cubicBezTo>
                  <a:pt x="1240785" y="3196298"/>
                  <a:pt x="1188989" y="3182946"/>
                  <a:pt x="1138262" y="3167168"/>
                </a:cubicBezTo>
                <a:cubicBezTo>
                  <a:pt x="1087535" y="3151390"/>
                  <a:pt x="1037877" y="3133187"/>
                  <a:pt x="989423" y="3112693"/>
                </a:cubicBezTo>
                <a:cubicBezTo>
                  <a:pt x="940970" y="3092198"/>
                  <a:pt x="893721" y="3069414"/>
                  <a:pt x="847812" y="3044475"/>
                </a:cubicBezTo>
                <a:cubicBezTo>
                  <a:pt x="801904" y="3019536"/>
                  <a:pt x="757335" y="2992442"/>
                  <a:pt x="714243" y="2963330"/>
                </a:cubicBezTo>
                <a:cubicBezTo>
                  <a:pt x="671151" y="2934217"/>
                  <a:pt x="629534" y="2903086"/>
                  <a:pt x="589530" y="2870071"/>
                </a:cubicBezTo>
                <a:cubicBezTo>
                  <a:pt x="549525" y="2837056"/>
                  <a:pt x="511133" y="2802158"/>
                  <a:pt x="474487" y="2765513"/>
                </a:cubicBezTo>
                <a:cubicBezTo>
                  <a:pt x="437842" y="2728868"/>
                  <a:pt x="402944" y="2690475"/>
                  <a:pt x="369930" y="2650471"/>
                </a:cubicBezTo>
                <a:cubicBezTo>
                  <a:pt x="336915" y="2610466"/>
                  <a:pt x="305783" y="2568850"/>
                  <a:pt x="276671" y="2525758"/>
                </a:cubicBezTo>
                <a:cubicBezTo>
                  <a:pt x="247558" y="2482665"/>
                  <a:pt x="220465" y="2438097"/>
                  <a:pt x="195526" y="2392188"/>
                </a:cubicBezTo>
                <a:cubicBezTo>
                  <a:pt x="170586" y="2346280"/>
                  <a:pt x="147802" y="2299031"/>
                  <a:pt x="127308" y="2250577"/>
                </a:cubicBezTo>
                <a:cubicBezTo>
                  <a:pt x="106814" y="2202124"/>
                  <a:pt x="88610" y="2152466"/>
                  <a:pt x="72832" y="2101739"/>
                </a:cubicBezTo>
                <a:cubicBezTo>
                  <a:pt x="57055" y="2051012"/>
                  <a:pt x="43703" y="1999216"/>
                  <a:pt x="32913" y="1946487"/>
                </a:cubicBezTo>
                <a:cubicBezTo>
                  <a:pt x="22123" y="1893758"/>
                  <a:pt x="13895" y="1840095"/>
                  <a:pt x="8364" y="1785636"/>
                </a:cubicBezTo>
                <a:cubicBezTo>
                  <a:pt x="2833" y="1731176"/>
                  <a:pt x="0" y="1675919"/>
                  <a:pt x="0" y="1620000"/>
                </a:cubicBezTo>
                <a:cubicBezTo>
                  <a:pt x="0" y="1508163"/>
                  <a:pt x="11333" y="1398972"/>
                  <a:pt x="32913" y="1293514"/>
                </a:cubicBezTo>
                <a:cubicBezTo>
                  <a:pt x="43703" y="1240785"/>
                  <a:pt x="57055" y="1188989"/>
                  <a:pt x="72832" y="1138262"/>
                </a:cubicBezTo>
                <a:cubicBezTo>
                  <a:pt x="88610" y="1087535"/>
                  <a:pt x="106814" y="1037877"/>
                  <a:pt x="127308" y="989423"/>
                </a:cubicBezTo>
                <a:cubicBezTo>
                  <a:pt x="147802" y="940970"/>
                  <a:pt x="170586" y="893721"/>
                  <a:pt x="195526" y="847812"/>
                </a:cubicBezTo>
                <a:cubicBezTo>
                  <a:pt x="220465" y="801904"/>
                  <a:pt x="247558" y="757335"/>
                  <a:pt x="276671" y="714243"/>
                </a:cubicBezTo>
                <a:cubicBezTo>
                  <a:pt x="305783" y="671151"/>
                  <a:pt x="336915" y="629534"/>
                  <a:pt x="369930" y="589530"/>
                </a:cubicBezTo>
                <a:cubicBezTo>
                  <a:pt x="402944" y="549525"/>
                  <a:pt x="437842" y="511133"/>
                  <a:pt x="474487" y="474487"/>
                </a:cubicBezTo>
                <a:cubicBezTo>
                  <a:pt x="511133" y="437842"/>
                  <a:pt x="549525" y="402944"/>
                  <a:pt x="589530" y="369929"/>
                </a:cubicBezTo>
                <a:cubicBezTo>
                  <a:pt x="629534" y="336915"/>
                  <a:pt x="671151" y="305783"/>
                  <a:pt x="714243" y="276671"/>
                </a:cubicBezTo>
                <a:cubicBezTo>
                  <a:pt x="757335" y="247558"/>
                  <a:pt x="801904" y="220465"/>
                  <a:pt x="847812" y="195525"/>
                </a:cubicBezTo>
                <a:cubicBezTo>
                  <a:pt x="893721" y="170586"/>
                  <a:pt x="940970" y="147802"/>
                  <a:pt x="989423" y="127308"/>
                </a:cubicBezTo>
                <a:cubicBezTo>
                  <a:pt x="1037877" y="106814"/>
                  <a:pt x="1087535" y="88610"/>
                  <a:pt x="1138262" y="72832"/>
                </a:cubicBezTo>
                <a:cubicBezTo>
                  <a:pt x="1188989" y="57054"/>
                  <a:pt x="1240785" y="43703"/>
                  <a:pt x="1293514" y="32913"/>
                </a:cubicBezTo>
                <a:cubicBezTo>
                  <a:pt x="1346243" y="22123"/>
                  <a:pt x="1399905" y="13895"/>
                  <a:pt x="1454365" y="8364"/>
                </a:cubicBezTo>
                <a:cubicBezTo>
                  <a:pt x="1508824" y="2833"/>
                  <a:pt x="1564081" y="0"/>
                  <a:pt x="1620000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85" name="Smiley Face 15">
            <a:extLst>
              <a:ext uri="{FF2B5EF4-FFF2-40B4-BE49-F238E27FC236}">
                <a16:creationId xmlns:a16="http://schemas.microsoft.com/office/drawing/2014/main" id="{7DB0A6EE-0534-4660-BA3C-A3E8C9FF112F}"/>
              </a:ext>
            </a:extLst>
          </p:cNvPr>
          <p:cNvSpPr/>
          <p:nvPr/>
        </p:nvSpPr>
        <p:spPr>
          <a:xfrm>
            <a:off x="8468995" y="5581897"/>
            <a:ext cx="553792" cy="553792"/>
          </a:xfrm>
          <a:custGeom>
            <a:avLst/>
            <a:gdLst/>
            <a:ahLst/>
            <a:cxnLst/>
            <a:rect l="l" t="t" r="r" b="b"/>
            <a:pathLst>
              <a:path w="3240000" h="3240000">
                <a:moveTo>
                  <a:pt x="2298433" y="2114441"/>
                </a:moveTo>
                <a:lnTo>
                  <a:pt x="1355104" y="2367205"/>
                </a:lnTo>
                <a:lnTo>
                  <a:pt x="1411009" y="2575845"/>
                </a:lnTo>
                <a:lnTo>
                  <a:pt x="2354338" y="2323081"/>
                </a:lnTo>
                <a:close/>
                <a:moveTo>
                  <a:pt x="2165423" y="986226"/>
                </a:moveTo>
                <a:cubicBezTo>
                  <a:pt x="2072622" y="986226"/>
                  <a:pt x="1997392" y="1061456"/>
                  <a:pt x="1997392" y="1154257"/>
                </a:cubicBezTo>
                <a:cubicBezTo>
                  <a:pt x="1997392" y="1247058"/>
                  <a:pt x="2072622" y="1322288"/>
                  <a:pt x="2165423" y="1322288"/>
                </a:cubicBezTo>
                <a:cubicBezTo>
                  <a:pt x="2258224" y="1322288"/>
                  <a:pt x="2333454" y="1247058"/>
                  <a:pt x="2333454" y="1154257"/>
                </a:cubicBezTo>
                <a:cubicBezTo>
                  <a:pt x="2333454" y="1061456"/>
                  <a:pt x="2258224" y="986226"/>
                  <a:pt x="2165423" y="986226"/>
                </a:cubicBezTo>
                <a:close/>
                <a:moveTo>
                  <a:pt x="1107401" y="986226"/>
                </a:moveTo>
                <a:cubicBezTo>
                  <a:pt x="1014600" y="986226"/>
                  <a:pt x="939370" y="1061456"/>
                  <a:pt x="939370" y="1154257"/>
                </a:cubicBezTo>
                <a:cubicBezTo>
                  <a:pt x="939370" y="1247058"/>
                  <a:pt x="1014600" y="1322288"/>
                  <a:pt x="1107401" y="1322288"/>
                </a:cubicBezTo>
                <a:cubicBezTo>
                  <a:pt x="1200202" y="1322288"/>
                  <a:pt x="1275432" y="1247058"/>
                  <a:pt x="1275432" y="1154257"/>
                </a:cubicBezTo>
                <a:cubicBezTo>
                  <a:pt x="1275432" y="1061456"/>
                  <a:pt x="1200202" y="986226"/>
                  <a:pt x="1107401" y="986226"/>
                </a:cubicBezTo>
                <a:close/>
                <a:moveTo>
                  <a:pt x="1620000" y="0"/>
                </a:moveTo>
                <a:lnTo>
                  <a:pt x="1785636" y="8364"/>
                </a:lnTo>
                <a:lnTo>
                  <a:pt x="1946487" y="32913"/>
                </a:lnTo>
                <a:lnTo>
                  <a:pt x="2101738" y="72832"/>
                </a:lnTo>
                <a:lnTo>
                  <a:pt x="2250577" y="127308"/>
                </a:lnTo>
                <a:lnTo>
                  <a:pt x="2392188" y="195525"/>
                </a:lnTo>
                <a:lnTo>
                  <a:pt x="2525757" y="276671"/>
                </a:lnTo>
                <a:lnTo>
                  <a:pt x="2650470" y="369929"/>
                </a:lnTo>
                <a:lnTo>
                  <a:pt x="2765513" y="474487"/>
                </a:lnTo>
                <a:lnTo>
                  <a:pt x="2870071" y="589530"/>
                </a:lnTo>
                <a:lnTo>
                  <a:pt x="2963329" y="714243"/>
                </a:lnTo>
                <a:lnTo>
                  <a:pt x="3044475" y="847812"/>
                </a:lnTo>
                <a:lnTo>
                  <a:pt x="3112693" y="989423"/>
                </a:lnTo>
                <a:lnTo>
                  <a:pt x="3167168" y="1138262"/>
                </a:lnTo>
                <a:lnTo>
                  <a:pt x="3207088" y="1293514"/>
                </a:lnTo>
                <a:lnTo>
                  <a:pt x="3231636" y="1454365"/>
                </a:lnTo>
                <a:lnTo>
                  <a:pt x="3240000" y="1620000"/>
                </a:lnTo>
                <a:lnTo>
                  <a:pt x="3231636" y="1785636"/>
                </a:lnTo>
                <a:lnTo>
                  <a:pt x="3207088" y="1946487"/>
                </a:lnTo>
                <a:lnTo>
                  <a:pt x="3167168" y="2101739"/>
                </a:lnTo>
                <a:lnTo>
                  <a:pt x="3112693" y="2250577"/>
                </a:lnTo>
                <a:lnTo>
                  <a:pt x="3044475" y="2392188"/>
                </a:lnTo>
                <a:lnTo>
                  <a:pt x="2963329" y="2525758"/>
                </a:lnTo>
                <a:lnTo>
                  <a:pt x="2870071" y="2650471"/>
                </a:lnTo>
                <a:lnTo>
                  <a:pt x="2765513" y="2765513"/>
                </a:lnTo>
                <a:lnTo>
                  <a:pt x="2650470" y="2870071"/>
                </a:lnTo>
                <a:lnTo>
                  <a:pt x="2525757" y="2963330"/>
                </a:lnTo>
                <a:lnTo>
                  <a:pt x="2392188" y="3044475"/>
                </a:lnTo>
                <a:lnTo>
                  <a:pt x="2250577" y="3112693"/>
                </a:lnTo>
                <a:lnTo>
                  <a:pt x="2101738" y="3167168"/>
                </a:lnTo>
                <a:lnTo>
                  <a:pt x="1946487" y="3207088"/>
                </a:lnTo>
                <a:lnTo>
                  <a:pt x="1785636" y="3231636"/>
                </a:lnTo>
                <a:cubicBezTo>
                  <a:pt x="1731176" y="3237167"/>
                  <a:pt x="1675919" y="3240000"/>
                  <a:pt x="1620000" y="3240000"/>
                </a:cubicBezTo>
                <a:cubicBezTo>
                  <a:pt x="1508162" y="3240000"/>
                  <a:pt x="1398972" y="3228667"/>
                  <a:pt x="1293514" y="3207088"/>
                </a:cubicBezTo>
                <a:cubicBezTo>
                  <a:pt x="1240785" y="3196298"/>
                  <a:pt x="1188989" y="3182946"/>
                  <a:pt x="1138262" y="3167168"/>
                </a:cubicBezTo>
                <a:cubicBezTo>
                  <a:pt x="1087535" y="3151390"/>
                  <a:pt x="1037877" y="3133187"/>
                  <a:pt x="989423" y="3112693"/>
                </a:cubicBezTo>
                <a:cubicBezTo>
                  <a:pt x="940970" y="3092198"/>
                  <a:pt x="893721" y="3069414"/>
                  <a:pt x="847812" y="3044475"/>
                </a:cubicBezTo>
                <a:cubicBezTo>
                  <a:pt x="801903" y="3019536"/>
                  <a:pt x="757335" y="2992442"/>
                  <a:pt x="714243" y="2963330"/>
                </a:cubicBezTo>
                <a:cubicBezTo>
                  <a:pt x="671151" y="2934217"/>
                  <a:pt x="629534" y="2903086"/>
                  <a:pt x="589530" y="2870071"/>
                </a:cubicBezTo>
                <a:cubicBezTo>
                  <a:pt x="549525" y="2837056"/>
                  <a:pt x="511132" y="2802158"/>
                  <a:pt x="474487" y="2765513"/>
                </a:cubicBezTo>
                <a:cubicBezTo>
                  <a:pt x="437842" y="2728868"/>
                  <a:pt x="402944" y="2690475"/>
                  <a:pt x="369929" y="2650471"/>
                </a:cubicBezTo>
                <a:cubicBezTo>
                  <a:pt x="336915" y="2610466"/>
                  <a:pt x="305783" y="2568850"/>
                  <a:pt x="276671" y="2525758"/>
                </a:cubicBezTo>
                <a:cubicBezTo>
                  <a:pt x="247558" y="2482665"/>
                  <a:pt x="220464" y="2438097"/>
                  <a:pt x="195525" y="2392188"/>
                </a:cubicBezTo>
                <a:cubicBezTo>
                  <a:pt x="170586" y="2346280"/>
                  <a:pt x="147802" y="2299031"/>
                  <a:pt x="127308" y="2250577"/>
                </a:cubicBezTo>
                <a:cubicBezTo>
                  <a:pt x="106814" y="2202124"/>
                  <a:pt x="88610" y="2152466"/>
                  <a:pt x="72832" y="2101739"/>
                </a:cubicBezTo>
                <a:cubicBezTo>
                  <a:pt x="57054" y="2051012"/>
                  <a:pt x="43703" y="1999216"/>
                  <a:pt x="32913" y="1946487"/>
                </a:cubicBezTo>
                <a:cubicBezTo>
                  <a:pt x="22123" y="1893758"/>
                  <a:pt x="13895" y="1840095"/>
                  <a:pt x="8364" y="1785636"/>
                </a:cubicBezTo>
                <a:cubicBezTo>
                  <a:pt x="2833" y="1731176"/>
                  <a:pt x="0" y="1675919"/>
                  <a:pt x="0" y="1620000"/>
                </a:cubicBezTo>
                <a:cubicBezTo>
                  <a:pt x="0" y="1508163"/>
                  <a:pt x="11333" y="1398972"/>
                  <a:pt x="32913" y="1293514"/>
                </a:cubicBezTo>
                <a:cubicBezTo>
                  <a:pt x="43703" y="1240785"/>
                  <a:pt x="57054" y="1188989"/>
                  <a:pt x="72832" y="1138262"/>
                </a:cubicBezTo>
                <a:cubicBezTo>
                  <a:pt x="88610" y="1087535"/>
                  <a:pt x="106814" y="1037877"/>
                  <a:pt x="127308" y="989423"/>
                </a:cubicBezTo>
                <a:cubicBezTo>
                  <a:pt x="147802" y="940970"/>
                  <a:pt x="170586" y="893721"/>
                  <a:pt x="195525" y="847812"/>
                </a:cubicBezTo>
                <a:cubicBezTo>
                  <a:pt x="220464" y="801904"/>
                  <a:pt x="247558" y="757335"/>
                  <a:pt x="276671" y="714243"/>
                </a:cubicBezTo>
                <a:cubicBezTo>
                  <a:pt x="305783" y="671151"/>
                  <a:pt x="336915" y="629534"/>
                  <a:pt x="369929" y="589530"/>
                </a:cubicBezTo>
                <a:cubicBezTo>
                  <a:pt x="402944" y="549525"/>
                  <a:pt x="437842" y="511133"/>
                  <a:pt x="474487" y="474487"/>
                </a:cubicBezTo>
                <a:cubicBezTo>
                  <a:pt x="511132" y="437842"/>
                  <a:pt x="549525" y="402944"/>
                  <a:pt x="589530" y="369929"/>
                </a:cubicBezTo>
                <a:cubicBezTo>
                  <a:pt x="629534" y="336915"/>
                  <a:pt x="671151" y="305783"/>
                  <a:pt x="714243" y="276671"/>
                </a:cubicBezTo>
                <a:cubicBezTo>
                  <a:pt x="757335" y="247558"/>
                  <a:pt x="801903" y="220465"/>
                  <a:pt x="847812" y="195525"/>
                </a:cubicBezTo>
                <a:cubicBezTo>
                  <a:pt x="893721" y="170586"/>
                  <a:pt x="940970" y="147802"/>
                  <a:pt x="989423" y="127308"/>
                </a:cubicBezTo>
                <a:cubicBezTo>
                  <a:pt x="1037877" y="106814"/>
                  <a:pt x="1087535" y="88610"/>
                  <a:pt x="1138262" y="72832"/>
                </a:cubicBezTo>
                <a:cubicBezTo>
                  <a:pt x="1188989" y="57054"/>
                  <a:pt x="1240785" y="43703"/>
                  <a:pt x="1293514" y="32913"/>
                </a:cubicBezTo>
                <a:cubicBezTo>
                  <a:pt x="1346243" y="22123"/>
                  <a:pt x="1399905" y="13895"/>
                  <a:pt x="1454365" y="8364"/>
                </a:cubicBezTo>
                <a:cubicBezTo>
                  <a:pt x="1508824" y="2833"/>
                  <a:pt x="1564081" y="0"/>
                  <a:pt x="1620000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86" name="Oval 37">
            <a:extLst>
              <a:ext uri="{FF2B5EF4-FFF2-40B4-BE49-F238E27FC236}">
                <a16:creationId xmlns:a16="http://schemas.microsoft.com/office/drawing/2014/main" id="{1430B71C-D580-4CA6-A442-26AED5FAE293}"/>
              </a:ext>
            </a:extLst>
          </p:cNvPr>
          <p:cNvSpPr/>
          <p:nvPr/>
        </p:nvSpPr>
        <p:spPr>
          <a:xfrm>
            <a:off x="11012576" y="5575424"/>
            <a:ext cx="566738" cy="566738"/>
          </a:xfrm>
          <a:custGeom>
            <a:avLst/>
            <a:gdLst/>
            <a:ahLst/>
            <a:cxnLst/>
            <a:rect l="l" t="t" r="r" b="b"/>
            <a:pathLst>
              <a:path w="3240000" h="3240000">
                <a:moveTo>
                  <a:pt x="2249999" y="2117384"/>
                </a:moveTo>
                <a:lnTo>
                  <a:pt x="990192" y="2131776"/>
                </a:lnTo>
                <a:cubicBezTo>
                  <a:pt x="998682" y="2476365"/>
                  <a:pt x="1282526" y="2750154"/>
                  <a:pt x="1627197" y="2746216"/>
                </a:cubicBezTo>
                <a:cubicBezTo>
                  <a:pt x="1971867" y="2742279"/>
                  <a:pt x="2249383" y="2462077"/>
                  <a:pt x="2249999" y="2117384"/>
                </a:cubicBezTo>
                <a:close/>
                <a:moveTo>
                  <a:pt x="2505352" y="784338"/>
                </a:moveTo>
                <a:lnTo>
                  <a:pt x="1869332" y="1428843"/>
                </a:lnTo>
                <a:lnTo>
                  <a:pt x="2505352" y="1522122"/>
                </a:lnTo>
                <a:lnTo>
                  <a:pt x="2505352" y="1378597"/>
                </a:lnTo>
                <a:lnTo>
                  <a:pt x="2187887" y="1332038"/>
                </a:lnTo>
                <a:lnTo>
                  <a:pt x="2505352" y="1010338"/>
                </a:lnTo>
                <a:close/>
                <a:moveTo>
                  <a:pt x="734649" y="784338"/>
                </a:moveTo>
                <a:lnTo>
                  <a:pt x="734649" y="1010338"/>
                </a:lnTo>
                <a:lnTo>
                  <a:pt x="1052115" y="1332038"/>
                </a:lnTo>
                <a:lnTo>
                  <a:pt x="734649" y="1378597"/>
                </a:lnTo>
                <a:lnTo>
                  <a:pt x="734649" y="1522122"/>
                </a:lnTo>
                <a:lnTo>
                  <a:pt x="1370670" y="1428843"/>
                </a:lnTo>
                <a:close/>
                <a:moveTo>
                  <a:pt x="1620000" y="0"/>
                </a:moveTo>
                <a:cubicBezTo>
                  <a:pt x="2514701" y="0"/>
                  <a:pt x="3240000" y="725299"/>
                  <a:pt x="3240000" y="1620000"/>
                </a:cubicBezTo>
                <a:cubicBezTo>
                  <a:pt x="3240000" y="2514701"/>
                  <a:pt x="2514701" y="3240000"/>
                  <a:pt x="1620000" y="3240000"/>
                </a:cubicBezTo>
                <a:cubicBezTo>
                  <a:pt x="725299" y="3240000"/>
                  <a:pt x="0" y="2514701"/>
                  <a:pt x="0" y="1620000"/>
                </a:cubicBezTo>
                <a:cubicBezTo>
                  <a:pt x="0" y="725299"/>
                  <a:pt x="725299" y="0"/>
                  <a:pt x="1620000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87" name="Smiley Face 14">
            <a:extLst>
              <a:ext uri="{FF2B5EF4-FFF2-40B4-BE49-F238E27FC236}">
                <a16:creationId xmlns:a16="http://schemas.microsoft.com/office/drawing/2014/main" id="{77504E11-68B3-460A-979B-D56E2900C922}"/>
              </a:ext>
            </a:extLst>
          </p:cNvPr>
          <p:cNvSpPr/>
          <p:nvPr/>
        </p:nvSpPr>
        <p:spPr>
          <a:xfrm>
            <a:off x="9314808" y="5581897"/>
            <a:ext cx="553792" cy="553792"/>
          </a:xfrm>
          <a:custGeom>
            <a:avLst/>
            <a:gdLst/>
            <a:ahLst/>
            <a:cxnLst/>
            <a:rect l="l" t="t" r="r" b="b"/>
            <a:pathLst>
              <a:path w="3240000" h="3240000">
                <a:moveTo>
                  <a:pt x="2026698" y="2215122"/>
                </a:moveTo>
                <a:cubicBezTo>
                  <a:pt x="1959656" y="2378616"/>
                  <a:pt x="1801229" y="2486070"/>
                  <a:pt x="1624533" y="2487892"/>
                </a:cubicBezTo>
                <a:cubicBezTo>
                  <a:pt x="1447837" y="2489714"/>
                  <a:pt x="1287227" y="2385551"/>
                  <a:pt x="1216828" y="2223474"/>
                </a:cubicBezTo>
                <a:lnTo>
                  <a:pt x="1039110" y="2300667"/>
                </a:lnTo>
                <a:cubicBezTo>
                  <a:pt x="1140541" y="2534187"/>
                  <a:pt x="1371947" y="2684266"/>
                  <a:pt x="1626531" y="2681641"/>
                </a:cubicBezTo>
                <a:cubicBezTo>
                  <a:pt x="1881115" y="2679016"/>
                  <a:pt x="2109376" y="2524196"/>
                  <a:pt x="2205970" y="2288634"/>
                </a:cubicBezTo>
                <a:close/>
                <a:moveTo>
                  <a:pt x="937973" y="986566"/>
                </a:moveTo>
                <a:cubicBezTo>
                  <a:pt x="850807" y="983371"/>
                  <a:pt x="762813" y="1002775"/>
                  <a:pt x="683096" y="1045110"/>
                </a:cubicBezTo>
                <a:cubicBezTo>
                  <a:pt x="523662" y="1129780"/>
                  <a:pt x="421680" y="1293248"/>
                  <a:pt x="415731" y="1473672"/>
                </a:cubicBezTo>
                <a:lnTo>
                  <a:pt x="615852" y="1480270"/>
                </a:lnTo>
                <a:cubicBezTo>
                  <a:pt x="619438" y="1371518"/>
                  <a:pt x="680908" y="1272986"/>
                  <a:pt x="777009" y="1221950"/>
                </a:cubicBezTo>
                <a:cubicBezTo>
                  <a:pt x="873110" y="1170914"/>
                  <a:pt x="989166" y="1175167"/>
                  <a:pt x="1081273" y="1233100"/>
                </a:cubicBezTo>
                <a:cubicBezTo>
                  <a:pt x="1173381" y="1291033"/>
                  <a:pt x="1227475" y="1393800"/>
                  <a:pt x="1223091" y="1502523"/>
                </a:cubicBezTo>
                <a:lnTo>
                  <a:pt x="1423160" y="1510590"/>
                </a:lnTo>
                <a:cubicBezTo>
                  <a:pt x="1430433" y="1330214"/>
                  <a:pt x="1340689" y="1159721"/>
                  <a:pt x="1187880" y="1063608"/>
                </a:cubicBezTo>
                <a:cubicBezTo>
                  <a:pt x="1111476" y="1015552"/>
                  <a:pt x="1025138" y="989760"/>
                  <a:pt x="937973" y="986566"/>
                </a:cubicBezTo>
                <a:close/>
                <a:moveTo>
                  <a:pt x="2306124" y="986566"/>
                </a:moveTo>
                <a:cubicBezTo>
                  <a:pt x="2218958" y="983371"/>
                  <a:pt x="2130964" y="1002775"/>
                  <a:pt x="2051247" y="1045110"/>
                </a:cubicBezTo>
                <a:cubicBezTo>
                  <a:pt x="1891813" y="1129780"/>
                  <a:pt x="1789831" y="1293248"/>
                  <a:pt x="1783882" y="1473672"/>
                </a:cubicBezTo>
                <a:lnTo>
                  <a:pt x="1984003" y="1480270"/>
                </a:lnTo>
                <a:cubicBezTo>
                  <a:pt x="1987589" y="1371518"/>
                  <a:pt x="2049059" y="1272986"/>
                  <a:pt x="2145160" y="1221950"/>
                </a:cubicBezTo>
                <a:cubicBezTo>
                  <a:pt x="2241261" y="1170914"/>
                  <a:pt x="2357317" y="1175167"/>
                  <a:pt x="2449424" y="1233100"/>
                </a:cubicBezTo>
                <a:cubicBezTo>
                  <a:pt x="2541532" y="1291033"/>
                  <a:pt x="2595626" y="1393800"/>
                  <a:pt x="2591242" y="1502523"/>
                </a:cubicBezTo>
                <a:lnTo>
                  <a:pt x="2791311" y="1510590"/>
                </a:lnTo>
                <a:cubicBezTo>
                  <a:pt x="2798584" y="1330214"/>
                  <a:pt x="2708840" y="1159721"/>
                  <a:pt x="2556031" y="1063608"/>
                </a:cubicBezTo>
                <a:cubicBezTo>
                  <a:pt x="2479627" y="1015552"/>
                  <a:pt x="2393289" y="989760"/>
                  <a:pt x="2306124" y="986566"/>
                </a:cubicBezTo>
                <a:close/>
                <a:moveTo>
                  <a:pt x="1620000" y="0"/>
                </a:moveTo>
                <a:lnTo>
                  <a:pt x="1785636" y="8364"/>
                </a:lnTo>
                <a:lnTo>
                  <a:pt x="1946487" y="32913"/>
                </a:lnTo>
                <a:lnTo>
                  <a:pt x="2101738" y="72832"/>
                </a:lnTo>
                <a:lnTo>
                  <a:pt x="2250577" y="127308"/>
                </a:lnTo>
                <a:lnTo>
                  <a:pt x="2392188" y="195525"/>
                </a:lnTo>
                <a:lnTo>
                  <a:pt x="2525757" y="276671"/>
                </a:lnTo>
                <a:lnTo>
                  <a:pt x="2650470" y="369929"/>
                </a:lnTo>
                <a:lnTo>
                  <a:pt x="2765513" y="474487"/>
                </a:lnTo>
                <a:lnTo>
                  <a:pt x="2870071" y="589530"/>
                </a:lnTo>
                <a:lnTo>
                  <a:pt x="2963329" y="714243"/>
                </a:lnTo>
                <a:lnTo>
                  <a:pt x="3044475" y="847812"/>
                </a:lnTo>
                <a:lnTo>
                  <a:pt x="3112693" y="989423"/>
                </a:lnTo>
                <a:lnTo>
                  <a:pt x="3167168" y="1138262"/>
                </a:lnTo>
                <a:lnTo>
                  <a:pt x="3207088" y="1293514"/>
                </a:lnTo>
                <a:lnTo>
                  <a:pt x="3231636" y="1454365"/>
                </a:lnTo>
                <a:lnTo>
                  <a:pt x="3240000" y="1620000"/>
                </a:lnTo>
                <a:lnTo>
                  <a:pt x="3231636" y="1785636"/>
                </a:lnTo>
                <a:lnTo>
                  <a:pt x="3207088" y="1946487"/>
                </a:lnTo>
                <a:lnTo>
                  <a:pt x="3167168" y="2101739"/>
                </a:lnTo>
                <a:lnTo>
                  <a:pt x="3112693" y="2250577"/>
                </a:lnTo>
                <a:lnTo>
                  <a:pt x="3044475" y="2392188"/>
                </a:lnTo>
                <a:lnTo>
                  <a:pt x="2963329" y="2525758"/>
                </a:lnTo>
                <a:lnTo>
                  <a:pt x="2870071" y="2650471"/>
                </a:lnTo>
                <a:lnTo>
                  <a:pt x="2765513" y="2765513"/>
                </a:lnTo>
                <a:lnTo>
                  <a:pt x="2650470" y="2870071"/>
                </a:lnTo>
                <a:lnTo>
                  <a:pt x="2525757" y="2963330"/>
                </a:lnTo>
                <a:lnTo>
                  <a:pt x="2392188" y="3044475"/>
                </a:lnTo>
                <a:lnTo>
                  <a:pt x="2250577" y="3112693"/>
                </a:lnTo>
                <a:lnTo>
                  <a:pt x="2101738" y="3167168"/>
                </a:lnTo>
                <a:lnTo>
                  <a:pt x="1946487" y="3207088"/>
                </a:lnTo>
                <a:lnTo>
                  <a:pt x="1785636" y="3231636"/>
                </a:lnTo>
                <a:cubicBezTo>
                  <a:pt x="1731176" y="3237167"/>
                  <a:pt x="1675919" y="3240000"/>
                  <a:pt x="1620000" y="3240000"/>
                </a:cubicBezTo>
                <a:cubicBezTo>
                  <a:pt x="1508162" y="3240000"/>
                  <a:pt x="1398972" y="3228667"/>
                  <a:pt x="1293514" y="3207088"/>
                </a:cubicBezTo>
                <a:cubicBezTo>
                  <a:pt x="1240785" y="3196298"/>
                  <a:pt x="1188989" y="3182946"/>
                  <a:pt x="1138262" y="3167168"/>
                </a:cubicBezTo>
                <a:cubicBezTo>
                  <a:pt x="1087535" y="3151390"/>
                  <a:pt x="1037877" y="3133187"/>
                  <a:pt x="989423" y="3112693"/>
                </a:cubicBezTo>
                <a:cubicBezTo>
                  <a:pt x="940970" y="3092198"/>
                  <a:pt x="893721" y="3069414"/>
                  <a:pt x="847812" y="3044475"/>
                </a:cubicBezTo>
                <a:cubicBezTo>
                  <a:pt x="801903" y="3019536"/>
                  <a:pt x="757335" y="2992442"/>
                  <a:pt x="714243" y="2963330"/>
                </a:cubicBezTo>
                <a:cubicBezTo>
                  <a:pt x="671151" y="2934217"/>
                  <a:pt x="629534" y="2903086"/>
                  <a:pt x="589530" y="2870071"/>
                </a:cubicBezTo>
                <a:cubicBezTo>
                  <a:pt x="549525" y="2837056"/>
                  <a:pt x="511132" y="2802158"/>
                  <a:pt x="474487" y="2765513"/>
                </a:cubicBezTo>
                <a:cubicBezTo>
                  <a:pt x="437842" y="2728868"/>
                  <a:pt x="402944" y="2690475"/>
                  <a:pt x="369929" y="2650471"/>
                </a:cubicBezTo>
                <a:cubicBezTo>
                  <a:pt x="336915" y="2610466"/>
                  <a:pt x="305783" y="2568850"/>
                  <a:pt x="276671" y="2525758"/>
                </a:cubicBezTo>
                <a:cubicBezTo>
                  <a:pt x="247558" y="2482665"/>
                  <a:pt x="220464" y="2438097"/>
                  <a:pt x="195525" y="2392188"/>
                </a:cubicBezTo>
                <a:cubicBezTo>
                  <a:pt x="170586" y="2346280"/>
                  <a:pt x="147802" y="2299031"/>
                  <a:pt x="127308" y="2250577"/>
                </a:cubicBezTo>
                <a:cubicBezTo>
                  <a:pt x="106814" y="2202124"/>
                  <a:pt x="88610" y="2152466"/>
                  <a:pt x="72832" y="2101739"/>
                </a:cubicBezTo>
                <a:cubicBezTo>
                  <a:pt x="57054" y="2051012"/>
                  <a:pt x="43703" y="1999216"/>
                  <a:pt x="32913" y="1946487"/>
                </a:cubicBezTo>
                <a:cubicBezTo>
                  <a:pt x="22123" y="1893758"/>
                  <a:pt x="13895" y="1840095"/>
                  <a:pt x="8364" y="1785636"/>
                </a:cubicBezTo>
                <a:cubicBezTo>
                  <a:pt x="2833" y="1731176"/>
                  <a:pt x="0" y="1675919"/>
                  <a:pt x="0" y="1620000"/>
                </a:cubicBezTo>
                <a:cubicBezTo>
                  <a:pt x="0" y="1508163"/>
                  <a:pt x="11333" y="1398972"/>
                  <a:pt x="32913" y="1293514"/>
                </a:cubicBezTo>
                <a:cubicBezTo>
                  <a:pt x="43703" y="1240785"/>
                  <a:pt x="57054" y="1188989"/>
                  <a:pt x="72832" y="1138262"/>
                </a:cubicBezTo>
                <a:cubicBezTo>
                  <a:pt x="88610" y="1087535"/>
                  <a:pt x="106814" y="1037877"/>
                  <a:pt x="127308" y="989423"/>
                </a:cubicBezTo>
                <a:cubicBezTo>
                  <a:pt x="147802" y="940970"/>
                  <a:pt x="170586" y="893721"/>
                  <a:pt x="195525" y="847812"/>
                </a:cubicBezTo>
                <a:cubicBezTo>
                  <a:pt x="220464" y="801904"/>
                  <a:pt x="247558" y="757335"/>
                  <a:pt x="276671" y="714243"/>
                </a:cubicBezTo>
                <a:cubicBezTo>
                  <a:pt x="305783" y="671151"/>
                  <a:pt x="336915" y="629534"/>
                  <a:pt x="369929" y="589530"/>
                </a:cubicBezTo>
                <a:cubicBezTo>
                  <a:pt x="402944" y="549525"/>
                  <a:pt x="437842" y="511133"/>
                  <a:pt x="474487" y="474487"/>
                </a:cubicBezTo>
                <a:cubicBezTo>
                  <a:pt x="511132" y="437842"/>
                  <a:pt x="549525" y="402944"/>
                  <a:pt x="589530" y="369929"/>
                </a:cubicBezTo>
                <a:cubicBezTo>
                  <a:pt x="629534" y="336915"/>
                  <a:pt x="671151" y="305783"/>
                  <a:pt x="714243" y="276671"/>
                </a:cubicBezTo>
                <a:cubicBezTo>
                  <a:pt x="757335" y="247558"/>
                  <a:pt x="801903" y="220465"/>
                  <a:pt x="847812" y="195525"/>
                </a:cubicBezTo>
                <a:cubicBezTo>
                  <a:pt x="893721" y="170586"/>
                  <a:pt x="940970" y="147802"/>
                  <a:pt x="989423" y="127308"/>
                </a:cubicBezTo>
                <a:cubicBezTo>
                  <a:pt x="1037877" y="106814"/>
                  <a:pt x="1087535" y="88610"/>
                  <a:pt x="1138262" y="72832"/>
                </a:cubicBezTo>
                <a:cubicBezTo>
                  <a:pt x="1188989" y="57054"/>
                  <a:pt x="1240785" y="43703"/>
                  <a:pt x="1293514" y="32913"/>
                </a:cubicBezTo>
                <a:cubicBezTo>
                  <a:pt x="1346243" y="22123"/>
                  <a:pt x="1399905" y="13895"/>
                  <a:pt x="1454365" y="8364"/>
                </a:cubicBezTo>
                <a:cubicBezTo>
                  <a:pt x="1508824" y="2833"/>
                  <a:pt x="1564081" y="0"/>
                  <a:pt x="1620000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88" name="Rectangle 16">
            <a:extLst>
              <a:ext uri="{FF2B5EF4-FFF2-40B4-BE49-F238E27FC236}">
                <a16:creationId xmlns:a16="http://schemas.microsoft.com/office/drawing/2014/main" id="{EE8124F3-717D-48CF-A47F-1E6B4110895D}"/>
              </a:ext>
            </a:extLst>
          </p:cNvPr>
          <p:cNvSpPr/>
          <p:nvPr/>
        </p:nvSpPr>
        <p:spPr>
          <a:xfrm rot="2700000">
            <a:off x="5325698" y="3520150"/>
            <a:ext cx="389390" cy="698103"/>
          </a:xfrm>
          <a:custGeom>
            <a:avLst/>
            <a:gdLst/>
            <a:ahLst/>
            <a:cxnLst/>
            <a:rect l="l" t="t" r="r" b="b"/>
            <a:pathLst>
              <a:path w="2232248" h="4001999">
                <a:moveTo>
                  <a:pt x="1116887" y="0"/>
                </a:moveTo>
                <a:cubicBezTo>
                  <a:pt x="1270748" y="4762"/>
                  <a:pt x="1433283" y="120651"/>
                  <a:pt x="1447291" y="308459"/>
                </a:cubicBezTo>
                <a:cubicBezTo>
                  <a:pt x="1483174" y="544979"/>
                  <a:pt x="1283237" y="603082"/>
                  <a:pt x="1339988" y="887363"/>
                </a:cubicBezTo>
                <a:lnTo>
                  <a:pt x="2232248" y="887363"/>
                </a:lnTo>
                <a:lnTo>
                  <a:pt x="2232248" y="1778237"/>
                </a:lnTo>
                <a:cubicBezTo>
                  <a:pt x="1956566" y="1829261"/>
                  <a:pt x="1897086" y="1634366"/>
                  <a:pt x="1663321" y="1669832"/>
                </a:cubicBezTo>
                <a:cubicBezTo>
                  <a:pt x="1475513" y="1683840"/>
                  <a:pt x="1359624" y="1846375"/>
                  <a:pt x="1354862" y="2000236"/>
                </a:cubicBezTo>
                <a:cubicBezTo>
                  <a:pt x="1358037" y="2135389"/>
                  <a:pt x="1477787" y="2334920"/>
                  <a:pt x="1701420" y="2336507"/>
                </a:cubicBezTo>
                <a:cubicBezTo>
                  <a:pt x="1972077" y="2308709"/>
                  <a:pt x="1932339" y="2176007"/>
                  <a:pt x="2232248" y="2187989"/>
                </a:cubicBezTo>
                <a:lnTo>
                  <a:pt x="2232248" y="3119611"/>
                </a:lnTo>
                <a:lnTo>
                  <a:pt x="1303259" y="3119611"/>
                </a:lnTo>
                <a:cubicBezTo>
                  <a:pt x="1289664" y="3424971"/>
                  <a:pt x="1423682" y="3383289"/>
                  <a:pt x="1451633" y="3655441"/>
                </a:cubicBezTo>
                <a:cubicBezTo>
                  <a:pt x="1450046" y="3879074"/>
                  <a:pt x="1250515" y="3998824"/>
                  <a:pt x="1115362" y="4001999"/>
                </a:cubicBezTo>
                <a:cubicBezTo>
                  <a:pt x="961501" y="3997237"/>
                  <a:pt x="798966" y="3881348"/>
                  <a:pt x="784958" y="3693540"/>
                </a:cubicBezTo>
                <a:cubicBezTo>
                  <a:pt x="749282" y="3458385"/>
                  <a:pt x="946712" y="3399594"/>
                  <a:pt x="892811" y="3119611"/>
                </a:cubicBezTo>
                <a:lnTo>
                  <a:pt x="0" y="3119611"/>
                </a:lnTo>
                <a:lnTo>
                  <a:pt x="0" y="2203607"/>
                </a:lnTo>
                <a:cubicBezTo>
                  <a:pt x="285884" y="2145799"/>
                  <a:pt x="343730" y="2346665"/>
                  <a:pt x="580754" y="2310706"/>
                </a:cubicBezTo>
                <a:cubicBezTo>
                  <a:pt x="768562" y="2296698"/>
                  <a:pt x="884451" y="2134163"/>
                  <a:pt x="889213" y="1980302"/>
                </a:cubicBezTo>
                <a:cubicBezTo>
                  <a:pt x="886038" y="1845149"/>
                  <a:pt x="766288" y="1645618"/>
                  <a:pt x="542655" y="1644031"/>
                </a:cubicBezTo>
                <a:cubicBezTo>
                  <a:pt x="268493" y="1672188"/>
                  <a:pt x="312817" y="1807984"/>
                  <a:pt x="0" y="1792208"/>
                </a:cubicBezTo>
                <a:lnTo>
                  <a:pt x="0" y="887363"/>
                </a:lnTo>
                <a:lnTo>
                  <a:pt x="928847" y="887363"/>
                </a:lnTo>
                <a:cubicBezTo>
                  <a:pt x="944034" y="576570"/>
                  <a:pt x="808718" y="620178"/>
                  <a:pt x="780616" y="346558"/>
                </a:cubicBezTo>
                <a:cubicBezTo>
                  <a:pt x="782203" y="122925"/>
                  <a:pt x="981734" y="3175"/>
                  <a:pt x="1116887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89" name="Rectangle 9">
            <a:extLst>
              <a:ext uri="{FF2B5EF4-FFF2-40B4-BE49-F238E27FC236}">
                <a16:creationId xmlns:a16="http://schemas.microsoft.com/office/drawing/2014/main" id="{444E6227-4972-4DE6-BEB0-C3FC42991182}"/>
              </a:ext>
            </a:extLst>
          </p:cNvPr>
          <p:cNvSpPr/>
          <p:nvPr/>
        </p:nvSpPr>
        <p:spPr>
          <a:xfrm>
            <a:off x="4401174" y="3545247"/>
            <a:ext cx="527335" cy="493633"/>
          </a:xfrm>
          <a:custGeom>
            <a:avLst/>
            <a:gdLst>
              <a:gd name="connsiteX0" fmla="*/ 833935 w 3239999"/>
              <a:gd name="connsiteY0" fmla="*/ 22 h 3032924"/>
              <a:gd name="connsiteX1" fmla="*/ 1576606 w 3239999"/>
              <a:gd name="connsiteY1" fmla="*/ 402054 h 3032924"/>
              <a:gd name="connsiteX2" fmla="*/ 1576606 w 3239999"/>
              <a:gd name="connsiteY2" fmla="*/ 430441 h 3032924"/>
              <a:gd name="connsiteX3" fmla="*/ 1576606 w 3239999"/>
              <a:gd name="connsiteY3" fmla="*/ 526981 h 3032924"/>
              <a:gd name="connsiteX4" fmla="*/ 1576606 w 3239999"/>
              <a:gd name="connsiteY4" fmla="*/ 2765302 h 3032924"/>
              <a:gd name="connsiteX5" fmla="*/ 378630 w 3239999"/>
              <a:gd name="connsiteY5" fmla="*/ 2472117 h 3032924"/>
              <a:gd name="connsiteX6" fmla="*/ 384918 w 3239999"/>
              <a:gd name="connsiteY6" fmla="*/ 526981 h 3032924"/>
              <a:gd name="connsiteX7" fmla="*/ 239143 w 3239999"/>
              <a:gd name="connsiteY7" fmla="*/ 526981 h 3032924"/>
              <a:gd name="connsiteX8" fmla="*/ 239143 w 3239999"/>
              <a:gd name="connsiteY8" fmla="*/ 2776423 h 3032924"/>
              <a:gd name="connsiteX9" fmla="*/ 1576606 w 3239999"/>
              <a:gd name="connsiteY9" fmla="*/ 2776423 h 3032924"/>
              <a:gd name="connsiteX10" fmla="*/ 1576606 w 3239999"/>
              <a:gd name="connsiteY10" fmla="*/ 2778202 h 3032924"/>
              <a:gd name="connsiteX11" fmla="*/ 1663394 w 3239999"/>
              <a:gd name="connsiteY11" fmla="*/ 2778202 h 3032924"/>
              <a:gd name="connsiteX12" fmla="*/ 1663394 w 3239999"/>
              <a:gd name="connsiteY12" fmla="*/ 2776423 h 3032924"/>
              <a:gd name="connsiteX13" fmla="*/ 3000856 w 3239999"/>
              <a:gd name="connsiteY13" fmla="*/ 2776423 h 3032924"/>
              <a:gd name="connsiteX14" fmla="*/ 3000856 w 3239999"/>
              <a:gd name="connsiteY14" fmla="*/ 526981 h 3032924"/>
              <a:gd name="connsiteX15" fmla="*/ 2855082 w 3239999"/>
              <a:gd name="connsiteY15" fmla="*/ 526981 h 3032924"/>
              <a:gd name="connsiteX16" fmla="*/ 2861369 w 3239999"/>
              <a:gd name="connsiteY16" fmla="*/ 2472117 h 3032924"/>
              <a:gd name="connsiteX17" fmla="*/ 1663394 w 3239999"/>
              <a:gd name="connsiteY17" fmla="*/ 2765302 h 3032924"/>
              <a:gd name="connsiteX18" fmla="*/ 1663394 w 3239999"/>
              <a:gd name="connsiteY18" fmla="*/ 526981 h 3032924"/>
              <a:gd name="connsiteX19" fmla="*/ 1663394 w 3239999"/>
              <a:gd name="connsiteY19" fmla="*/ 430441 h 3032924"/>
              <a:gd name="connsiteX20" fmla="*/ 1663394 w 3239999"/>
              <a:gd name="connsiteY20" fmla="*/ 402054 h 3032924"/>
              <a:gd name="connsiteX21" fmla="*/ 2406065 w 3239999"/>
              <a:gd name="connsiteY21" fmla="*/ 22 h 3032924"/>
              <a:gd name="connsiteX22" fmla="*/ 2853673 w 3239999"/>
              <a:gd name="connsiteY22" fmla="*/ 91100 h 3032924"/>
              <a:gd name="connsiteX23" fmla="*/ 2854770 w 3239999"/>
              <a:gd name="connsiteY23" fmla="*/ 430441 h 3032924"/>
              <a:gd name="connsiteX24" fmla="*/ 3120669 w 3239999"/>
              <a:gd name="connsiteY24" fmla="*/ 428517 h 3032924"/>
              <a:gd name="connsiteX25" fmla="*/ 3120669 w 3239999"/>
              <a:gd name="connsiteY25" fmla="*/ 738345 h 3032924"/>
              <a:gd name="connsiteX26" fmla="*/ 3239999 w 3239999"/>
              <a:gd name="connsiteY26" fmla="*/ 738345 h 3032924"/>
              <a:gd name="connsiteX27" fmla="*/ 3239999 w 3239999"/>
              <a:gd name="connsiteY27" fmla="*/ 3032924 h 3032924"/>
              <a:gd name="connsiteX28" fmla="*/ 0 w 3239999"/>
              <a:gd name="connsiteY28" fmla="*/ 3032924 h 3032924"/>
              <a:gd name="connsiteX29" fmla="*/ 0 w 3239999"/>
              <a:gd name="connsiteY29" fmla="*/ 738345 h 3032924"/>
              <a:gd name="connsiteX30" fmla="*/ 102477 w 3239999"/>
              <a:gd name="connsiteY30" fmla="*/ 738345 h 3032924"/>
              <a:gd name="connsiteX31" fmla="*/ 102477 w 3239999"/>
              <a:gd name="connsiteY31" fmla="*/ 428517 h 3032924"/>
              <a:gd name="connsiteX32" fmla="*/ 385229 w 3239999"/>
              <a:gd name="connsiteY32" fmla="*/ 430441 h 3032924"/>
              <a:gd name="connsiteX33" fmla="*/ 386326 w 3239999"/>
              <a:gd name="connsiteY33" fmla="*/ 91100 h 3032924"/>
              <a:gd name="connsiteX34" fmla="*/ 833935 w 3239999"/>
              <a:gd name="connsiteY34" fmla="*/ 22 h 3032924"/>
              <a:gd name="connsiteX0" fmla="*/ 833935 w 3239999"/>
              <a:gd name="connsiteY0" fmla="*/ 22 h 3032924"/>
              <a:gd name="connsiteX1" fmla="*/ 1576606 w 3239999"/>
              <a:gd name="connsiteY1" fmla="*/ 402054 h 3032924"/>
              <a:gd name="connsiteX2" fmla="*/ 1576606 w 3239999"/>
              <a:gd name="connsiteY2" fmla="*/ 430441 h 3032924"/>
              <a:gd name="connsiteX3" fmla="*/ 1576606 w 3239999"/>
              <a:gd name="connsiteY3" fmla="*/ 526981 h 3032924"/>
              <a:gd name="connsiteX4" fmla="*/ 1576606 w 3239999"/>
              <a:gd name="connsiteY4" fmla="*/ 2765302 h 3032924"/>
              <a:gd name="connsiteX5" fmla="*/ 378630 w 3239999"/>
              <a:gd name="connsiteY5" fmla="*/ 2472117 h 3032924"/>
              <a:gd name="connsiteX6" fmla="*/ 384918 w 3239999"/>
              <a:gd name="connsiteY6" fmla="*/ 526981 h 3032924"/>
              <a:gd name="connsiteX7" fmla="*/ 239143 w 3239999"/>
              <a:gd name="connsiteY7" fmla="*/ 526981 h 3032924"/>
              <a:gd name="connsiteX8" fmla="*/ 239143 w 3239999"/>
              <a:gd name="connsiteY8" fmla="*/ 2776423 h 3032924"/>
              <a:gd name="connsiteX9" fmla="*/ 1576606 w 3239999"/>
              <a:gd name="connsiteY9" fmla="*/ 2776423 h 3032924"/>
              <a:gd name="connsiteX10" fmla="*/ 1576606 w 3239999"/>
              <a:gd name="connsiteY10" fmla="*/ 2778202 h 3032924"/>
              <a:gd name="connsiteX11" fmla="*/ 1663394 w 3239999"/>
              <a:gd name="connsiteY11" fmla="*/ 2778202 h 3032924"/>
              <a:gd name="connsiteX12" fmla="*/ 1663394 w 3239999"/>
              <a:gd name="connsiteY12" fmla="*/ 2776423 h 3032924"/>
              <a:gd name="connsiteX13" fmla="*/ 3000856 w 3239999"/>
              <a:gd name="connsiteY13" fmla="*/ 2776423 h 3032924"/>
              <a:gd name="connsiteX14" fmla="*/ 3000856 w 3239999"/>
              <a:gd name="connsiteY14" fmla="*/ 526981 h 3032924"/>
              <a:gd name="connsiteX15" fmla="*/ 2855082 w 3239999"/>
              <a:gd name="connsiteY15" fmla="*/ 526981 h 3032924"/>
              <a:gd name="connsiteX16" fmla="*/ 2861369 w 3239999"/>
              <a:gd name="connsiteY16" fmla="*/ 2472117 h 3032924"/>
              <a:gd name="connsiteX17" fmla="*/ 1663394 w 3239999"/>
              <a:gd name="connsiteY17" fmla="*/ 2765302 h 3032924"/>
              <a:gd name="connsiteX18" fmla="*/ 1663394 w 3239999"/>
              <a:gd name="connsiteY18" fmla="*/ 526981 h 3032924"/>
              <a:gd name="connsiteX19" fmla="*/ 1663394 w 3239999"/>
              <a:gd name="connsiteY19" fmla="*/ 430441 h 3032924"/>
              <a:gd name="connsiteX20" fmla="*/ 1663394 w 3239999"/>
              <a:gd name="connsiteY20" fmla="*/ 402054 h 3032924"/>
              <a:gd name="connsiteX21" fmla="*/ 2406065 w 3239999"/>
              <a:gd name="connsiteY21" fmla="*/ 22 h 3032924"/>
              <a:gd name="connsiteX22" fmla="*/ 2853673 w 3239999"/>
              <a:gd name="connsiteY22" fmla="*/ 91100 h 3032924"/>
              <a:gd name="connsiteX23" fmla="*/ 2854770 w 3239999"/>
              <a:gd name="connsiteY23" fmla="*/ 430441 h 3032924"/>
              <a:gd name="connsiteX24" fmla="*/ 3120669 w 3239999"/>
              <a:gd name="connsiteY24" fmla="*/ 428517 h 3032924"/>
              <a:gd name="connsiteX25" fmla="*/ 3120669 w 3239999"/>
              <a:gd name="connsiteY25" fmla="*/ 738345 h 3032924"/>
              <a:gd name="connsiteX26" fmla="*/ 3239999 w 3239999"/>
              <a:gd name="connsiteY26" fmla="*/ 738345 h 3032924"/>
              <a:gd name="connsiteX27" fmla="*/ 3239999 w 3239999"/>
              <a:gd name="connsiteY27" fmla="*/ 3032924 h 3032924"/>
              <a:gd name="connsiteX28" fmla="*/ 0 w 3239999"/>
              <a:gd name="connsiteY28" fmla="*/ 3032924 h 3032924"/>
              <a:gd name="connsiteX29" fmla="*/ 0 w 3239999"/>
              <a:gd name="connsiteY29" fmla="*/ 738345 h 3032924"/>
              <a:gd name="connsiteX30" fmla="*/ 102477 w 3239999"/>
              <a:gd name="connsiteY30" fmla="*/ 738345 h 3032924"/>
              <a:gd name="connsiteX31" fmla="*/ 102477 w 3239999"/>
              <a:gd name="connsiteY31" fmla="*/ 428517 h 3032924"/>
              <a:gd name="connsiteX32" fmla="*/ 385229 w 3239999"/>
              <a:gd name="connsiteY32" fmla="*/ 430441 h 3032924"/>
              <a:gd name="connsiteX33" fmla="*/ 386326 w 3239999"/>
              <a:gd name="connsiteY33" fmla="*/ 91100 h 3032924"/>
              <a:gd name="connsiteX34" fmla="*/ 833935 w 3239999"/>
              <a:gd name="connsiteY34" fmla="*/ 22 h 3032924"/>
              <a:gd name="connsiteX0" fmla="*/ 833935 w 3239999"/>
              <a:gd name="connsiteY0" fmla="*/ 22 h 3032924"/>
              <a:gd name="connsiteX1" fmla="*/ 1576606 w 3239999"/>
              <a:gd name="connsiteY1" fmla="*/ 402054 h 3032924"/>
              <a:gd name="connsiteX2" fmla="*/ 1576606 w 3239999"/>
              <a:gd name="connsiteY2" fmla="*/ 430441 h 3032924"/>
              <a:gd name="connsiteX3" fmla="*/ 1576606 w 3239999"/>
              <a:gd name="connsiteY3" fmla="*/ 526981 h 3032924"/>
              <a:gd name="connsiteX4" fmla="*/ 1576606 w 3239999"/>
              <a:gd name="connsiteY4" fmla="*/ 2765302 h 3032924"/>
              <a:gd name="connsiteX5" fmla="*/ 378630 w 3239999"/>
              <a:gd name="connsiteY5" fmla="*/ 2472117 h 3032924"/>
              <a:gd name="connsiteX6" fmla="*/ 384918 w 3239999"/>
              <a:gd name="connsiteY6" fmla="*/ 526981 h 3032924"/>
              <a:gd name="connsiteX7" fmla="*/ 239143 w 3239999"/>
              <a:gd name="connsiteY7" fmla="*/ 526981 h 3032924"/>
              <a:gd name="connsiteX8" fmla="*/ 239143 w 3239999"/>
              <a:gd name="connsiteY8" fmla="*/ 2776423 h 3032924"/>
              <a:gd name="connsiteX9" fmla="*/ 1576606 w 3239999"/>
              <a:gd name="connsiteY9" fmla="*/ 2776423 h 3032924"/>
              <a:gd name="connsiteX10" fmla="*/ 1576606 w 3239999"/>
              <a:gd name="connsiteY10" fmla="*/ 2778202 h 3032924"/>
              <a:gd name="connsiteX11" fmla="*/ 1663394 w 3239999"/>
              <a:gd name="connsiteY11" fmla="*/ 2778202 h 3032924"/>
              <a:gd name="connsiteX12" fmla="*/ 1663394 w 3239999"/>
              <a:gd name="connsiteY12" fmla="*/ 2776423 h 3032924"/>
              <a:gd name="connsiteX13" fmla="*/ 3000856 w 3239999"/>
              <a:gd name="connsiteY13" fmla="*/ 2776423 h 3032924"/>
              <a:gd name="connsiteX14" fmla="*/ 3000856 w 3239999"/>
              <a:gd name="connsiteY14" fmla="*/ 526981 h 3032924"/>
              <a:gd name="connsiteX15" fmla="*/ 2855082 w 3239999"/>
              <a:gd name="connsiteY15" fmla="*/ 526981 h 3032924"/>
              <a:gd name="connsiteX16" fmla="*/ 2861369 w 3239999"/>
              <a:gd name="connsiteY16" fmla="*/ 2472117 h 3032924"/>
              <a:gd name="connsiteX17" fmla="*/ 1663394 w 3239999"/>
              <a:gd name="connsiteY17" fmla="*/ 2765302 h 3032924"/>
              <a:gd name="connsiteX18" fmla="*/ 1663394 w 3239999"/>
              <a:gd name="connsiteY18" fmla="*/ 526981 h 3032924"/>
              <a:gd name="connsiteX19" fmla="*/ 1663394 w 3239999"/>
              <a:gd name="connsiteY19" fmla="*/ 430441 h 3032924"/>
              <a:gd name="connsiteX20" fmla="*/ 1663394 w 3239999"/>
              <a:gd name="connsiteY20" fmla="*/ 402054 h 3032924"/>
              <a:gd name="connsiteX21" fmla="*/ 2406065 w 3239999"/>
              <a:gd name="connsiteY21" fmla="*/ 22 h 3032924"/>
              <a:gd name="connsiteX22" fmla="*/ 2853673 w 3239999"/>
              <a:gd name="connsiteY22" fmla="*/ 91100 h 3032924"/>
              <a:gd name="connsiteX23" fmla="*/ 2854770 w 3239999"/>
              <a:gd name="connsiteY23" fmla="*/ 430441 h 3032924"/>
              <a:gd name="connsiteX24" fmla="*/ 3120669 w 3239999"/>
              <a:gd name="connsiteY24" fmla="*/ 428517 h 3032924"/>
              <a:gd name="connsiteX25" fmla="*/ 3120669 w 3239999"/>
              <a:gd name="connsiteY25" fmla="*/ 738345 h 3032924"/>
              <a:gd name="connsiteX26" fmla="*/ 3239999 w 3239999"/>
              <a:gd name="connsiteY26" fmla="*/ 738345 h 3032924"/>
              <a:gd name="connsiteX27" fmla="*/ 3239999 w 3239999"/>
              <a:gd name="connsiteY27" fmla="*/ 3032924 h 3032924"/>
              <a:gd name="connsiteX28" fmla="*/ 0 w 3239999"/>
              <a:gd name="connsiteY28" fmla="*/ 3032924 h 3032924"/>
              <a:gd name="connsiteX29" fmla="*/ 0 w 3239999"/>
              <a:gd name="connsiteY29" fmla="*/ 738345 h 3032924"/>
              <a:gd name="connsiteX30" fmla="*/ 102477 w 3239999"/>
              <a:gd name="connsiteY30" fmla="*/ 738345 h 3032924"/>
              <a:gd name="connsiteX31" fmla="*/ 102477 w 3239999"/>
              <a:gd name="connsiteY31" fmla="*/ 428517 h 3032924"/>
              <a:gd name="connsiteX32" fmla="*/ 385229 w 3239999"/>
              <a:gd name="connsiteY32" fmla="*/ 430441 h 3032924"/>
              <a:gd name="connsiteX33" fmla="*/ 386326 w 3239999"/>
              <a:gd name="connsiteY33" fmla="*/ 91100 h 3032924"/>
              <a:gd name="connsiteX34" fmla="*/ 833935 w 3239999"/>
              <a:gd name="connsiteY34" fmla="*/ 2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29618 w 3239999"/>
              <a:gd name="connsiteY32" fmla="*/ 2690698 h 3032924"/>
              <a:gd name="connsiteX33" fmla="*/ 1576606 w 3239999"/>
              <a:gd name="connsiteY33" fmla="*/ 2776423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2991331 w 3239999"/>
              <a:gd name="connsiteY3" fmla="*/ 2709748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29618 w 3239999"/>
              <a:gd name="connsiteY32" fmla="*/ 2690698 h 3032924"/>
              <a:gd name="connsiteX33" fmla="*/ 1576606 w 3239999"/>
              <a:gd name="connsiteY33" fmla="*/ 2776423 h 3032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3239999" h="3032924">
                <a:moveTo>
                  <a:pt x="1576606" y="2778202"/>
                </a:moveTo>
                <a:cubicBezTo>
                  <a:pt x="1576606" y="2778795"/>
                  <a:pt x="1663394" y="2792670"/>
                  <a:pt x="1663394" y="2778202"/>
                </a:cubicBezTo>
                <a:lnTo>
                  <a:pt x="1663394" y="2776423"/>
                </a:lnTo>
                <a:cubicBezTo>
                  <a:pt x="2185083" y="2605634"/>
                  <a:pt x="2444552" y="2500589"/>
                  <a:pt x="2991331" y="2709748"/>
                </a:cubicBezTo>
                <a:lnTo>
                  <a:pt x="3000856" y="526981"/>
                </a:lnTo>
                <a:lnTo>
                  <a:pt x="2855082" y="526981"/>
                </a:lnTo>
                <a:cubicBezTo>
                  <a:pt x="2857178" y="1175360"/>
                  <a:pt x="2859273" y="1823738"/>
                  <a:pt x="2861369" y="2472117"/>
                </a:cubicBezTo>
                <a:cubicBezTo>
                  <a:pt x="2483869" y="2318121"/>
                  <a:pt x="2052449" y="2439541"/>
                  <a:pt x="1663394" y="2765302"/>
                </a:cubicBezTo>
                <a:lnTo>
                  <a:pt x="1663394" y="526981"/>
                </a:lnTo>
                <a:lnTo>
                  <a:pt x="1663394" y="430441"/>
                </a:lnTo>
                <a:lnTo>
                  <a:pt x="1663394" y="402054"/>
                </a:lnTo>
                <a:cubicBezTo>
                  <a:pt x="1896442" y="149589"/>
                  <a:pt x="2115835" y="2106"/>
                  <a:pt x="2406065" y="22"/>
                </a:cubicBezTo>
                <a:cubicBezTo>
                  <a:pt x="2537987" y="-925"/>
                  <a:pt x="2684544" y="28169"/>
                  <a:pt x="2853673" y="91100"/>
                </a:cubicBezTo>
                <a:cubicBezTo>
                  <a:pt x="2854039" y="204214"/>
                  <a:pt x="2854404" y="317327"/>
                  <a:pt x="2854770" y="430441"/>
                </a:cubicBezTo>
                <a:lnTo>
                  <a:pt x="3120669" y="428517"/>
                </a:lnTo>
                <a:lnTo>
                  <a:pt x="3120669" y="738345"/>
                </a:lnTo>
                <a:lnTo>
                  <a:pt x="3239999" y="738345"/>
                </a:lnTo>
                <a:lnTo>
                  <a:pt x="3239999" y="3032924"/>
                </a:lnTo>
                <a:lnTo>
                  <a:pt x="0" y="3032924"/>
                </a:lnTo>
                <a:lnTo>
                  <a:pt x="0" y="738345"/>
                </a:lnTo>
                <a:lnTo>
                  <a:pt x="102477" y="738345"/>
                </a:lnTo>
                <a:lnTo>
                  <a:pt x="102477" y="428517"/>
                </a:lnTo>
                <a:lnTo>
                  <a:pt x="385229" y="430441"/>
                </a:lnTo>
                <a:cubicBezTo>
                  <a:pt x="385595" y="317327"/>
                  <a:pt x="385960" y="204214"/>
                  <a:pt x="386326" y="91100"/>
                </a:cubicBezTo>
                <a:cubicBezTo>
                  <a:pt x="555455" y="28169"/>
                  <a:pt x="702013" y="-925"/>
                  <a:pt x="833935" y="22"/>
                </a:cubicBezTo>
                <a:cubicBezTo>
                  <a:pt x="1124164" y="2106"/>
                  <a:pt x="1343558" y="149589"/>
                  <a:pt x="1576606" y="402054"/>
                </a:cubicBezTo>
                <a:lnTo>
                  <a:pt x="1576606" y="430441"/>
                </a:lnTo>
                <a:lnTo>
                  <a:pt x="1576606" y="526981"/>
                </a:lnTo>
                <a:lnTo>
                  <a:pt x="1576606" y="2765302"/>
                </a:lnTo>
                <a:cubicBezTo>
                  <a:pt x="1187550" y="2439541"/>
                  <a:pt x="756130" y="2318121"/>
                  <a:pt x="378630" y="2472117"/>
                </a:cubicBezTo>
                <a:lnTo>
                  <a:pt x="384918" y="526981"/>
                </a:lnTo>
                <a:lnTo>
                  <a:pt x="239143" y="526981"/>
                </a:lnTo>
                <a:lnTo>
                  <a:pt x="229618" y="2690698"/>
                </a:lnTo>
                <a:cubicBezTo>
                  <a:pt x="773243" y="2466244"/>
                  <a:pt x="1081748" y="2626096"/>
                  <a:pt x="1576606" y="2776423"/>
                </a:cubicBezTo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90" name="Round Same Side Corner Rectangle 6">
            <a:extLst>
              <a:ext uri="{FF2B5EF4-FFF2-40B4-BE49-F238E27FC236}">
                <a16:creationId xmlns:a16="http://schemas.microsoft.com/office/drawing/2014/main" id="{11207448-F26A-4EF1-8764-2D6798600849}"/>
              </a:ext>
            </a:extLst>
          </p:cNvPr>
          <p:cNvSpPr/>
          <p:nvPr/>
        </p:nvSpPr>
        <p:spPr>
          <a:xfrm rot="2700000">
            <a:off x="6979028" y="5476482"/>
            <a:ext cx="190721" cy="764622"/>
          </a:xfrm>
          <a:custGeom>
            <a:avLst/>
            <a:gdLst/>
            <a:ahLst/>
            <a:cxnLst/>
            <a:rect l="l" t="t" r="r" b="b"/>
            <a:pathLst>
              <a:path w="1035916" h="4153123">
                <a:moveTo>
                  <a:pt x="277501" y="3759099"/>
                </a:moveTo>
                <a:lnTo>
                  <a:pt x="758408" y="3759099"/>
                </a:lnTo>
                <a:lnTo>
                  <a:pt x="517954" y="4153123"/>
                </a:lnTo>
                <a:close/>
                <a:moveTo>
                  <a:pt x="42612" y="2944898"/>
                </a:moveTo>
                <a:cubicBezTo>
                  <a:pt x="153922" y="2941505"/>
                  <a:pt x="246502" y="2889483"/>
                  <a:pt x="275675" y="2819018"/>
                </a:cubicBezTo>
                <a:cubicBezTo>
                  <a:pt x="304648" y="2892614"/>
                  <a:pt x="403763" y="2945872"/>
                  <a:pt x="521107" y="2945872"/>
                </a:cubicBezTo>
                <a:cubicBezTo>
                  <a:pt x="638453" y="2945872"/>
                  <a:pt x="737567" y="2892613"/>
                  <a:pt x="766540" y="2819017"/>
                </a:cubicBezTo>
                <a:cubicBezTo>
                  <a:pt x="795133" y="2888142"/>
                  <a:pt x="884783" y="2939514"/>
                  <a:pt x="993299" y="2944464"/>
                </a:cubicBezTo>
                <a:lnTo>
                  <a:pt x="776840" y="3657264"/>
                </a:lnTo>
                <a:lnTo>
                  <a:pt x="258940" y="3657264"/>
                </a:lnTo>
                <a:close/>
                <a:moveTo>
                  <a:pt x="809102" y="564558"/>
                </a:moveTo>
                <a:lnTo>
                  <a:pt x="1035914" y="564558"/>
                </a:lnTo>
                <a:lnTo>
                  <a:pt x="1035915" y="2838682"/>
                </a:lnTo>
                <a:cubicBezTo>
                  <a:pt x="1029586" y="2840409"/>
                  <a:pt x="1023074" y="2840731"/>
                  <a:pt x="1016490" y="2840731"/>
                </a:cubicBezTo>
                <a:cubicBezTo>
                  <a:pt x="901952" y="2840731"/>
                  <a:pt x="809102" y="2743612"/>
                  <a:pt x="809101" y="2623810"/>
                </a:cubicBezTo>
                <a:close/>
                <a:moveTo>
                  <a:pt x="310569" y="564558"/>
                </a:moveTo>
                <a:lnTo>
                  <a:pt x="725347" y="564558"/>
                </a:lnTo>
                <a:lnTo>
                  <a:pt x="725347" y="2633342"/>
                </a:lnTo>
                <a:cubicBezTo>
                  <a:pt x="725347" y="2747880"/>
                  <a:pt x="632496" y="2840731"/>
                  <a:pt x="517958" y="2840731"/>
                </a:cubicBezTo>
                <a:cubicBezTo>
                  <a:pt x="403420" y="2840731"/>
                  <a:pt x="310569" y="2747880"/>
                  <a:pt x="310569" y="2633342"/>
                </a:cubicBezTo>
                <a:close/>
                <a:moveTo>
                  <a:pt x="0" y="564557"/>
                </a:moveTo>
                <a:lnTo>
                  <a:pt x="226813" y="564557"/>
                </a:lnTo>
                <a:lnTo>
                  <a:pt x="226813" y="2623810"/>
                </a:lnTo>
                <a:cubicBezTo>
                  <a:pt x="226813" y="2743612"/>
                  <a:pt x="133962" y="2840731"/>
                  <a:pt x="19424" y="2840730"/>
                </a:cubicBezTo>
                <a:cubicBezTo>
                  <a:pt x="12841" y="2840730"/>
                  <a:pt x="6329" y="2840409"/>
                  <a:pt x="0" y="2838682"/>
                </a:cubicBezTo>
                <a:close/>
                <a:moveTo>
                  <a:pt x="71964" y="71964"/>
                </a:moveTo>
                <a:cubicBezTo>
                  <a:pt x="116427" y="27501"/>
                  <a:pt x="177852" y="0"/>
                  <a:pt x="245701" y="0"/>
                </a:cubicBezTo>
                <a:lnTo>
                  <a:pt x="790215" y="0"/>
                </a:lnTo>
                <a:cubicBezTo>
                  <a:pt x="925912" y="0"/>
                  <a:pt x="1035916" y="110004"/>
                  <a:pt x="1035916" y="245701"/>
                </a:cubicBezTo>
                <a:cubicBezTo>
                  <a:pt x="1035916" y="327601"/>
                  <a:pt x="1035915" y="409501"/>
                  <a:pt x="1035915" y="491401"/>
                </a:cubicBezTo>
                <a:lnTo>
                  <a:pt x="0" y="491401"/>
                </a:lnTo>
                <a:lnTo>
                  <a:pt x="0" y="245701"/>
                </a:lnTo>
                <a:cubicBezTo>
                  <a:pt x="0" y="177853"/>
                  <a:pt x="27501" y="116427"/>
                  <a:pt x="71964" y="71964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91" name="Frame 17">
            <a:extLst>
              <a:ext uri="{FF2B5EF4-FFF2-40B4-BE49-F238E27FC236}">
                <a16:creationId xmlns:a16="http://schemas.microsoft.com/office/drawing/2014/main" id="{1278BF84-DDF3-43F8-88E4-A0F28E4079EF}"/>
              </a:ext>
            </a:extLst>
          </p:cNvPr>
          <p:cNvSpPr/>
          <p:nvPr/>
        </p:nvSpPr>
        <p:spPr>
          <a:xfrm>
            <a:off x="4376235" y="4613417"/>
            <a:ext cx="508153" cy="508153"/>
          </a:xfrm>
          <a:custGeom>
            <a:avLst/>
            <a:gdLst/>
            <a:ahLst/>
            <a:cxnLst/>
            <a:rect l="l" t="t" r="r" b="b"/>
            <a:pathLst>
              <a:path w="3240000" h="3240000">
                <a:moveTo>
                  <a:pt x="415456" y="380544"/>
                </a:moveTo>
                <a:lnTo>
                  <a:pt x="415456" y="385333"/>
                </a:lnTo>
                <a:lnTo>
                  <a:pt x="385333" y="385333"/>
                </a:lnTo>
                <a:lnTo>
                  <a:pt x="385333" y="2854667"/>
                </a:lnTo>
                <a:lnTo>
                  <a:pt x="1529120" y="2854667"/>
                </a:lnTo>
                <a:cubicBezTo>
                  <a:pt x="1267123" y="2430711"/>
                  <a:pt x="997530" y="1721825"/>
                  <a:pt x="436017" y="1672600"/>
                </a:cubicBezTo>
                <a:lnTo>
                  <a:pt x="600235" y="1185112"/>
                </a:lnTo>
                <a:cubicBezTo>
                  <a:pt x="1132790" y="1359573"/>
                  <a:pt x="1278822" y="1550851"/>
                  <a:pt x="1544730" y="1923929"/>
                </a:cubicBezTo>
                <a:cubicBezTo>
                  <a:pt x="1789452" y="1379400"/>
                  <a:pt x="1927092" y="1088696"/>
                  <a:pt x="2233403" y="596568"/>
                </a:cubicBezTo>
                <a:lnTo>
                  <a:pt x="2770666" y="596568"/>
                </a:lnTo>
                <a:cubicBezTo>
                  <a:pt x="2331495" y="1220469"/>
                  <a:pt x="1907612" y="2113878"/>
                  <a:pt x="1578489" y="2854667"/>
                </a:cubicBezTo>
                <a:lnTo>
                  <a:pt x="2854667" y="2854667"/>
                </a:lnTo>
                <a:lnTo>
                  <a:pt x="2854667" y="596568"/>
                </a:lnTo>
                <a:lnTo>
                  <a:pt x="2858395" y="596568"/>
                </a:lnTo>
                <a:lnTo>
                  <a:pt x="2858395" y="380544"/>
                </a:lnTo>
                <a:close/>
                <a:moveTo>
                  <a:pt x="0" y="0"/>
                </a:moveTo>
                <a:lnTo>
                  <a:pt x="3240000" y="0"/>
                </a:lnTo>
                <a:lnTo>
                  <a:pt x="3240000" y="3240000"/>
                </a:lnTo>
                <a:lnTo>
                  <a:pt x="0" y="32400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92" name="Rounded Rectangle 5">
            <a:extLst>
              <a:ext uri="{FF2B5EF4-FFF2-40B4-BE49-F238E27FC236}">
                <a16:creationId xmlns:a16="http://schemas.microsoft.com/office/drawing/2014/main" id="{B5A177C8-7AB0-4E40-873A-70F231B3FA06}"/>
              </a:ext>
            </a:extLst>
          </p:cNvPr>
          <p:cNvSpPr/>
          <p:nvPr/>
        </p:nvSpPr>
        <p:spPr>
          <a:xfrm flipH="1">
            <a:off x="10102420" y="2554106"/>
            <a:ext cx="504633" cy="416291"/>
          </a:xfrm>
          <a:custGeom>
            <a:avLst/>
            <a:gdLst>
              <a:gd name="connsiteX0" fmla="*/ 1384251 w 3217557"/>
              <a:gd name="connsiteY0" fmla="*/ 661544 h 2702049"/>
              <a:gd name="connsiteX1" fmla="*/ 1574067 w 3217557"/>
              <a:gd name="connsiteY1" fmla="*/ 851360 h 2702049"/>
              <a:gd name="connsiteX2" fmla="*/ 1384251 w 3217557"/>
              <a:gd name="connsiteY2" fmla="*/ 1041176 h 2702049"/>
              <a:gd name="connsiteX3" fmla="*/ 1194435 w 3217557"/>
              <a:gd name="connsiteY3" fmla="*/ 851360 h 2702049"/>
              <a:gd name="connsiteX4" fmla="*/ 1384251 w 3217557"/>
              <a:gd name="connsiteY4" fmla="*/ 661544 h 2702049"/>
              <a:gd name="connsiteX5" fmla="*/ 1993421 w 3217557"/>
              <a:gd name="connsiteY5" fmla="*/ 661544 h 2702049"/>
              <a:gd name="connsiteX6" fmla="*/ 2183237 w 3217557"/>
              <a:gd name="connsiteY6" fmla="*/ 851360 h 2702049"/>
              <a:gd name="connsiteX7" fmla="*/ 1993421 w 3217557"/>
              <a:gd name="connsiteY7" fmla="*/ 1041176 h 2702049"/>
              <a:gd name="connsiteX8" fmla="*/ 1803605 w 3217557"/>
              <a:gd name="connsiteY8" fmla="*/ 851360 h 2702049"/>
              <a:gd name="connsiteX9" fmla="*/ 1993421 w 3217557"/>
              <a:gd name="connsiteY9" fmla="*/ 661544 h 2702049"/>
              <a:gd name="connsiteX10" fmla="*/ 2602591 w 3217557"/>
              <a:gd name="connsiteY10" fmla="*/ 661544 h 2702049"/>
              <a:gd name="connsiteX11" fmla="*/ 2792407 w 3217557"/>
              <a:gd name="connsiteY11" fmla="*/ 851360 h 2702049"/>
              <a:gd name="connsiteX12" fmla="*/ 2602591 w 3217557"/>
              <a:gd name="connsiteY12" fmla="*/ 1041176 h 2702049"/>
              <a:gd name="connsiteX13" fmla="*/ 2412775 w 3217557"/>
              <a:gd name="connsiteY13" fmla="*/ 851360 h 2702049"/>
              <a:gd name="connsiteX14" fmla="*/ 2602591 w 3217557"/>
              <a:gd name="connsiteY14" fmla="*/ 661544 h 2702049"/>
              <a:gd name="connsiteX15" fmla="*/ 677114 w 3217557"/>
              <a:gd name="connsiteY15" fmla="*/ 569491 h 2702049"/>
              <a:gd name="connsiteX16" fmla="*/ 330916 w 3217557"/>
              <a:gd name="connsiteY16" fmla="*/ 569491 h 2702049"/>
              <a:gd name="connsiteX17" fmla="*/ 0 w 3217557"/>
              <a:gd name="connsiteY17" fmla="*/ 900407 h 2702049"/>
              <a:gd name="connsiteX18" fmla="*/ 0 w 3217557"/>
              <a:gd name="connsiteY18" fmla="*/ 1952009 h 2702049"/>
              <a:gd name="connsiteX19" fmla="*/ 330916 w 3217557"/>
              <a:gd name="connsiteY19" fmla="*/ 2282925 h 2702049"/>
              <a:gd name="connsiteX20" fmla="*/ 711670 w 3217557"/>
              <a:gd name="connsiteY20" fmla="*/ 2282925 h 2702049"/>
              <a:gd name="connsiteX21" fmla="*/ 15770 w 3217557"/>
              <a:gd name="connsiteY21" fmla="*/ 2702049 h 2702049"/>
              <a:gd name="connsiteX22" fmla="*/ 1294529 w 3217557"/>
              <a:gd name="connsiteY22" fmla="*/ 2282925 h 2702049"/>
              <a:gd name="connsiteX23" fmla="*/ 2117356 w 3217557"/>
              <a:gd name="connsiteY23" fmla="*/ 2282925 h 2702049"/>
              <a:gd name="connsiteX24" fmla="*/ 2418395 w 3217557"/>
              <a:gd name="connsiteY24" fmla="*/ 2087951 h 2702049"/>
              <a:gd name="connsiteX25" fmla="*/ 1830857 w 3217557"/>
              <a:gd name="connsiteY25" fmla="*/ 1799347 h 2702049"/>
              <a:gd name="connsiteX26" fmla="*/ 1008030 w 3217557"/>
              <a:gd name="connsiteY26" fmla="*/ 1799347 h 2702049"/>
              <a:gd name="connsiteX27" fmla="*/ 677114 w 3217557"/>
              <a:gd name="connsiteY27" fmla="*/ 1468431 h 2702049"/>
              <a:gd name="connsiteX28" fmla="*/ 677114 w 3217557"/>
              <a:gd name="connsiteY28" fmla="*/ 569491 h 2702049"/>
              <a:gd name="connsiteX29" fmla="*/ 2886641 w 3217557"/>
              <a:gd name="connsiteY29" fmla="*/ 0 h 2702049"/>
              <a:gd name="connsiteX30" fmla="*/ 1100201 w 3217557"/>
              <a:gd name="connsiteY30" fmla="*/ 0 h 2702049"/>
              <a:gd name="connsiteX31" fmla="*/ 769285 w 3217557"/>
              <a:gd name="connsiteY31" fmla="*/ 330916 h 2702049"/>
              <a:gd name="connsiteX32" fmla="*/ 769285 w 3217557"/>
              <a:gd name="connsiteY32" fmla="*/ 1382518 h 2702049"/>
              <a:gd name="connsiteX33" fmla="*/ 1100201 w 3217557"/>
              <a:gd name="connsiteY33" fmla="*/ 1713434 h 2702049"/>
              <a:gd name="connsiteX34" fmla="*/ 1923028 w 3217557"/>
              <a:gd name="connsiteY34" fmla="*/ 1713434 h 2702049"/>
              <a:gd name="connsiteX35" fmla="*/ 3078958 w 3217557"/>
              <a:gd name="connsiteY35" fmla="*/ 2077967 h 2702049"/>
              <a:gd name="connsiteX36" fmla="*/ 2505887 w 3217557"/>
              <a:gd name="connsiteY36" fmla="*/ 1713434 h 2702049"/>
              <a:gd name="connsiteX37" fmla="*/ 2886641 w 3217557"/>
              <a:gd name="connsiteY37" fmla="*/ 1713434 h 2702049"/>
              <a:gd name="connsiteX38" fmla="*/ 3217557 w 3217557"/>
              <a:gd name="connsiteY38" fmla="*/ 1382518 h 2702049"/>
              <a:gd name="connsiteX39" fmla="*/ 3217557 w 3217557"/>
              <a:gd name="connsiteY39" fmla="*/ 330916 h 2702049"/>
              <a:gd name="connsiteX40" fmla="*/ 2886641 w 3217557"/>
              <a:gd name="connsiteY40" fmla="*/ 0 h 2702049"/>
              <a:gd name="connsiteX0" fmla="*/ 1384251 w 3217557"/>
              <a:gd name="connsiteY0" fmla="*/ 661544 h 2702049"/>
              <a:gd name="connsiteX1" fmla="*/ 1574067 w 3217557"/>
              <a:gd name="connsiteY1" fmla="*/ 851360 h 2702049"/>
              <a:gd name="connsiteX2" fmla="*/ 1384251 w 3217557"/>
              <a:gd name="connsiteY2" fmla="*/ 1041176 h 2702049"/>
              <a:gd name="connsiteX3" fmla="*/ 1194435 w 3217557"/>
              <a:gd name="connsiteY3" fmla="*/ 851360 h 2702049"/>
              <a:gd name="connsiteX4" fmla="*/ 1384251 w 3217557"/>
              <a:gd name="connsiteY4" fmla="*/ 661544 h 2702049"/>
              <a:gd name="connsiteX5" fmla="*/ 1993421 w 3217557"/>
              <a:gd name="connsiteY5" fmla="*/ 661544 h 2702049"/>
              <a:gd name="connsiteX6" fmla="*/ 2183237 w 3217557"/>
              <a:gd name="connsiteY6" fmla="*/ 851360 h 2702049"/>
              <a:gd name="connsiteX7" fmla="*/ 1993421 w 3217557"/>
              <a:gd name="connsiteY7" fmla="*/ 1041176 h 2702049"/>
              <a:gd name="connsiteX8" fmla="*/ 1803605 w 3217557"/>
              <a:gd name="connsiteY8" fmla="*/ 851360 h 2702049"/>
              <a:gd name="connsiteX9" fmla="*/ 1993421 w 3217557"/>
              <a:gd name="connsiteY9" fmla="*/ 661544 h 2702049"/>
              <a:gd name="connsiteX10" fmla="*/ 2602591 w 3217557"/>
              <a:gd name="connsiteY10" fmla="*/ 661544 h 2702049"/>
              <a:gd name="connsiteX11" fmla="*/ 2792407 w 3217557"/>
              <a:gd name="connsiteY11" fmla="*/ 851360 h 2702049"/>
              <a:gd name="connsiteX12" fmla="*/ 2602591 w 3217557"/>
              <a:gd name="connsiteY12" fmla="*/ 1041176 h 2702049"/>
              <a:gd name="connsiteX13" fmla="*/ 2412775 w 3217557"/>
              <a:gd name="connsiteY13" fmla="*/ 851360 h 2702049"/>
              <a:gd name="connsiteX14" fmla="*/ 2602591 w 3217557"/>
              <a:gd name="connsiteY14" fmla="*/ 661544 h 2702049"/>
              <a:gd name="connsiteX15" fmla="*/ 677114 w 3217557"/>
              <a:gd name="connsiteY15" fmla="*/ 569491 h 2702049"/>
              <a:gd name="connsiteX16" fmla="*/ 330916 w 3217557"/>
              <a:gd name="connsiteY16" fmla="*/ 569491 h 2702049"/>
              <a:gd name="connsiteX17" fmla="*/ 0 w 3217557"/>
              <a:gd name="connsiteY17" fmla="*/ 900407 h 2702049"/>
              <a:gd name="connsiteX18" fmla="*/ 0 w 3217557"/>
              <a:gd name="connsiteY18" fmla="*/ 1952009 h 2702049"/>
              <a:gd name="connsiteX19" fmla="*/ 330916 w 3217557"/>
              <a:gd name="connsiteY19" fmla="*/ 2282925 h 2702049"/>
              <a:gd name="connsiteX20" fmla="*/ 711670 w 3217557"/>
              <a:gd name="connsiteY20" fmla="*/ 2282925 h 2702049"/>
              <a:gd name="connsiteX21" fmla="*/ 15770 w 3217557"/>
              <a:gd name="connsiteY21" fmla="*/ 2702049 h 2702049"/>
              <a:gd name="connsiteX22" fmla="*/ 1294529 w 3217557"/>
              <a:gd name="connsiteY22" fmla="*/ 2282925 h 2702049"/>
              <a:gd name="connsiteX23" fmla="*/ 2117356 w 3217557"/>
              <a:gd name="connsiteY23" fmla="*/ 2282925 h 2702049"/>
              <a:gd name="connsiteX24" fmla="*/ 2418395 w 3217557"/>
              <a:gd name="connsiteY24" fmla="*/ 2087951 h 2702049"/>
              <a:gd name="connsiteX25" fmla="*/ 1830857 w 3217557"/>
              <a:gd name="connsiteY25" fmla="*/ 1799347 h 2702049"/>
              <a:gd name="connsiteX26" fmla="*/ 1008030 w 3217557"/>
              <a:gd name="connsiteY26" fmla="*/ 1799347 h 2702049"/>
              <a:gd name="connsiteX27" fmla="*/ 677114 w 3217557"/>
              <a:gd name="connsiteY27" fmla="*/ 1468431 h 2702049"/>
              <a:gd name="connsiteX28" fmla="*/ 677114 w 3217557"/>
              <a:gd name="connsiteY28" fmla="*/ 569491 h 2702049"/>
              <a:gd name="connsiteX29" fmla="*/ 2886641 w 3217557"/>
              <a:gd name="connsiteY29" fmla="*/ 0 h 2702049"/>
              <a:gd name="connsiteX30" fmla="*/ 1100201 w 3217557"/>
              <a:gd name="connsiteY30" fmla="*/ 0 h 2702049"/>
              <a:gd name="connsiteX31" fmla="*/ 769285 w 3217557"/>
              <a:gd name="connsiteY31" fmla="*/ 330916 h 2702049"/>
              <a:gd name="connsiteX32" fmla="*/ 769285 w 3217557"/>
              <a:gd name="connsiteY32" fmla="*/ 1382518 h 2702049"/>
              <a:gd name="connsiteX33" fmla="*/ 1100201 w 3217557"/>
              <a:gd name="connsiteY33" fmla="*/ 1713434 h 2702049"/>
              <a:gd name="connsiteX34" fmla="*/ 1923028 w 3217557"/>
              <a:gd name="connsiteY34" fmla="*/ 1713434 h 2702049"/>
              <a:gd name="connsiteX35" fmla="*/ 3078958 w 3217557"/>
              <a:gd name="connsiteY35" fmla="*/ 2077967 h 2702049"/>
              <a:gd name="connsiteX36" fmla="*/ 2505887 w 3217557"/>
              <a:gd name="connsiteY36" fmla="*/ 1713434 h 2702049"/>
              <a:gd name="connsiteX37" fmla="*/ 2886641 w 3217557"/>
              <a:gd name="connsiteY37" fmla="*/ 1713434 h 2702049"/>
              <a:gd name="connsiteX38" fmla="*/ 3217557 w 3217557"/>
              <a:gd name="connsiteY38" fmla="*/ 1382518 h 2702049"/>
              <a:gd name="connsiteX39" fmla="*/ 3217557 w 3217557"/>
              <a:gd name="connsiteY39" fmla="*/ 330916 h 2702049"/>
              <a:gd name="connsiteX40" fmla="*/ 2886641 w 3217557"/>
              <a:gd name="connsiteY40" fmla="*/ 0 h 2702049"/>
              <a:gd name="connsiteX0" fmla="*/ 1384251 w 3217557"/>
              <a:gd name="connsiteY0" fmla="*/ 661544 h 2633810"/>
              <a:gd name="connsiteX1" fmla="*/ 1574067 w 3217557"/>
              <a:gd name="connsiteY1" fmla="*/ 851360 h 2633810"/>
              <a:gd name="connsiteX2" fmla="*/ 1384251 w 3217557"/>
              <a:gd name="connsiteY2" fmla="*/ 1041176 h 2633810"/>
              <a:gd name="connsiteX3" fmla="*/ 1194435 w 3217557"/>
              <a:gd name="connsiteY3" fmla="*/ 851360 h 2633810"/>
              <a:gd name="connsiteX4" fmla="*/ 1384251 w 3217557"/>
              <a:gd name="connsiteY4" fmla="*/ 661544 h 2633810"/>
              <a:gd name="connsiteX5" fmla="*/ 1993421 w 3217557"/>
              <a:gd name="connsiteY5" fmla="*/ 661544 h 2633810"/>
              <a:gd name="connsiteX6" fmla="*/ 2183237 w 3217557"/>
              <a:gd name="connsiteY6" fmla="*/ 851360 h 2633810"/>
              <a:gd name="connsiteX7" fmla="*/ 1993421 w 3217557"/>
              <a:gd name="connsiteY7" fmla="*/ 1041176 h 2633810"/>
              <a:gd name="connsiteX8" fmla="*/ 1803605 w 3217557"/>
              <a:gd name="connsiteY8" fmla="*/ 851360 h 2633810"/>
              <a:gd name="connsiteX9" fmla="*/ 1993421 w 3217557"/>
              <a:gd name="connsiteY9" fmla="*/ 661544 h 2633810"/>
              <a:gd name="connsiteX10" fmla="*/ 2602591 w 3217557"/>
              <a:gd name="connsiteY10" fmla="*/ 661544 h 2633810"/>
              <a:gd name="connsiteX11" fmla="*/ 2792407 w 3217557"/>
              <a:gd name="connsiteY11" fmla="*/ 851360 h 2633810"/>
              <a:gd name="connsiteX12" fmla="*/ 2602591 w 3217557"/>
              <a:gd name="connsiteY12" fmla="*/ 1041176 h 2633810"/>
              <a:gd name="connsiteX13" fmla="*/ 2412775 w 3217557"/>
              <a:gd name="connsiteY13" fmla="*/ 851360 h 2633810"/>
              <a:gd name="connsiteX14" fmla="*/ 2602591 w 3217557"/>
              <a:gd name="connsiteY14" fmla="*/ 661544 h 2633810"/>
              <a:gd name="connsiteX15" fmla="*/ 677114 w 3217557"/>
              <a:gd name="connsiteY15" fmla="*/ 569491 h 2633810"/>
              <a:gd name="connsiteX16" fmla="*/ 330916 w 3217557"/>
              <a:gd name="connsiteY16" fmla="*/ 569491 h 2633810"/>
              <a:gd name="connsiteX17" fmla="*/ 0 w 3217557"/>
              <a:gd name="connsiteY17" fmla="*/ 900407 h 2633810"/>
              <a:gd name="connsiteX18" fmla="*/ 0 w 3217557"/>
              <a:gd name="connsiteY18" fmla="*/ 1952009 h 2633810"/>
              <a:gd name="connsiteX19" fmla="*/ 330916 w 3217557"/>
              <a:gd name="connsiteY19" fmla="*/ 2282925 h 2633810"/>
              <a:gd name="connsiteX20" fmla="*/ 711670 w 3217557"/>
              <a:gd name="connsiteY20" fmla="*/ 2282925 h 2633810"/>
              <a:gd name="connsiteX21" fmla="*/ 165895 w 3217557"/>
              <a:gd name="connsiteY21" fmla="*/ 2633810 h 2633810"/>
              <a:gd name="connsiteX22" fmla="*/ 1294529 w 3217557"/>
              <a:gd name="connsiteY22" fmla="*/ 2282925 h 2633810"/>
              <a:gd name="connsiteX23" fmla="*/ 2117356 w 3217557"/>
              <a:gd name="connsiteY23" fmla="*/ 2282925 h 2633810"/>
              <a:gd name="connsiteX24" fmla="*/ 2418395 w 3217557"/>
              <a:gd name="connsiteY24" fmla="*/ 2087951 h 2633810"/>
              <a:gd name="connsiteX25" fmla="*/ 1830857 w 3217557"/>
              <a:gd name="connsiteY25" fmla="*/ 1799347 h 2633810"/>
              <a:gd name="connsiteX26" fmla="*/ 1008030 w 3217557"/>
              <a:gd name="connsiteY26" fmla="*/ 1799347 h 2633810"/>
              <a:gd name="connsiteX27" fmla="*/ 677114 w 3217557"/>
              <a:gd name="connsiteY27" fmla="*/ 1468431 h 2633810"/>
              <a:gd name="connsiteX28" fmla="*/ 677114 w 3217557"/>
              <a:gd name="connsiteY28" fmla="*/ 569491 h 2633810"/>
              <a:gd name="connsiteX29" fmla="*/ 2886641 w 3217557"/>
              <a:gd name="connsiteY29" fmla="*/ 0 h 2633810"/>
              <a:gd name="connsiteX30" fmla="*/ 1100201 w 3217557"/>
              <a:gd name="connsiteY30" fmla="*/ 0 h 2633810"/>
              <a:gd name="connsiteX31" fmla="*/ 769285 w 3217557"/>
              <a:gd name="connsiteY31" fmla="*/ 330916 h 2633810"/>
              <a:gd name="connsiteX32" fmla="*/ 769285 w 3217557"/>
              <a:gd name="connsiteY32" fmla="*/ 1382518 h 2633810"/>
              <a:gd name="connsiteX33" fmla="*/ 1100201 w 3217557"/>
              <a:gd name="connsiteY33" fmla="*/ 1713434 h 2633810"/>
              <a:gd name="connsiteX34" fmla="*/ 1923028 w 3217557"/>
              <a:gd name="connsiteY34" fmla="*/ 1713434 h 2633810"/>
              <a:gd name="connsiteX35" fmla="*/ 3078958 w 3217557"/>
              <a:gd name="connsiteY35" fmla="*/ 2077967 h 2633810"/>
              <a:gd name="connsiteX36" fmla="*/ 2505887 w 3217557"/>
              <a:gd name="connsiteY36" fmla="*/ 1713434 h 2633810"/>
              <a:gd name="connsiteX37" fmla="*/ 2886641 w 3217557"/>
              <a:gd name="connsiteY37" fmla="*/ 1713434 h 2633810"/>
              <a:gd name="connsiteX38" fmla="*/ 3217557 w 3217557"/>
              <a:gd name="connsiteY38" fmla="*/ 1382518 h 2633810"/>
              <a:gd name="connsiteX39" fmla="*/ 3217557 w 3217557"/>
              <a:gd name="connsiteY39" fmla="*/ 330916 h 2633810"/>
              <a:gd name="connsiteX40" fmla="*/ 2886641 w 3217557"/>
              <a:gd name="connsiteY40" fmla="*/ 0 h 2633810"/>
              <a:gd name="connsiteX0" fmla="*/ 1384251 w 3217557"/>
              <a:gd name="connsiteY0" fmla="*/ 661544 h 2633810"/>
              <a:gd name="connsiteX1" fmla="*/ 1574067 w 3217557"/>
              <a:gd name="connsiteY1" fmla="*/ 851360 h 2633810"/>
              <a:gd name="connsiteX2" fmla="*/ 1384251 w 3217557"/>
              <a:gd name="connsiteY2" fmla="*/ 1041176 h 2633810"/>
              <a:gd name="connsiteX3" fmla="*/ 1194435 w 3217557"/>
              <a:gd name="connsiteY3" fmla="*/ 851360 h 2633810"/>
              <a:gd name="connsiteX4" fmla="*/ 1384251 w 3217557"/>
              <a:gd name="connsiteY4" fmla="*/ 661544 h 2633810"/>
              <a:gd name="connsiteX5" fmla="*/ 1993421 w 3217557"/>
              <a:gd name="connsiteY5" fmla="*/ 661544 h 2633810"/>
              <a:gd name="connsiteX6" fmla="*/ 2183237 w 3217557"/>
              <a:gd name="connsiteY6" fmla="*/ 851360 h 2633810"/>
              <a:gd name="connsiteX7" fmla="*/ 1993421 w 3217557"/>
              <a:gd name="connsiteY7" fmla="*/ 1041176 h 2633810"/>
              <a:gd name="connsiteX8" fmla="*/ 1803605 w 3217557"/>
              <a:gd name="connsiteY8" fmla="*/ 851360 h 2633810"/>
              <a:gd name="connsiteX9" fmla="*/ 1993421 w 3217557"/>
              <a:gd name="connsiteY9" fmla="*/ 661544 h 2633810"/>
              <a:gd name="connsiteX10" fmla="*/ 2602591 w 3217557"/>
              <a:gd name="connsiteY10" fmla="*/ 661544 h 2633810"/>
              <a:gd name="connsiteX11" fmla="*/ 2792407 w 3217557"/>
              <a:gd name="connsiteY11" fmla="*/ 851360 h 2633810"/>
              <a:gd name="connsiteX12" fmla="*/ 2602591 w 3217557"/>
              <a:gd name="connsiteY12" fmla="*/ 1041176 h 2633810"/>
              <a:gd name="connsiteX13" fmla="*/ 2412775 w 3217557"/>
              <a:gd name="connsiteY13" fmla="*/ 851360 h 2633810"/>
              <a:gd name="connsiteX14" fmla="*/ 2602591 w 3217557"/>
              <a:gd name="connsiteY14" fmla="*/ 661544 h 2633810"/>
              <a:gd name="connsiteX15" fmla="*/ 677114 w 3217557"/>
              <a:gd name="connsiteY15" fmla="*/ 569491 h 2633810"/>
              <a:gd name="connsiteX16" fmla="*/ 330916 w 3217557"/>
              <a:gd name="connsiteY16" fmla="*/ 569491 h 2633810"/>
              <a:gd name="connsiteX17" fmla="*/ 0 w 3217557"/>
              <a:gd name="connsiteY17" fmla="*/ 900407 h 2633810"/>
              <a:gd name="connsiteX18" fmla="*/ 0 w 3217557"/>
              <a:gd name="connsiteY18" fmla="*/ 1952009 h 2633810"/>
              <a:gd name="connsiteX19" fmla="*/ 330916 w 3217557"/>
              <a:gd name="connsiteY19" fmla="*/ 2282925 h 2633810"/>
              <a:gd name="connsiteX20" fmla="*/ 711670 w 3217557"/>
              <a:gd name="connsiteY20" fmla="*/ 2282925 h 2633810"/>
              <a:gd name="connsiteX21" fmla="*/ 165895 w 3217557"/>
              <a:gd name="connsiteY21" fmla="*/ 2633810 h 2633810"/>
              <a:gd name="connsiteX22" fmla="*/ 1294529 w 3217557"/>
              <a:gd name="connsiteY22" fmla="*/ 2282925 h 2633810"/>
              <a:gd name="connsiteX23" fmla="*/ 2117356 w 3217557"/>
              <a:gd name="connsiteY23" fmla="*/ 2282925 h 2633810"/>
              <a:gd name="connsiteX24" fmla="*/ 2418395 w 3217557"/>
              <a:gd name="connsiteY24" fmla="*/ 2087951 h 2633810"/>
              <a:gd name="connsiteX25" fmla="*/ 1830857 w 3217557"/>
              <a:gd name="connsiteY25" fmla="*/ 1799347 h 2633810"/>
              <a:gd name="connsiteX26" fmla="*/ 1008030 w 3217557"/>
              <a:gd name="connsiteY26" fmla="*/ 1799347 h 2633810"/>
              <a:gd name="connsiteX27" fmla="*/ 677114 w 3217557"/>
              <a:gd name="connsiteY27" fmla="*/ 1468431 h 2633810"/>
              <a:gd name="connsiteX28" fmla="*/ 677114 w 3217557"/>
              <a:gd name="connsiteY28" fmla="*/ 569491 h 2633810"/>
              <a:gd name="connsiteX29" fmla="*/ 2886641 w 3217557"/>
              <a:gd name="connsiteY29" fmla="*/ 0 h 2633810"/>
              <a:gd name="connsiteX30" fmla="*/ 1100201 w 3217557"/>
              <a:gd name="connsiteY30" fmla="*/ 0 h 2633810"/>
              <a:gd name="connsiteX31" fmla="*/ 769285 w 3217557"/>
              <a:gd name="connsiteY31" fmla="*/ 330916 h 2633810"/>
              <a:gd name="connsiteX32" fmla="*/ 769285 w 3217557"/>
              <a:gd name="connsiteY32" fmla="*/ 1382518 h 2633810"/>
              <a:gd name="connsiteX33" fmla="*/ 1100201 w 3217557"/>
              <a:gd name="connsiteY33" fmla="*/ 1713434 h 2633810"/>
              <a:gd name="connsiteX34" fmla="*/ 1923028 w 3217557"/>
              <a:gd name="connsiteY34" fmla="*/ 1713434 h 2633810"/>
              <a:gd name="connsiteX35" fmla="*/ 3078958 w 3217557"/>
              <a:gd name="connsiteY35" fmla="*/ 2077967 h 2633810"/>
              <a:gd name="connsiteX36" fmla="*/ 2505887 w 3217557"/>
              <a:gd name="connsiteY36" fmla="*/ 1713434 h 2633810"/>
              <a:gd name="connsiteX37" fmla="*/ 2886641 w 3217557"/>
              <a:gd name="connsiteY37" fmla="*/ 1713434 h 2633810"/>
              <a:gd name="connsiteX38" fmla="*/ 3217557 w 3217557"/>
              <a:gd name="connsiteY38" fmla="*/ 1382518 h 2633810"/>
              <a:gd name="connsiteX39" fmla="*/ 3217557 w 3217557"/>
              <a:gd name="connsiteY39" fmla="*/ 330916 h 2633810"/>
              <a:gd name="connsiteX40" fmla="*/ 2886641 w 3217557"/>
              <a:gd name="connsiteY40" fmla="*/ 0 h 2633810"/>
              <a:gd name="connsiteX0" fmla="*/ 1384251 w 3217557"/>
              <a:gd name="connsiteY0" fmla="*/ 661544 h 2633810"/>
              <a:gd name="connsiteX1" fmla="*/ 1574067 w 3217557"/>
              <a:gd name="connsiteY1" fmla="*/ 851360 h 2633810"/>
              <a:gd name="connsiteX2" fmla="*/ 1384251 w 3217557"/>
              <a:gd name="connsiteY2" fmla="*/ 1041176 h 2633810"/>
              <a:gd name="connsiteX3" fmla="*/ 1194435 w 3217557"/>
              <a:gd name="connsiteY3" fmla="*/ 851360 h 2633810"/>
              <a:gd name="connsiteX4" fmla="*/ 1384251 w 3217557"/>
              <a:gd name="connsiteY4" fmla="*/ 661544 h 2633810"/>
              <a:gd name="connsiteX5" fmla="*/ 1993421 w 3217557"/>
              <a:gd name="connsiteY5" fmla="*/ 661544 h 2633810"/>
              <a:gd name="connsiteX6" fmla="*/ 2183237 w 3217557"/>
              <a:gd name="connsiteY6" fmla="*/ 851360 h 2633810"/>
              <a:gd name="connsiteX7" fmla="*/ 1993421 w 3217557"/>
              <a:gd name="connsiteY7" fmla="*/ 1041176 h 2633810"/>
              <a:gd name="connsiteX8" fmla="*/ 1803605 w 3217557"/>
              <a:gd name="connsiteY8" fmla="*/ 851360 h 2633810"/>
              <a:gd name="connsiteX9" fmla="*/ 1993421 w 3217557"/>
              <a:gd name="connsiteY9" fmla="*/ 661544 h 2633810"/>
              <a:gd name="connsiteX10" fmla="*/ 2602591 w 3217557"/>
              <a:gd name="connsiteY10" fmla="*/ 661544 h 2633810"/>
              <a:gd name="connsiteX11" fmla="*/ 2792407 w 3217557"/>
              <a:gd name="connsiteY11" fmla="*/ 851360 h 2633810"/>
              <a:gd name="connsiteX12" fmla="*/ 2602591 w 3217557"/>
              <a:gd name="connsiteY12" fmla="*/ 1041176 h 2633810"/>
              <a:gd name="connsiteX13" fmla="*/ 2412775 w 3217557"/>
              <a:gd name="connsiteY13" fmla="*/ 851360 h 2633810"/>
              <a:gd name="connsiteX14" fmla="*/ 2602591 w 3217557"/>
              <a:gd name="connsiteY14" fmla="*/ 661544 h 2633810"/>
              <a:gd name="connsiteX15" fmla="*/ 677114 w 3217557"/>
              <a:gd name="connsiteY15" fmla="*/ 569491 h 2633810"/>
              <a:gd name="connsiteX16" fmla="*/ 330916 w 3217557"/>
              <a:gd name="connsiteY16" fmla="*/ 569491 h 2633810"/>
              <a:gd name="connsiteX17" fmla="*/ 0 w 3217557"/>
              <a:gd name="connsiteY17" fmla="*/ 900407 h 2633810"/>
              <a:gd name="connsiteX18" fmla="*/ 0 w 3217557"/>
              <a:gd name="connsiteY18" fmla="*/ 1952009 h 2633810"/>
              <a:gd name="connsiteX19" fmla="*/ 330916 w 3217557"/>
              <a:gd name="connsiteY19" fmla="*/ 2282925 h 2633810"/>
              <a:gd name="connsiteX20" fmla="*/ 711670 w 3217557"/>
              <a:gd name="connsiteY20" fmla="*/ 2282925 h 2633810"/>
              <a:gd name="connsiteX21" fmla="*/ 165895 w 3217557"/>
              <a:gd name="connsiteY21" fmla="*/ 2633810 h 2633810"/>
              <a:gd name="connsiteX22" fmla="*/ 1294529 w 3217557"/>
              <a:gd name="connsiteY22" fmla="*/ 2282925 h 2633810"/>
              <a:gd name="connsiteX23" fmla="*/ 2117356 w 3217557"/>
              <a:gd name="connsiteY23" fmla="*/ 2282925 h 2633810"/>
              <a:gd name="connsiteX24" fmla="*/ 2418395 w 3217557"/>
              <a:gd name="connsiteY24" fmla="*/ 2087951 h 2633810"/>
              <a:gd name="connsiteX25" fmla="*/ 1830857 w 3217557"/>
              <a:gd name="connsiteY25" fmla="*/ 1799347 h 2633810"/>
              <a:gd name="connsiteX26" fmla="*/ 1008030 w 3217557"/>
              <a:gd name="connsiteY26" fmla="*/ 1799347 h 2633810"/>
              <a:gd name="connsiteX27" fmla="*/ 677114 w 3217557"/>
              <a:gd name="connsiteY27" fmla="*/ 1468431 h 2633810"/>
              <a:gd name="connsiteX28" fmla="*/ 677114 w 3217557"/>
              <a:gd name="connsiteY28" fmla="*/ 569491 h 2633810"/>
              <a:gd name="connsiteX29" fmla="*/ 2886641 w 3217557"/>
              <a:gd name="connsiteY29" fmla="*/ 0 h 2633810"/>
              <a:gd name="connsiteX30" fmla="*/ 1100201 w 3217557"/>
              <a:gd name="connsiteY30" fmla="*/ 0 h 2633810"/>
              <a:gd name="connsiteX31" fmla="*/ 769285 w 3217557"/>
              <a:gd name="connsiteY31" fmla="*/ 330916 h 2633810"/>
              <a:gd name="connsiteX32" fmla="*/ 769285 w 3217557"/>
              <a:gd name="connsiteY32" fmla="*/ 1382518 h 2633810"/>
              <a:gd name="connsiteX33" fmla="*/ 1100201 w 3217557"/>
              <a:gd name="connsiteY33" fmla="*/ 1713434 h 2633810"/>
              <a:gd name="connsiteX34" fmla="*/ 1923028 w 3217557"/>
              <a:gd name="connsiteY34" fmla="*/ 1713434 h 2633810"/>
              <a:gd name="connsiteX35" fmla="*/ 3078958 w 3217557"/>
              <a:gd name="connsiteY35" fmla="*/ 2077967 h 2633810"/>
              <a:gd name="connsiteX36" fmla="*/ 2505887 w 3217557"/>
              <a:gd name="connsiteY36" fmla="*/ 1713434 h 2633810"/>
              <a:gd name="connsiteX37" fmla="*/ 2886641 w 3217557"/>
              <a:gd name="connsiteY37" fmla="*/ 1713434 h 2633810"/>
              <a:gd name="connsiteX38" fmla="*/ 3217557 w 3217557"/>
              <a:gd name="connsiteY38" fmla="*/ 1382518 h 2633810"/>
              <a:gd name="connsiteX39" fmla="*/ 3217557 w 3217557"/>
              <a:gd name="connsiteY39" fmla="*/ 330916 h 2633810"/>
              <a:gd name="connsiteX40" fmla="*/ 2886641 w 3217557"/>
              <a:gd name="connsiteY40" fmla="*/ 0 h 2633810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217557" h="2654282">
                <a:moveTo>
                  <a:pt x="1384251" y="661544"/>
                </a:moveTo>
                <a:cubicBezTo>
                  <a:pt x="1489083" y="661544"/>
                  <a:pt x="1574067" y="746528"/>
                  <a:pt x="1574067" y="851360"/>
                </a:cubicBezTo>
                <a:cubicBezTo>
                  <a:pt x="1574067" y="956192"/>
                  <a:pt x="1489083" y="1041176"/>
                  <a:pt x="1384251" y="1041176"/>
                </a:cubicBezTo>
                <a:cubicBezTo>
                  <a:pt x="1279419" y="1041176"/>
                  <a:pt x="1194435" y="956192"/>
                  <a:pt x="1194435" y="851360"/>
                </a:cubicBezTo>
                <a:cubicBezTo>
                  <a:pt x="1194435" y="746528"/>
                  <a:pt x="1279419" y="661544"/>
                  <a:pt x="1384251" y="661544"/>
                </a:cubicBezTo>
                <a:close/>
                <a:moveTo>
                  <a:pt x="1993421" y="661544"/>
                </a:moveTo>
                <a:cubicBezTo>
                  <a:pt x="2098253" y="661544"/>
                  <a:pt x="2183237" y="746528"/>
                  <a:pt x="2183237" y="851360"/>
                </a:cubicBezTo>
                <a:cubicBezTo>
                  <a:pt x="2183237" y="956192"/>
                  <a:pt x="2098253" y="1041176"/>
                  <a:pt x="1993421" y="1041176"/>
                </a:cubicBezTo>
                <a:cubicBezTo>
                  <a:pt x="1888589" y="1041176"/>
                  <a:pt x="1803605" y="956192"/>
                  <a:pt x="1803605" y="851360"/>
                </a:cubicBezTo>
                <a:cubicBezTo>
                  <a:pt x="1803605" y="746528"/>
                  <a:pt x="1888589" y="661544"/>
                  <a:pt x="1993421" y="661544"/>
                </a:cubicBezTo>
                <a:close/>
                <a:moveTo>
                  <a:pt x="2602591" y="661544"/>
                </a:moveTo>
                <a:cubicBezTo>
                  <a:pt x="2707423" y="661544"/>
                  <a:pt x="2792407" y="746528"/>
                  <a:pt x="2792407" y="851360"/>
                </a:cubicBezTo>
                <a:cubicBezTo>
                  <a:pt x="2792407" y="956192"/>
                  <a:pt x="2707423" y="1041176"/>
                  <a:pt x="2602591" y="1041176"/>
                </a:cubicBezTo>
                <a:cubicBezTo>
                  <a:pt x="2497759" y="1041176"/>
                  <a:pt x="2412775" y="956192"/>
                  <a:pt x="2412775" y="851360"/>
                </a:cubicBezTo>
                <a:cubicBezTo>
                  <a:pt x="2412775" y="746528"/>
                  <a:pt x="2497759" y="661544"/>
                  <a:pt x="2602591" y="661544"/>
                </a:cubicBezTo>
                <a:close/>
                <a:moveTo>
                  <a:pt x="677114" y="569491"/>
                </a:moveTo>
                <a:lnTo>
                  <a:pt x="330916" y="569491"/>
                </a:lnTo>
                <a:cubicBezTo>
                  <a:pt x="148156" y="569491"/>
                  <a:pt x="0" y="717647"/>
                  <a:pt x="0" y="900407"/>
                </a:cubicBezTo>
                <a:lnTo>
                  <a:pt x="0" y="1952009"/>
                </a:lnTo>
                <a:cubicBezTo>
                  <a:pt x="0" y="2134769"/>
                  <a:pt x="148156" y="2282925"/>
                  <a:pt x="330916" y="2282925"/>
                </a:cubicBezTo>
                <a:lnTo>
                  <a:pt x="711670" y="2282925"/>
                </a:lnTo>
                <a:cubicBezTo>
                  <a:pt x="639726" y="2394386"/>
                  <a:pt x="647101" y="2475544"/>
                  <a:pt x="275077" y="2654282"/>
                </a:cubicBezTo>
                <a:cubicBezTo>
                  <a:pt x="900998" y="2583693"/>
                  <a:pt x="998412" y="2552618"/>
                  <a:pt x="1294529" y="2282925"/>
                </a:cubicBezTo>
                <a:lnTo>
                  <a:pt x="2117356" y="2282925"/>
                </a:lnTo>
                <a:cubicBezTo>
                  <a:pt x="2251554" y="2282925"/>
                  <a:pt x="2367095" y="2203043"/>
                  <a:pt x="2418395" y="2087951"/>
                </a:cubicBezTo>
                <a:cubicBezTo>
                  <a:pt x="2205538" y="2022975"/>
                  <a:pt x="2032941" y="1932583"/>
                  <a:pt x="1830857" y="1799347"/>
                </a:cubicBezTo>
                <a:lnTo>
                  <a:pt x="1008030" y="1799347"/>
                </a:lnTo>
                <a:cubicBezTo>
                  <a:pt x="825270" y="1799347"/>
                  <a:pt x="677114" y="1651191"/>
                  <a:pt x="677114" y="1468431"/>
                </a:cubicBezTo>
                <a:lnTo>
                  <a:pt x="677114" y="569491"/>
                </a:lnTo>
                <a:close/>
                <a:moveTo>
                  <a:pt x="2886641" y="0"/>
                </a:moveTo>
                <a:lnTo>
                  <a:pt x="1100201" y="0"/>
                </a:lnTo>
                <a:cubicBezTo>
                  <a:pt x="917441" y="0"/>
                  <a:pt x="769285" y="148156"/>
                  <a:pt x="769285" y="330916"/>
                </a:cubicBezTo>
                <a:lnTo>
                  <a:pt x="769285" y="1382518"/>
                </a:lnTo>
                <a:cubicBezTo>
                  <a:pt x="769285" y="1565278"/>
                  <a:pt x="917441" y="1713434"/>
                  <a:pt x="1100201" y="1713434"/>
                </a:cubicBezTo>
                <a:lnTo>
                  <a:pt x="1923028" y="1713434"/>
                </a:lnTo>
                <a:cubicBezTo>
                  <a:pt x="2301032" y="1962656"/>
                  <a:pt x="2453037" y="2007378"/>
                  <a:pt x="3078958" y="2077967"/>
                </a:cubicBezTo>
                <a:cubicBezTo>
                  <a:pt x="2713759" y="1878758"/>
                  <a:pt x="2673367" y="1899957"/>
                  <a:pt x="2505887" y="1713434"/>
                </a:cubicBezTo>
                <a:lnTo>
                  <a:pt x="2886641" y="1713434"/>
                </a:lnTo>
                <a:cubicBezTo>
                  <a:pt x="3069401" y="1713434"/>
                  <a:pt x="3217557" y="1565278"/>
                  <a:pt x="3217557" y="1382518"/>
                </a:cubicBezTo>
                <a:lnTo>
                  <a:pt x="3217557" y="330916"/>
                </a:lnTo>
                <a:cubicBezTo>
                  <a:pt x="3217557" y="148156"/>
                  <a:pt x="3069401" y="0"/>
                  <a:pt x="2886641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93" name="Teardrop 1">
            <a:extLst>
              <a:ext uri="{FF2B5EF4-FFF2-40B4-BE49-F238E27FC236}">
                <a16:creationId xmlns:a16="http://schemas.microsoft.com/office/drawing/2014/main" id="{45BBC696-75E7-44AB-A411-9B80C52FFE5A}"/>
              </a:ext>
            </a:extLst>
          </p:cNvPr>
          <p:cNvSpPr/>
          <p:nvPr/>
        </p:nvSpPr>
        <p:spPr>
          <a:xfrm rot="18805991">
            <a:off x="10126692" y="1539348"/>
            <a:ext cx="551843" cy="546086"/>
          </a:xfrm>
          <a:custGeom>
            <a:avLst/>
            <a:gdLst/>
            <a:ahLst/>
            <a:cxnLst/>
            <a:rect l="l" t="t" r="r" b="b"/>
            <a:pathLst>
              <a:path w="1807241" h="1788383">
                <a:moveTo>
                  <a:pt x="712876" y="1117592"/>
                </a:moveTo>
                <a:cubicBezTo>
                  <a:pt x="771173" y="1181828"/>
                  <a:pt x="811089" y="1255910"/>
                  <a:pt x="847925" y="1348018"/>
                </a:cubicBezTo>
                <a:cubicBezTo>
                  <a:pt x="814544" y="1418896"/>
                  <a:pt x="753893" y="1474052"/>
                  <a:pt x="679064" y="1498332"/>
                </a:cubicBezTo>
                <a:lnTo>
                  <a:pt x="308226" y="1106637"/>
                </a:lnTo>
                <a:cubicBezTo>
                  <a:pt x="336560" y="1033247"/>
                  <a:pt x="394949" y="975701"/>
                  <a:pt x="467546" y="946245"/>
                </a:cubicBezTo>
                <a:cubicBezTo>
                  <a:pt x="577903" y="998968"/>
                  <a:pt x="654580" y="1053357"/>
                  <a:pt x="712876" y="1117592"/>
                </a:cubicBezTo>
                <a:close/>
                <a:moveTo>
                  <a:pt x="1038527" y="398886"/>
                </a:moveTo>
                <a:lnTo>
                  <a:pt x="1405560" y="786562"/>
                </a:lnTo>
                <a:cubicBezTo>
                  <a:pt x="1374476" y="799049"/>
                  <a:pt x="1340402" y="804299"/>
                  <a:pt x="1305054" y="803332"/>
                </a:cubicBezTo>
                <a:lnTo>
                  <a:pt x="1008167" y="795212"/>
                </a:lnTo>
                <a:lnTo>
                  <a:pt x="1016288" y="498325"/>
                </a:lnTo>
                <a:cubicBezTo>
                  <a:pt x="1017255" y="462976"/>
                  <a:pt x="1024360" y="429240"/>
                  <a:pt x="1038527" y="398886"/>
                </a:cubicBezTo>
                <a:close/>
                <a:moveTo>
                  <a:pt x="1097925" y="218888"/>
                </a:moveTo>
                <a:cubicBezTo>
                  <a:pt x="992582" y="279303"/>
                  <a:pt x="921871" y="392886"/>
                  <a:pt x="921053" y="523256"/>
                </a:cubicBezTo>
                <a:lnTo>
                  <a:pt x="919136" y="828763"/>
                </a:lnTo>
                <a:lnTo>
                  <a:pt x="830924" y="915875"/>
                </a:lnTo>
                <a:lnTo>
                  <a:pt x="525417" y="913958"/>
                </a:lnTo>
                <a:cubicBezTo>
                  <a:pt x="403891" y="913196"/>
                  <a:pt x="296188" y="973343"/>
                  <a:pt x="234366" y="1067831"/>
                </a:cubicBezTo>
                <a:lnTo>
                  <a:pt x="710285" y="1570519"/>
                </a:lnTo>
                <a:cubicBezTo>
                  <a:pt x="811872" y="1510375"/>
                  <a:pt x="878808" y="1399439"/>
                  <a:pt x="879603" y="1272618"/>
                </a:cubicBezTo>
                <a:lnTo>
                  <a:pt x="881520" y="967111"/>
                </a:lnTo>
                <a:lnTo>
                  <a:pt x="969732" y="879999"/>
                </a:lnTo>
                <a:lnTo>
                  <a:pt x="1275239" y="881916"/>
                </a:lnTo>
                <a:cubicBezTo>
                  <a:pt x="1400271" y="882701"/>
                  <a:pt x="1510670" y="819011"/>
                  <a:pt x="1573529" y="721242"/>
                </a:cubicBezTo>
                <a:close/>
                <a:moveTo>
                  <a:pt x="1162945" y="27894"/>
                </a:moveTo>
                <a:lnTo>
                  <a:pt x="1782798" y="682611"/>
                </a:lnTo>
                <a:cubicBezTo>
                  <a:pt x="1816692" y="718411"/>
                  <a:pt x="1815147" y="774907"/>
                  <a:pt x="1779347" y="808801"/>
                </a:cubicBezTo>
                <a:cubicBezTo>
                  <a:pt x="1743547" y="842694"/>
                  <a:pt x="1687050" y="841149"/>
                  <a:pt x="1653157" y="805349"/>
                </a:cubicBezTo>
                <a:lnTo>
                  <a:pt x="1644015" y="795693"/>
                </a:lnTo>
                <a:cubicBezTo>
                  <a:pt x="1561789" y="910282"/>
                  <a:pt x="1426630" y="983636"/>
                  <a:pt x="1274606" y="982683"/>
                </a:cubicBezTo>
                <a:lnTo>
                  <a:pt x="980378" y="980836"/>
                </a:lnTo>
                <a:lnTo>
                  <a:pt x="980378" y="1270380"/>
                </a:lnTo>
                <a:cubicBezTo>
                  <a:pt x="980378" y="1427425"/>
                  <a:pt x="901198" y="1565976"/>
                  <a:pt x="779756" y="1647056"/>
                </a:cubicBezTo>
                <a:cubicBezTo>
                  <a:pt x="807405" y="1681913"/>
                  <a:pt x="803595" y="1732594"/>
                  <a:pt x="770486" y="1763941"/>
                </a:cubicBezTo>
                <a:cubicBezTo>
                  <a:pt x="734686" y="1797834"/>
                  <a:pt x="678189" y="1796289"/>
                  <a:pt x="644296" y="1760489"/>
                </a:cubicBezTo>
                <a:lnTo>
                  <a:pt x="24442" y="1105772"/>
                </a:lnTo>
                <a:cubicBezTo>
                  <a:pt x="-9451" y="1069973"/>
                  <a:pt x="-7906" y="1013476"/>
                  <a:pt x="27894" y="979583"/>
                </a:cubicBezTo>
                <a:cubicBezTo>
                  <a:pt x="63694" y="945689"/>
                  <a:pt x="120190" y="947235"/>
                  <a:pt x="154084" y="983034"/>
                </a:cubicBezTo>
                <a:lnTo>
                  <a:pt x="163237" y="992702"/>
                </a:lnTo>
                <a:cubicBezTo>
                  <a:pt x="244774" y="882877"/>
                  <a:pt x="375836" y="813180"/>
                  <a:pt x="523178" y="813180"/>
                </a:cubicBezTo>
                <a:lnTo>
                  <a:pt x="818460" y="813180"/>
                </a:lnTo>
                <a:lnTo>
                  <a:pt x="820284" y="522622"/>
                </a:lnTo>
                <a:cubicBezTo>
                  <a:pt x="821285" y="363119"/>
                  <a:pt x="903845" y="223207"/>
                  <a:pt x="1028952" y="143673"/>
                </a:cubicBezTo>
                <a:cubicBezTo>
                  <a:pt x="999689" y="108599"/>
                  <a:pt x="1002953" y="56445"/>
                  <a:pt x="1036755" y="24443"/>
                </a:cubicBezTo>
                <a:cubicBezTo>
                  <a:pt x="1072555" y="-9451"/>
                  <a:pt x="1129052" y="-7906"/>
                  <a:pt x="1162945" y="2789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94" name="Rectangle 130">
            <a:extLst>
              <a:ext uri="{FF2B5EF4-FFF2-40B4-BE49-F238E27FC236}">
                <a16:creationId xmlns:a16="http://schemas.microsoft.com/office/drawing/2014/main" id="{F7759672-254A-46D2-98DF-B919494C603A}"/>
              </a:ext>
            </a:extLst>
          </p:cNvPr>
          <p:cNvSpPr/>
          <p:nvPr/>
        </p:nvSpPr>
        <p:spPr>
          <a:xfrm>
            <a:off x="10932820" y="1539414"/>
            <a:ext cx="544577" cy="547049"/>
          </a:xfrm>
          <a:custGeom>
            <a:avLst/>
            <a:gdLst/>
            <a:ahLst/>
            <a:cxnLst/>
            <a:rect l="l" t="t" r="r" b="b"/>
            <a:pathLst>
              <a:path w="371900" h="373588">
                <a:moveTo>
                  <a:pt x="297080" y="129105"/>
                </a:moveTo>
                <a:lnTo>
                  <a:pt x="284273" y="219737"/>
                </a:lnTo>
                <a:lnTo>
                  <a:pt x="305496" y="219737"/>
                </a:lnTo>
                <a:lnTo>
                  <a:pt x="333001" y="129105"/>
                </a:lnTo>
                <a:close/>
                <a:moveTo>
                  <a:pt x="228265" y="129105"/>
                </a:moveTo>
                <a:lnTo>
                  <a:pt x="228265" y="219737"/>
                </a:lnTo>
                <a:lnTo>
                  <a:pt x="250807" y="219737"/>
                </a:lnTo>
                <a:lnTo>
                  <a:pt x="263614" y="129105"/>
                </a:lnTo>
                <a:close/>
                <a:moveTo>
                  <a:pt x="157021" y="129105"/>
                </a:moveTo>
                <a:lnTo>
                  <a:pt x="175826" y="219737"/>
                </a:lnTo>
                <a:lnTo>
                  <a:pt x="195129" y="219737"/>
                </a:lnTo>
                <a:lnTo>
                  <a:pt x="195129" y="129105"/>
                </a:lnTo>
                <a:close/>
                <a:moveTo>
                  <a:pt x="93087" y="129105"/>
                </a:moveTo>
                <a:lnTo>
                  <a:pt x="117372" y="219737"/>
                </a:lnTo>
                <a:lnTo>
                  <a:pt x="141984" y="219737"/>
                </a:lnTo>
                <a:lnTo>
                  <a:pt x="123179" y="129105"/>
                </a:lnTo>
                <a:close/>
                <a:moveTo>
                  <a:pt x="58494" y="0"/>
                </a:moveTo>
                <a:lnTo>
                  <a:pt x="84208" y="95969"/>
                </a:lnTo>
                <a:lnTo>
                  <a:pt x="354346" y="95969"/>
                </a:lnTo>
                <a:lnTo>
                  <a:pt x="354346" y="97437"/>
                </a:lnTo>
                <a:cubicBezTo>
                  <a:pt x="356087" y="96136"/>
                  <a:pt x="357928" y="96353"/>
                  <a:pt x="359747" y="96905"/>
                </a:cubicBezTo>
                <a:lnTo>
                  <a:pt x="360371" y="97095"/>
                </a:lnTo>
                <a:cubicBezTo>
                  <a:pt x="368954" y="99700"/>
                  <a:pt x="373801" y="108770"/>
                  <a:pt x="371196" y="117354"/>
                </a:cubicBezTo>
                <a:lnTo>
                  <a:pt x="333339" y="242097"/>
                </a:lnTo>
                <a:cubicBezTo>
                  <a:pt x="331591" y="247858"/>
                  <a:pt x="326929" y="251935"/>
                  <a:pt x="321206" y="252122"/>
                </a:cubicBezTo>
                <a:lnTo>
                  <a:pt x="321206" y="252873"/>
                </a:lnTo>
                <a:lnTo>
                  <a:pt x="313576" y="252873"/>
                </a:lnTo>
                <a:cubicBezTo>
                  <a:pt x="313378" y="253010"/>
                  <a:pt x="313229" y="252967"/>
                  <a:pt x="313080" y="252922"/>
                </a:cubicBezTo>
                <a:lnTo>
                  <a:pt x="312919" y="252873"/>
                </a:lnTo>
                <a:lnTo>
                  <a:pt x="126251" y="252873"/>
                </a:lnTo>
                <a:lnTo>
                  <a:pt x="133971" y="281687"/>
                </a:lnTo>
                <a:lnTo>
                  <a:pt x="321075" y="281687"/>
                </a:lnTo>
                <a:lnTo>
                  <a:pt x="321075" y="314823"/>
                </a:lnTo>
                <a:lnTo>
                  <a:pt x="318480" y="314823"/>
                </a:lnTo>
                <a:cubicBezTo>
                  <a:pt x="329614" y="318311"/>
                  <a:pt x="336414" y="328969"/>
                  <a:pt x="336414" y="341215"/>
                </a:cubicBezTo>
                <a:cubicBezTo>
                  <a:pt x="336414" y="359094"/>
                  <a:pt x="321920" y="373588"/>
                  <a:pt x="304041" y="373588"/>
                </a:cubicBezTo>
                <a:cubicBezTo>
                  <a:pt x="286162" y="373588"/>
                  <a:pt x="271668" y="359094"/>
                  <a:pt x="271668" y="341215"/>
                </a:cubicBezTo>
                <a:cubicBezTo>
                  <a:pt x="271668" y="328969"/>
                  <a:pt x="278468" y="318311"/>
                  <a:pt x="289602" y="314823"/>
                </a:cubicBezTo>
                <a:lnTo>
                  <a:pt x="142850" y="314823"/>
                </a:lnTo>
                <a:lnTo>
                  <a:pt x="143397" y="316865"/>
                </a:lnTo>
                <a:cubicBezTo>
                  <a:pt x="151629" y="321811"/>
                  <a:pt x="156401" y="330956"/>
                  <a:pt x="156401" y="341215"/>
                </a:cubicBezTo>
                <a:cubicBezTo>
                  <a:pt x="156401" y="359094"/>
                  <a:pt x="141907" y="373588"/>
                  <a:pt x="124028" y="373588"/>
                </a:cubicBezTo>
                <a:cubicBezTo>
                  <a:pt x="106149" y="373588"/>
                  <a:pt x="91655" y="359094"/>
                  <a:pt x="91655" y="341215"/>
                </a:cubicBezTo>
                <a:cubicBezTo>
                  <a:pt x="91655" y="329356"/>
                  <a:pt x="98032" y="318986"/>
                  <a:pt x="108649" y="315212"/>
                </a:cubicBezTo>
                <a:lnTo>
                  <a:pt x="33542" y="34909"/>
                </a:lnTo>
                <a:lnTo>
                  <a:pt x="0" y="34909"/>
                </a:lnTo>
                <a:lnTo>
                  <a:pt x="0" y="1773"/>
                </a:lnTo>
                <a:lnTo>
                  <a:pt x="51879" y="177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95" name="Right Triangle 17">
            <a:extLst>
              <a:ext uri="{FF2B5EF4-FFF2-40B4-BE49-F238E27FC236}">
                <a16:creationId xmlns:a16="http://schemas.microsoft.com/office/drawing/2014/main" id="{5B989D8F-E127-48E7-B329-C52CA522C191}"/>
              </a:ext>
            </a:extLst>
          </p:cNvPr>
          <p:cNvSpPr>
            <a:spLocks noChangeAspect="1"/>
          </p:cNvSpPr>
          <p:nvPr/>
        </p:nvSpPr>
        <p:spPr>
          <a:xfrm>
            <a:off x="9363473" y="4578026"/>
            <a:ext cx="478148" cy="569324"/>
          </a:xfrm>
          <a:custGeom>
            <a:avLst/>
            <a:gdLst/>
            <a:ahLst/>
            <a:cxnLst/>
            <a:rect l="l" t="t" r="r" b="b"/>
            <a:pathLst>
              <a:path w="2721114" h="3240000">
                <a:moveTo>
                  <a:pt x="1999321" y="2603448"/>
                </a:moveTo>
                <a:lnTo>
                  <a:pt x="1999321" y="2772810"/>
                </a:lnTo>
                <a:lnTo>
                  <a:pt x="2528507" y="2772810"/>
                </a:lnTo>
                <a:lnTo>
                  <a:pt x="2528507" y="2603448"/>
                </a:lnTo>
                <a:close/>
                <a:moveTo>
                  <a:pt x="2263914" y="2230929"/>
                </a:moveTo>
                <a:cubicBezTo>
                  <a:pt x="2516419" y="2230929"/>
                  <a:pt x="2721114" y="2435624"/>
                  <a:pt x="2721114" y="2688129"/>
                </a:cubicBezTo>
                <a:cubicBezTo>
                  <a:pt x="2721114" y="2940634"/>
                  <a:pt x="2516419" y="3145329"/>
                  <a:pt x="2263914" y="3145329"/>
                </a:cubicBezTo>
                <a:cubicBezTo>
                  <a:pt x="2011409" y="3145329"/>
                  <a:pt x="1806714" y="2940634"/>
                  <a:pt x="1806714" y="2688129"/>
                </a:cubicBezTo>
                <a:cubicBezTo>
                  <a:pt x="1806714" y="2435624"/>
                  <a:pt x="2011409" y="2230929"/>
                  <a:pt x="2263914" y="2230929"/>
                </a:cubicBezTo>
                <a:close/>
                <a:moveTo>
                  <a:pt x="1576134" y="17032"/>
                </a:moveTo>
                <a:lnTo>
                  <a:pt x="2276728" y="17032"/>
                </a:lnTo>
                <a:lnTo>
                  <a:pt x="2276728" y="17033"/>
                </a:lnTo>
                <a:lnTo>
                  <a:pt x="1576135" y="17033"/>
                </a:lnTo>
                <a:close/>
                <a:moveTo>
                  <a:pt x="0" y="17032"/>
                </a:moveTo>
                <a:lnTo>
                  <a:pt x="1321887" y="17032"/>
                </a:lnTo>
                <a:lnTo>
                  <a:pt x="1321887" y="996125"/>
                </a:lnTo>
                <a:lnTo>
                  <a:pt x="2276728" y="996125"/>
                </a:lnTo>
                <a:lnTo>
                  <a:pt x="2276728" y="2160187"/>
                </a:lnTo>
                <a:cubicBezTo>
                  <a:pt x="1979345" y="2161001"/>
                  <a:pt x="1738579" y="2402384"/>
                  <a:pt x="1738579" y="2700000"/>
                </a:cubicBezTo>
                <a:cubicBezTo>
                  <a:pt x="1738579" y="2997617"/>
                  <a:pt x="1979345" y="3238999"/>
                  <a:pt x="2276728" y="3239814"/>
                </a:cubicBezTo>
                <a:lnTo>
                  <a:pt x="2276728" y="3240000"/>
                </a:lnTo>
                <a:lnTo>
                  <a:pt x="0" y="3240000"/>
                </a:lnTo>
                <a:close/>
                <a:moveTo>
                  <a:pt x="1436085" y="0"/>
                </a:moveTo>
                <a:lnTo>
                  <a:pt x="2287664" y="888809"/>
                </a:lnTo>
                <a:lnTo>
                  <a:pt x="1436085" y="88880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96" name="Right Triangle 17">
            <a:extLst>
              <a:ext uri="{FF2B5EF4-FFF2-40B4-BE49-F238E27FC236}">
                <a16:creationId xmlns:a16="http://schemas.microsoft.com/office/drawing/2014/main" id="{D61B263F-9E2B-4D6D-AE92-C6B011C62C98}"/>
              </a:ext>
            </a:extLst>
          </p:cNvPr>
          <p:cNvSpPr>
            <a:spLocks noChangeAspect="1"/>
          </p:cNvSpPr>
          <p:nvPr/>
        </p:nvSpPr>
        <p:spPr>
          <a:xfrm>
            <a:off x="8488431" y="4578026"/>
            <a:ext cx="478148" cy="569324"/>
          </a:xfrm>
          <a:custGeom>
            <a:avLst/>
            <a:gdLst/>
            <a:ahLst/>
            <a:cxnLst/>
            <a:rect l="l" t="t" r="r" b="b"/>
            <a:pathLst>
              <a:path w="2721114" h="3240000">
                <a:moveTo>
                  <a:pt x="2179233" y="2431577"/>
                </a:moveTo>
                <a:lnTo>
                  <a:pt x="2179233" y="2611489"/>
                </a:lnTo>
                <a:lnTo>
                  <a:pt x="1999321" y="2611489"/>
                </a:lnTo>
                <a:lnTo>
                  <a:pt x="1999321" y="2780851"/>
                </a:lnTo>
                <a:lnTo>
                  <a:pt x="2179233" y="2780851"/>
                </a:lnTo>
                <a:lnTo>
                  <a:pt x="2179233" y="2960763"/>
                </a:lnTo>
                <a:lnTo>
                  <a:pt x="2348595" y="2960763"/>
                </a:lnTo>
                <a:lnTo>
                  <a:pt x="2348595" y="2780851"/>
                </a:lnTo>
                <a:lnTo>
                  <a:pt x="2528507" y="2780851"/>
                </a:lnTo>
                <a:lnTo>
                  <a:pt x="2528507" y="2611489"/>
                </a:lnTo>
                <a:lnTo>
                  <a:pt x="2348595" y="2611489"/>
                </a:lnTo>
                <a:lnTo>
                  <a:pt x="2348595" y="2431577"/>
                </a:lnTo>
                <a:close/>
                <a:moveTo>
                  <a:pt x="2263914" y="2238970"/>
                </a:moveTo>
                <a:cubicBezTo>
                  <a:pt x="2516419" y="2238970"/>
                  <a:pt x="2721114" y="2443665"/>
                  <a:pt x="2721114" y="2696170"/>
                </a:cubicBezTo>
                <a:cubicBezTo>
                  <a:pt x="2721114" y="2948675"/>
                  <a:pt x="2516419" y="3153370"/>
                  <a:pt x="2263914" y="3153370"/>
                </a:cubicBezTo>
                <a:cubicBezTo>
                  <a:pt x="2011409" y="3153370"/>
                  <a:pt x="1806714" y="2948675"/>
                  <a:pt x="1806714" y="2696170"/>
                </a:cubicBezTo>
                <a:cubicBezTo>
                  <a:pt x="1806714" y="2443665"/>
                  <a:pt x="2011409" y="2238970"/>
                  <a:pt x="2263914" y="2238970"/>
                </a:cubicBezTo>
                <a:close/>
                <a:moveTo>
                  <a:pt x="1576134" y="17032"/>
                </a:moveTo>
                <a:lnTo>
                  <a:pt x="2276728" y="17032"/>
                </a:lnTo>
                <a:lnTo>
                  <a:pt x="2276728" y="17033"/>
                </a:lnTo>
                <a:lnTo>
                  <a:pt x="1576135" y="17033"/>
                </a:lnTo>
                <a:close/>
                <a:moveTo>
                  <a:pt x="0" y="17032"/>
                </a:moveTo>
                <a:lnTo>
                  <a:pt x="1321887" y="17032"/>
                </a:lnTo>
                <a:lnTo>
                  <a:pt x="1321887" y="996125"/>
                </a:lnTo>
                <a:lnTo>
                  <a:pt x="2276728" y="996125"/>
                </a:lnTo>
                <a:lnTo>
                  <a:pt x="2276728" y="2160187"/>
                </a:lnTo>
                <a:cubicBezTo>
                  <a:pt x="1979345" y="2161001"/>
                  <a:pt x="1738579" y="2402384"/>
                  <a:pt x="1738579" y="2700000"/>
                </a:cubicBezTo>
                <a:cubicBezTo>
                  <a:pt x="1738579" y="2997617"/>
                  <a:pt x="1979345" y="3238999"/>
                  <a:pt x="2276728" y="3239814"/>
                </a:cubicBezTo>
                <a:lnTo>
                  <a:pt x="2276728" y="3240000"/>
                </a:lnTo>
                <a:lnTo>
                  <a:pt x="0" y="3240000"/>
                </a:lnTo>
                <a:close/>
                <a:moveTo>
                  <a:pt x="1436085" y="0"/>
                </a:moveTo>
                <a:lnTo>
                  <a:pt x="2287664" y="888809"/>
                </a:lnTo>
                <a:lnTo>
                  <a:pt x="1436085" y="88880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97" name="Right Triangle 17">
            <a:extLst>
              <a:ext uri="{FF2B5EF4-FFF2-40B4-BE49-F238E27FC236}">
                <a16:creationId xmlns:a16="http://schemas.microsoft.com/office/drawing/2014/main" id="{5E5AE7B0-988E-44BF-89EA-013033086F96}"/>
              </a:ext>
            </a:extLst>
          </p:cNvPr>
          <p:cNvSpPr>
            <a:spLocks noChangeAspect="1"/>
          </p:cNvSpPr>
          <p:nvPr/>
        </p:nvSpPr>
        <p:spPr>
          <a:xfrm>
            <a:off x="10238515" y="4578026"/>
            <a:ext cx="478148" cy="569324"/>
          </a:xfrm>
          <a:custGeom>
            <a:avLst/>
            <a:gdLst/>
            <a:ahLst/>
            <a:cxnLst/>
            <a:rect l="l" t="t" r="r" b="b"/>
            <a:pathLst>
              <a:path w="2721114" h="3240000">
                <a:moveTo>
                  <a:pt x="2136698" y="2449196"/>
                </a:moveTo>
                <a:lnTo>
                  <a:pt x="2016940" y="2568954"/>
                </a:lnTo>
                <a:lnTo>
                  <a:pt x="2144156" y="2696170"/>
                </a:lnTo>
                <a:lnTo>
                  <a:pt x="2016940" y="2823386"/>
                </a:lnTo>
                <a:lnTo>
                  <a:pt x="2136698" y="2943144"/>
                </a:lnTo>
                <a:lnTo>
                  <a:pt x="2263914" y="2815928"/>
                </a:lnTo>
                <a:lnTo>
                  <a:pt x="2391130" y="2943144"/>
                </a:lnTo>
                <a:lnTo>
                  <a:pt x="2510888" y="2823386"/>
                </a:lnTo>
                <a:lnTo>
                  <a:pt x="2383672" y="2696170"/>
                </a:lnTo>
                <a:lnTo>
                  <a:pt x="2510888" y="2568954"/>
                </a:lnTo>
                <a:lnTo>
                  <a:pt x="2391130" y="2449196"/>
                </a:lnTo>
                <a:lnTo>
                  <a:pt x="2263914" y="2576412"/>
                </a:lnTo>
                <a:close/>
                <a:moveTo>
                  <a:pt x="2263914" y="2238970"/>
                </a:moveTo>
                <a:cubicBezTo>
                  <a:pt x="2516419" y="2238970"/>
                  <a:pt x="2721114" y="2443665"/>
                  <a:pt x="2721114" y="2696170"/>
                </a:cubicBezTo>
                <a:cubicBezTo>
                  <a:pt x="2721114" y="2948675"/>
                  <a:pt x="2516419" y="3153370"/>
                  <a:pt x="2263914" y="3153370"/>
                </a:cubicBezTo>
                <a:cubicBezTo>
                  <a:pt x="2011409" y="3153370"/>
                  <a:pt x="1806714" y="2948675"/>
                  <a:pt x="1806714" y="2696170"/>
                </a:cubicBezTo>
                <a:cubicBezTo>
                  <a:pt x="1806714" y="2443665"/>
                  <a:pt x="2011409" y="2238970"/>
                  <a:pt x="2263914" y="2238970"/>
                </a:cubicBezTo>
                <a:close/>
                <a:moveTo>
                  <a:pt x="1576134" y="17032"/>
                </a:moveTo>
                <a:lnTo>
                  <a:pt x="2276728" y="17032"/>
                </a:lnTo>
                <a:lnTo>
                  <a:pt x="2276728" y="17033"/>
                </a:lnTo>
                <a:lnTo>
                  <a:pt x="1576135" y="17033"/>
                </a:lnTo>
                <a:close/>
                <a:moveTo>
                  <a:pt x="0" y="17032"/>
                </a:moveTo>
                <a:lnTo>
                  <a:pt x="1321887" y="17032"/>
                </a:lnTo>
                <a:lnTo>
                  <a:pt x="1321887" y="996125"/>
                </a:lnTo>
                <a:lnTo>
                  <a:pt x="2276728" y="996125"/>
                </a:lnTo>
                <a:lnTo>
                  <a:pt x="2276728" y="2160187"/>
                </a:lnTo>
                <a:cubicBezTo>
                  <a:pt x="1979345" y="2161001"/>
                  <a:pt x="1738579" y="2402384"/>
                  <a:pt x="1738579" y="2700000"/>
                </a:cubicBezTo>
                <a:cubicBezTo>
                  <a:pt x="1738579" y="2997617"/>
                  <a:pt x="1979345" y="3238999"/>
                  <a:pt x="2276728" y="3239814"/>
                </a:cubicBezTo>
                <a:lnTo>
                  <a:pt x="2276728" y="3240000"/>
                </a:lnTo>
                <a:lnTo>
                  <a:pt x="0" y="3240000"/>
                </a:lnTo>
                <a:close/>
                <a:moveTo>
                  <a:pt x="1436085" y="0"/>
                </a:moveTo>
                <a:lnTo>
                  <a:pt x="2287664" y="888809"/>
                </a:lnTo>
                <a:lnTo>
                  <a:pt x="1436085" y="88880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98" name="Oval 44">
            <a:extLst>
              <a:ext uri="{FF2B5EF4-FFF2-40B4-BE49-F238E27FC236}">
                <a16:creationId xmlns:a16="http://schemas.microsoft.com/office/drawing/2014/main" id="{94195A6D-E3B2-4E10-BD54-AC5E4FED7A15}"/>
              </a:ext>
            </a:extLst>
          </p:cNvPr>
          <p:cNvSpPr>
            <a:spLocks noChangeAspect="1"/>
          </p:cNvSpPr>
          <p:nvPr/>
        </p:nvSpPr>
        <p:spPr>
          <a:xfrm>
            <a:off x="11113556" y="4578026"/>
            <a:ext cx="478148" cy="569324"/>
          </a:xfrm>
          <a:custGeom>
            <a:avLst/>
            <a:gdLst/>
            <a:ahLst/>
            <a:cxnLst/>
            <a:rect l="l" t="t" r="r" b="b"/>
            <a:pathLst>
              <a:path w="2721114" h="3240000">
                <a:moveTo>
                  <a:pt x="2519839" y="2469622"/>
                </a:moveTo>
                <a:lnTo>
                  <a:pt x="2201779" y="2787682"/>
                </a:lnTo>
                <a:lnTo>
                  <a:pt x="2003023" y="2588926"/>
                </a:lnTo>
                <a:lnTo>
                  <a:pt x="1901669" y="2690281"/>
                </a:lnTo>
                <a:lnTo>
                  <a:pt x="2203868" y="2992480"/>
                </a:lnTo>
                <a:lnTo>
                  <a:pt x="2305222" y="2891125"/>
                </a:lnTo>
                <a:lnTo>
                  <a:pt x="2303133" y="2889037"/>
                </a:lnTo>
                <a:lnTo>
                  <a:pt x="2621194" y="2570977"/>
                </a:lnTo>
                <a:close/>
                <a:moveTo>
                  <a:pt x="2263914" y="2238970"/>
                </a:moveTo>
                <a:cubicBezTo>
                  <a:pt x="2516419" y="2238970"/>
                  <a:pt x="2721114" y="2443665"/>
                  <a:pt x="2721114" y="2696170"/>
                </a:cubicBezTo>
                <a:cubicBezTo>
                  <a:pt x="2721114" y="2948675"/>
                  <a:pt x="2516419" y="3153370"/>
                  <a:pt x="2263914" y="3153370"/>
                </a:cubicBezTo>
                <a:cubicBezTo>
                  <a:pt x="2011409" y="3153370"/>
                  <a:pt x="1806714" y="2948675"/>
                  <a:pt x="1806714" y="2696170"/>
                </a:cubicBezTo>
                <a:cubicBezTo>
                  <a:pt x="1806714" y="2443665"/>
                  <a:pt x="2011409" y="2238970"/>
                  <a:pt x="2263914" y="2238970"/>
                </a:cubicBezTo>
                <a:close/>
                <a:moveTo>
                  <a:pt x="1576134" y="17032"/>
                </a:moveTo>
                <a:lnTo>
                  <a:pt x="2276728" y="17032"/>
                </a:lnTo>
                <a:lnTo>
                  <a:pt x="2276728" y="17033"/>
                </a:lnTo>
                <a:lnTo>
                  <a:pt x="1576135" y="17033"/>
                </a:lnTo>
                <a:close/>
                <a:moveTo>
                  <a:pt x="0" y="17032"/>
                </a:moveTo>
                <a:lnTo>
                  <a:pt x="1321887" y="17032"/>
                </a:lnTo>
                <a:lnTo>
                  <a:pt x="1321887" y="996125"/>
                </a:lnTo>
                <a:lnTo>
                  <a:pt x="2276728" y="996125"/>
                </a:lnTo>
                <a:lnTo>
                  <a:pt x="2276728" y="2160187"/>
                </a:lnTo>
                <a:cubicBezTo>
                  <a:pt x="1979345" y="2161001"/>
                  <a:pt x="1738579" y="2402384"/>
                  <a:pt x="1738579" y="2700000"/>
                </a:cubicBezTo>
                <a:cubicBezTo>
                  <a:pt x="1738579" y="2997617"/>
                  <a:pt x="1979345" y="3238999"/>
                  <a:pt x="2276728" y="3239814"/>
                </a:cubicBezTo>
                <a:lnTo>
                  <a:pt x="2276728" y="3240000"/>
                </a:lnTo>
                <a:lnTo>
                  <a:pt x="0" y="3240000"/>
                </a:lnTo>
                <a:close/>
                <a:moveTo>
                  <a:pt x="1436085" y="0"/>
                </a:moveTo>
                <a:lnTo>
                  <a:pt x="2287664" y="888809"/>
                </a:lnTo>
                <a:lnTo>
                  <a:pt x="1436085" y="88880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</p:spTree>
    <p:extLst>
      <p:ext uri="{BB962C8B-B14F-4D97-AF65-F5344CB8AC3E}">
        <p14:creationId xmlns:p14="http://schemas.microsoft.com/office/powerpoint/2010/main" val="31375832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Fully Editable Icon Sets: B</a:t>
            </a:r>
          </a:p>
        </p:txBody>
      </p:sp>
      <p:sp>
        <p:nvSpPr>
          <p:cNvPr id="54" name="Freeform 47">
            <a:extLst>
              <a:ext uri="{FF2B5EF4-FFF2-40B4-BE49-F238E27FC236}">
                <a16:creationId xmlns:a16="http://schemas.microsoft.com/office/drawing/2014/main" id="{C23D3A46-4648-419A-831A-39A9EF5FA6C6}"/>
              </a:ext>
            </a:extLst>
          </p:cNvPr>
          <p:cNvSpPr>
            <a:spLocks noChangeAspect="1"/>
          </p:cNvSpPr>
          <p:nvPr/>
        </p:nvSpPr>
        <p:spPr>
          <a:xfrm>
            <a:off x="4430860" y="1410562"/>
            <a:ext cx="530134" cy="529812"/>
          </a:xfrm>
          <a:custGeom>
            <a:avLst/>
            <a:gdLst>
              <a:gd name="connsiteX0" fmla="*/ 790984 w 1901727"/>
              <a:gd name="connsiteY0" fmla="*/ 0 h 1985875"/>
              <a:gd name="connsiteX1" fmla="*/ 790984 w 1901727"/>
              <a:gd name="connsiteY1" fmla="*/ 0 h 1985875"/>
              <a:gd name="connsiteX2" fmla="*/ 1026596 w 1901727"/>
              <a:gd name="connsiteY2" fmla="*/ 5610 h 1985875"/>
              <a:gd name="connsiteX3" fmla="*/ 1020986 w 1901727"/>
              <a:gd name="connsiteY3" fmla="*/ 493664 h 1985875"/>
              <a:gd name="connsiteX4" fmla="*/ 1172451 w 1901727"/>
              <a:gd name="connsiteY4" fmla="*/ 605860 h 1985875"/>
              <a:gd name="connsiteX5" fmla="*/ 1357575 w 1901727"/>
              <a:gd name="connsiteY5" fmla="*/ 403907 h 1985875"/>
              <a:gd name="connsiteX6" fmla="*/ 1901727 w 1901727"/>
              <a:gd name="connsiteY6" fmla="*/ 1924167 h 1985875"/>
              <a:gd name="connsiteX7" fmla="*/ 992937 w 1901727"/>
              <a:gd name="connsiteY7" fmla="*/ 1480991 h 1985875"/>
              <a:gd name="connsiteX8" fmla="*/ 1054645 w 1901727"/>
              <a:gd name="connsiteY8" fmla="*/ 1121963 h 1985875"/>
              <a:gd name="connsiteX9" fmla="*/ 1088304 w 1901727"/>
              <a:gd name="connsiteY9" fmla="*/ 757325 h 1985875"/>
              <a:gd name="connsiteX10" fmla="*/ 925619 w 1901727"/>
              <a:gd name="connsiteY10" fmla="*/ 633909 h 1985875"/>
              <a:gd name="connsiteX11" fmla="*/ 729276 w 1901727"/>
              <a:gd name="connsiteY11" fmla="*/ 751715 h 1985875"/>
              <a:gd name="connsiteX12" fmla="*/ 740495 w 1901727"/>
              <a:gd name="connsiteY12" fmla="*/ 1161232 h 1985875"/>
              <a:gd name="connsiteX13" fmla="*/ 785374 w 1901727"/>
              <a:gd name="connsiteY13" fmla="*/ 1509040 h 1985875"/>
              <a:gd name="connsiteX14" fmla="*/ 0 w 1901727"/>
              <a:gd name="connsiteY14" fmla="*/ 1985875 h 1985875"/>
              <a:gd name="connsiteX15" fmla="*/ 437565 w 1901727"/>
              <a:gd name="connsiteY15" fmla="*/ 387077 h 1985875"/>
              <a:gd name="connsiteX16" fmla="*/ 650738 w 1901727"/>
              <a:gd name="connsiteY16" fmla="*/ 611470 h 1985875"/>
              <a:gd name="connsiteX17" fmla="*/ 813423 w 1901727"/>
              <a:gd name="connsiteY17" fmla="*/ 499274 h 1985875"/>
              <a:gd name="connsiteX18" fmla="*/ 790984 w 1901727"/>
              <a:gd name="connsiteY18" fmla="*/ 0 h 1985875"/>
              <a:gd name="connsiteX0" fmla="*/ 790984 w 1901727"/>
              <a:gd name="connsiteY0" fmla="*/ 0 h 1985875"/>
              <a:gd name="connsiteX1" fmla="*/ 790984 w 1901727"/>
              <a:gd name="connsiteY1" fmla="*/ 0 h 1985875"/>
              <a:gd name="connsiteX2" fmla="*/ 1026596 w 1901727"/>
              <a:gd name="connsiteY2" fmla="*/ 5610 h 1985875"/>
              <a:gd name="connsiteX3" fmla="*/ 1020986 w 1901727"/>
              <a:gd name="connsiteY3" fmla="*/ 493664 h 1985875"/>
              <a:gd name="connsiteX4" fmla="*/ 1172451 w 1901727"/>
              <a:gd name="connsiteY4" fmla="*/ 605860 h 1985875"/>
              <a:gd name="connsiteX5" fmla="*/ 1357575 w 1901727"/>
              <a:gd name="connsiteY5" fmla="*/ 403907 h 1985875"/>
              <a:gd name="connsiteX6" fmla="*/ 1901727 w 1901727"/>
              <a:gd name="connsiteY6" fmla="*/ 1924167 h 1985875"/>
              <a:gd name="connsiteX7" fmla="*/ 992937 w 1901727"/>
              <a:gd name="connsiteY7" fmla="*/ 1480991 h 1985875"/>
              <a:gd name="connsiteX8" fmla="*/ 1054645 w 1901727"/>
              <a:gd name="connsiteY8" fmla="*/ 1121963 h 1985875"/>
              <a:gd name="connsiteX9" fmla="*/ 1088304 w 1901727"/>
              <a:gd name="connsiteY9" fmla="*/ 757325 h 1985875"/>
              <a:gd name="connsiteX10" fmla="*/ 920009 w 1901727"/>
              <a:gd name="connsiteY10" fmla="*/ 611470 h 1985875"/>
              <a:gd name="connsiteX11" fmla="*/ 729276 w 1901727"/>
              <a:gd name="connsiteY11" fmla="*/ 751715 h 1985875"/>
              <a:gd name="connsiteX12" fmla="*/ 740495 w 1901727"/>
              <a:gd name="connsiteY12" fmla="*/ 1161232 h 1985875"/>
              <a:gd name="connsiteX13" fmla="*/ 785374 w 1901727"/>
              <a:gd name="connsiteY13" fmla="*/ 1509040 h 1985875"/>
              <a:gd name="connsiteX14" fmla="*/ 0 w 1901727"/>
              <a:gd name="connsiteY14" fmla="*/ 1985875 h 1985875"/>
              <a:gd name="connsiteX15" fmla="*/ 437565 w 1901727"/>
              <a:gd name="connsiteY15" fmla="*/ 387077 h 1985875"/>
              <a:gd name="connsiteX16" fmla="*/ 650738 w 1901727"/>
              <a:gd name="connsiteY16" fmla="*/ 611470 h 1985875"/>
              <a:gd name="connsiteX17" fmla="*/ 813423 w 1901727"/>
              <a:gd name="connsiteY17" fmla="*/ 499274 h 1985875"/>
              <a:gd name="connsiteX18" fmla="*/ 790984 w 1901727"/>
              <a:gd name="connsiteY18" fmla="*/ 0 h 1985875"/>
              <a:gd name="connsiteX0" fmla="*/ 790984 w 1901727"/>
              <a:gd name="connsiteY0" fmla="*/ 0 h 1985875"/>
              <a:gd name="connsiteX1" fmla="*/ 790984 w 1901727"/>
              <a:gd name="connsiteY1" fmla="*/ 0 h 1985875"/>
              <a:gd name="connsiteX2" fmla="*/ 1026596 w 1901727"/>
              <a:gd name="connsiteY2" fmla="*/ 5610 h 1985875"/>
              <a:gd name="connsiteX3" fmla="*/ 1020986 w 1901727"/>
              <a:gd name="connsiteY3" fmla="*/ 493664 h 1985875"/>
              <a:gd name="connsiteX4" fmla="*/ 1172451 w 1901727"/>
              <a:gd name="connsiteY4" fmla="*/ 605860 h 1985875"/>
              <a:gd name="connsiteX5" fmla="*/ 1357575 w 1901727"/>
              <a:gd name="connsiteY5" fmla="*/ 403907 h 1985875"/>
              <a:gd name="connsiteX6" fmla="*/ 1901727 w 1901727"/>
              <a:gd name="connsiteY6" fmla="*/ 1924167 h 1985875"/>
              <a:gd name="connsiteX7" fmla="*/ 992937 w 1901727"/>
              <a:gd name="connsiteY7" fmla="*/ 1480991 h 1985875"/>
              <a:gd name="connsiteX8" fmla="*/ 1054645 w 1901727"/>
              <a:gd name="connsiteY8" fmla="*/ 1121963 h 1985875"/>
              <a:gd name="connsiteX9" fmla="*/ 1088304 w 1901727"/>
              <a:gd name="connsiteY9" fmla="*/ 757325 h 1985875"/>
              <a:gd name="connsiteX10" fmla="*/ 920009 w 1901727"/>
              <a:gd name="connsiteY10" fmla="*/ 611470 h 1985875"/>
              <a:gd name="connsiteX11" fmla="*/ 729276 w 1901727"/>
              <a:gd name="connsiteY11" fmla="*/ 751715 h 1985875"/>
              <a:gd name="connsiteX12" fmla="*/ 740495 w 1901727"/>
              <a:gd name="connsiteY12" fmla="*/ 1161232 h 1985875"/>
              <a:gd name="connsiteX13" fmla="*/ 785374 w 1901727"/>
              <a:gd name="connsiteY13" fmla="*/ 1509040 h 1985875"/>
              <a:gd name="connsiteX14" fmla="*/ 0 w 1901727"/>
              <a:gd name="connsiteY14" fmla="*/ 1985875 h 1985875"/>
              <a:gd name="connsiteX15" fmla="*/ 437565 w 1901727"/>
              <a:gd name="connsiteY15" fmla="*/ 387077 h 1985875"/>
              <a:gd name="connsiteX16" fmla="*/ 650738 w 1901727"/>
              <a:gd name="connsiteY16" fmla="*/ 611470 h 1985875"/>
              <a:gd name="connsiteX17" fmla="*/ 813423 w 1901727"/>
              <a:gd name="connsiteY17" fmla="*/ 499274 h 1985875"/>
              <a:gd name="connsiteX18" fmla="*/ 790984 w 1901727"/>
              <a:gd name="connsiteY18" fmla="*/ 0 h 1985875"/>
              <a:gd name="connsiteX0" fmla="*/ 790984 w 1901727"/>
              <a:gd name="connsiteY0" fmla="*/ 0 h 1985875"/>
              <a:gd name="connsiteX1" fmla="*/ 790984 w 1901727"/>
              <a:gd name="connsiteY1" fmla="*/ 0 h 1985875"/>
              <a:gd name="connsiteX2" fmla="*/ 1026596 w 1901727"/>
              <a:gd name="connsiteY2" fmla="*/ 5610 h 1985875"/>
              <a:gd name="connsiteX3" fmla="*/ 1020986 w 1901727"/>
              <a:gd name="connsiteY3" fmla="*/ 493664 h 1985875"/>
              <a:gd name="connsiteX4" fmla="*/ 1172451 w 1901727"/>
              <a:gd name="connsiteY4" fmla="*/ 605860 h 1985875"/>
              <a:gd name="connsiteX5" fmla="*/ 1357575 w 1901727"/>
              <a:gd name="connsiteY5" fmla="*/ 403907 h 1985875"/>
              <a:gd name="connsiteX6" fmla="*/ 1901727 w 1901727"/>
              <a:gd name="connsiteY6" fmla="*/ 1924167 h 1985875"/>
              <a:gd name="connsiteX7" fmla="*/ 992937 w 1901727"/>
              <a:gd name="connsiteY7" fmla="*/ 1480991 h 1985875"/>
              <a:gd name="connsiteX8" fmla="*/ 1054645 w 1901727"/>
              <a:gd name="connsiteY8" fmla="*/ 1121963 h 1985875"/>
              <a:gd name="connsiteX9" fmla="*/ 1088304 w 1901727"/>
              <a:gd name="connsiteY9" fmla="*/ 757325 h 1985875"/>
              <a:gd name="connsiteX10" fmla="*/ 920009 w 1901727"/>
              <a:gd name="connsiteY10" fmla="*/ 611470 h 1985875"/>
              <a:gd name="connsiteX11" fmla="*/ 729276 w 1901727"/>
              <a:gd name="connsiteY11" fmla="*/ 751715 h 1985875"/>
              <a:gd name="connsiteX12" fmla="*/ 740495 w 1901727"/>
              <a:gd name="connsiteY12" fmla="*/ 1161232 h 1985875"/>
              <a:gd name="connsiteX13" fmla="*/ 785374 w 1901727"/>
              <a:gd name="connsiteY13" fmla="*/ 1509040 h 1985875"/>
              <a:gd name="connsiteX14" fmla="*/ 0 w 1901727"/>
              <a:gd name="connsiteY14" fmla="*/ 1985875 h 1985875"/>
              <a:gd name="connsiteX15" fmla="*/ 437565 w 1901727"/>
              <a:gd name="connsiteY15" fmla="*/ 387077 h 1985875"/>
              <a:gd name="connsiteX16" fmla="*/ 650738 w 1901727"/>
              <a:gd name="connsiteY16" fmla="*/ 611470 h 1985875"/>
              <a:gd name="connsiteX17" fmla="*/ 813423 w 1901727"/>
              <a:gd name="connsiteY17" fmla="*/ 499274 h 1985875"/>
              <a:gd name="connsiteX18" fmla="*/ 790984 w 1901727"/>
              <a:gd name="connsiteY18" fmla="*/ 0 h 1985875"/>
              <a:gd name="connsiteX0" fmla="*/ 790984 w 1901727"/>
              <a:gd name="connsiteY0" fmla="*/ 0 h 1985875"/>
              <a:gd name="connsiteX1" fmla="*/ 790984 w 1901727"/>
              <a:gd name="connsiteY1" fmla="*/ 0 h 1985875"/>
              <a:gd name="connsiteX2" fmla="*/ 1026596 w 1901727"/>
              <a:gd name="connsiteY2" fmla="*/ 5610 h 1985875"/>
              <a:gd name="connsiteX3" fmla="*/ 1020986 w 1901727"/>
              <a:gd name="connsiteY3" fmla="*/ 493664 h 1985875"/>
              <a:gd name="connsiteX4" fmla="*/ 1172451 w 1901727"/>
              <a:gd name="connsiteY4" fmla="*/ 605860 h 1985875"/>
              <a:gd name="connsiteX5" fmla="*/ 1351965 w 1901727"/>
              <a:gd name="connsiteY5" fmla="*/ 375858 h 1985875"/>
              <a:gd name="connsiteX6" fmla="*/ 1901727 w 1901727"/>
              <a:gd name="connsiteY6" fmla="*/ 1924167 h 1985875"/>
              <a:gd name="connsiteX7" fmla="*/ 992937 w 1901727"/>
              <a:gd name="connsiteY7" fmla="*/ 1480991 h 1985875"/>
              <a:gd name="connsiteX8" fmla="*/ 1054645 w 1901727"/>
              <a:gd name="connsiteY8" fmla="*/ 1121963 h 1985875"/>
              <a:gd name="connsiteX9" fmla="*/ 1088304 w 1901727"/>
              <a:gd name="connsiteY9" fmla="*/ 757325 h 1985875"/>
              <a:gd name="connsiteX10" fmla="*/ 920009 w 1901727"/>
              <a:gd name="connsiteY10" fmla="*/ 611470 h 1985875"/>
              <a:gd name="connsiteX11" fmla="*/ 729276 w 1901727"/>
              <a:gd name="connsiteY11" fmla="*/ 751715 h 1985875"/>
              <a:gd name="connsiteX12" fmla="*/ 740495 w 1901727"/>
              <a:gd name="connsiteY12" fmla="*/ 1161232 h 1985875"/>
              <a:gd name="connsiteX13" fmla="*/ 785374 w 1901727"/>
              <a:gd name="connsiteY13" fmla="*/ 1509040 h 1985875"/>
              <a:gd name="connsiteX14" fmla="*/ 0 w 1901727"/>
              <a:gd name="connsiteY14" fmla="*/ 1985875 h 1985875"/>
              <a:gd name="connsiteX15" fmla="*/ 437565 w 1901727"/>
              <a:gd name="connsiteY15" fmla="*/ 387077 h 1985875"/>
              <a:gd name="connsiteX16" fmla="*/ 650738 w 1901727"/>
              <a:gd name="connsiteY16" fmla="*/ 611470 h 1985875"/>
              <a:gd name="connsiteX17" fmla="*/ 813423 w 1901727"/>
              <a:gd name="connsiteY17" fmla="*/ 499274 h 1985875"/>
              <a:gd name="connsiteX18" fmla="*/ 790984 w 1901727"/>
              <a:gd name="connsiteY18" fmla="*/ 0 h 1985875"/>
              <a:gd name="connsiteX0" fmla="*/ 790984 w 1901727"/>
              <a:gd name="connsiteY0" fmla="*/ 0 h 1985875"/>
              <a:gd name="connsiteX1" fmla="*/ 790984 w 1901727"/>
              <a:gd name="connsiteY1" fmla="*/ 0 h 1985875"/>
              <a:gd name="connsiteX2" fmla="*/ 1026596 w 1901727"/>
              <a:gd name="connsiteY2" fmla="*/ 5610 h 1985875"/>
              <a:gd name="connsiteX3" fmla="*/ 1020986 w 1901727"/>
              <a:gd name="connsiteY3" fmla="*/ 493664 h 1985875"/>
              <a:gd name="connsiteX4" fmla="*/ 1172451 w 1901727"/>
              <a:gd name="connsiteY4" fmla="*/ 605860 h 1985875"/>
              <a:gd name="connsiteX5" fmla="*/ 1351965 w 1901727"/>
              <a:gd name="connsiteY5" fmla="*/ 375858 h 1985875"/>
              <a:gd name="connsiteX6" fmla="*/ 1901727 w 1901727"/>
              <a:gd name="connsiteY6" fmla="*/ 1924167 h 1985875"/>
              <a:gd name="connsiteX7" fmla="*/ 992937 w 1901727"/>
              <a:gd name="connsiteY7" fmla="*/ 1480991 h 1985875"/>
              <a:gd name="connsiteX8" fmla="*/ 1054645 w 1901727"/>
              <a:gd name="connsiteY8" fmla="*/ 1121963 h 1985875"/>
              <a:gd name="connsiteX9" fmla="*/ 1088304 w 1901727"/>
              <a:gd name="connsiteY9" fmla="*/ 757325 h 1985875"/>
              <a:gd name="connsiteX10" fmla="*/ 920009 w 1901727"/>
              <a:gd name="connsiteY10" fmla="*/ 611470 h 1985875"/>
              <a:gd name="connsiteX11" fmla="*/ 729276 w 1901727"/>
              <a:gd name="connsiteY11" fmla="*/ 751715 h 1985875"/>
              <a:gd name="connsiteX12" fmla="*/ 740495 w 1901727"/>
              <a:gd name="connsiteY12" fmla="*/ 1161232 h 1985875"/>
              <a:gd name="connsiteX13" fmla="*/ 785374 w 1901727"/>
              <a:gd name="connsiteY13" fmla="*/ 1509040 h 1985875"/>
              <a:gd name="connsiteX14" fmla="*/ 0 w 1901727"/>
              <a:gd name="connsiteY14" fmla="*/ 1985875 h 1985875"/>
              <a:gd name="connsiteX15" fmla="*/ 437565 w 1901727"/>
              <a:gd name="connsiteY15" fmla="*/ 387077 h 1985875"/>
              <a:gd name="connsiteX16" fmla="*/ 650738 w 1901727"/>
              <a:gd name="connsiteY16" fmla="*/ 611470 h 1985875"/>
              <a:gd name="connsiteX17" fmla="*/ 813423 w 1901727"/>
              <a:gd name="connsiteY17" fmla="*/ 499274 h 1985875"/>
              <a:gd name="connsiteX18" fmla="*/ 790984 w 1901727"/>
              <a:gd name="connsiteY18" fmla="*/ 0 h 1985875"/>
              <a:gd name="connsiteX0" fmla="*/ 790984 w 1901727"/>
              <a:gd name="connsiteY0" fmla="*/ 0 h 1985875"/>
              <a:gd name="connsiteX1" fmla="*/ 790984 w 1901727"/>
              <a:gd name="connsiteY1" fmla="*/ 0 h 1985875"/>
              <a:gd name="connsiteX2" fmla="*/ 1026596 w 1901727"/>
              <a:gd name="connsiteY2" fmla="*/ 5610 h 1985875"/>
              <a:gd name="connsiteX3" fmla="*/ 1020986 w 1901727"/>
              <a:gd name="connsiteY3" fmla="*/ 493664 h 1985875"/>
              <a:gd name="connsiteX4" fmla="*/ 1155622 w 1901727"/>
              <a:gd name="connsiteY4" fmla="*/ 572201 h 1985875"/>
              <a:gd name="connsiteX5" fmla="*/ 1351965 w 1901727"/>
              <a:gd name="connsiteY5" fmla="*/ 375858 h 1985875"/>
              <a:gd name="connsiteX6" fmla="*/ 1901727 w 1901727"/>
              <a:gd name="connsiteY6" fmla="*/ 1924167 h 1985875"/>
              <a:gd name="connsiteX7" fmla="*/ 992937 w 1901727"/>
              <a:gd name="connsiteY7" fmla="*/ 1480991 h 1985875"/>
              <a:gd name="connsiteX8" fmla="*/ 1054645 w 1901727"/>
              <a:gd name="connsiteY8" fmla="*/ 1121963 h 1985875"/>
              <a:gd name="connsiteX9" fmla="*/ 1088304 w 1901727"/>
              <a:gd name="connsiteY9" fmla="*/ 757325 h 1985875"/>
              <a:gd name="connsiteX10" fmla="*/ 920009 w 1901727"/>
              <a:gd name="connsiteY10" fmla="*/ 611470 h 1985875"/>
              <a:gd name="connsiteX11" fmla="*/ 729276 w 1901727"/>
              <a:gd name="connsiteY11" fmla="*/ 751715 h 1985875"/>
              <a:gd name="connsiteX12" fmla="*/ 740495 w 1901727"/>
              <a:gd name="connsiteY12" fmla="*/ 1161232 h 1985875"/>
              <a:gd name="connsiteX13" fmla="*/ 785374 w 1901727"/>
              <a:gd name="connsiteY13" fmla="*/ 1509040 h 1985875"/>
              <a:gd name="connsiteX14" fmla="*/ 0 w 1901727"/>
              <a:gd name="connsiteY14" fmla="*/ 1985875 h 1985875"/>
              <a:gd name="connsiteX15" fmla="*/ 437565 w 1901727"/>
              <a:gd name="connsiteY15" fmla="*/ 387077 h 1985875"/>
              <a:gd name="connsiteX16" fmla="*/ 650738 w 1901727"/>
              <a:gd name="connsiteY16" fmla="*/ 611470 h 1985875"/>
              <a:gd name="connsiteX17" fmla="*/ 813423 w 1901727"/>
              <a:gd name="connsiteY17" fmla="*/ 499274 h 1985875"/>
              <a:gd name="connsiteX18" fmla="*/ 790984 w 1901727"/>
              <a:gd name="connsiteY18" fmla="*/ 0 h 1985875"/>
              <a:gd name="connsiteX0" fmla="*/ 790984 w 1901727"/>
              <a:gd name="connsiteY0" fmla="*/ 0 h 1985875"/>
              <a:gd name="connsiteX1" fmla="*/ 790984 w 1901727"/>
              <a:gd name="connsiteY1" fmla="*/ 0 h 1985875"/>
              <a:gd name="connsiteX2" fmla="*/ 1026596 w 1901727"/>
              <a:gd name="connsiteY2" fmla="*/ 5610 h 1985875"/>
              <a:gd name="connsiteX3" fmla="*/ 1020986 w 1901727"/>
              <a:gd name="connsiteY3" fmla="*/ 493664 h 1985875"/>
              <a:gd name="connsiteX4" fmla="*/ 1155622 w 1901727"/>
              <a:gd name="connsiteY4" fmla="*/ 572201 h 1985875"/>
              <a:gd name="connsiteX5" fmla="*/ 1351965 w 1901727"/>
              <a:gd name="connsiteY5" fmla="*/ 375858 h 1985875"/>
              <a:gd name="connsiteX6" fmla="*/ 1901727 w 1901727"/>
              <a:gd name="connsiteY6" fmla="*/ 1924167 h 1985875"/>
              <a:gd name="connsiteX7" fmla="*/ 992937 w 1901727"/>
              <a:gd name="connsiteY7" fmla="*/ 1480991 h 1985875"/>
              <a:gd name="connsiteX8" fmla="*/ 1054645 w 1901727"/>
              <a:gd name="connsiteY8" fmla="*/ 1121963 h 1985875"/>
              <a:gd name="connsiteX9" fmla="*/ 1088304 w 1901727"/>
              <a:gd name="connsiteY9" fmla="*/ 757325 h 1985875"/>
              <a:gd name="connsiteX10" fmla="*/ 920009 w 1901727"/>
              <a:gd name="connsiteY10" fmla="*/ 611470 h 1985875"/>
              <a:gd name="connsiteX11" fmla="*/ 729276 w 1901727"/>
              <a:gd name="connsiteY11" fmla="*/ 751715 h 1985875"/>
              <a:gd name="connsiteX12" fmla="*/ 740495 w 1901727"/>
              <a:gd name="connsiteY12" fmla="*/ 1161232 h 1985875"/>
              <a:gd name="connsiteX13" fmla="*/ 785374 w 1901727"/>
              <a:gd name="connsiteY13" fmla="*/ 1509040 h 1985875"/>
              <a:gd name="connsiteX14" fmla="*/ 0 w 1901727"/>
              <a:gd name="connsiteY14" fmla="*/ 1985875 h 1985875"/>
              <a:gd name="connsiteX15" fmla="*/ 437565 w 1901727"/>
              <a:gd name="connsiteY15" fmla="*/ 387077 h 1985875"/>
              <a:gd name="connsiteX16" fmla="*/ 650738 w 1901727"/>
              <a:gd name="connsiteY16" fmla="*/ 611470 h 1985875"/>
              <a:gd name="connsiteX17" fmla="*/ 813423 w 1901727"/>
              <a:gd name="connsiteY17" fmla="*/ 499274 h 1985875"/>
              <a:gd name="connsiteX18" fmla="*/ 790984 w 1901727"/>
              <a:gd name="connsiteY18" fmla="*/ 0 h 1985875"/>
              <a:gd name="connsiteX0" fmla="*/ 790984 w 1901727"/>
              <a:gd name="connsiteY0" fmla="*/ 0 h 1985875"/>
              <a:gd name="connsiteX1" fmla="*/ 790984 w 1901727"/>
              <a:gd name="connsiteY1" fmla="*/ 0 h 1985875"/>
              <a:gd name="connsiteX2" fmla="*/ 1026596 w 1901727"/>
              <a:gd name="connsiteY2" fmla="*/ 5610 h 1985875"/>
              <a:gd name="connsiteX3" fmla="*/ 1020986 w 1901727"/>
              <a:gd name="connsiteY3" fmla="*/ 493664 h 1985875"/>
              <a:gd name="connsiteX4" fmla="*/ 1155622 w 1901727"/>
              <a:gd name="connsiteY4" fmla="*/ 572201 h 1985875"/>
              <a:gd name="connsiteX5" fmla="*/ 1351965 w 1901727"/>
              <a:gd name="connsiteY5" fmla="*/ 375858 h 1985875"/>
              <a:gd name="connsiteX6" fmla="*/ 1901727 w 1901727"/>
              <a:gd name="connsiteY6" fmla="*/ 1924167 h 1985875"/>
              <a:gd name="connsiteX7" fmla="*/ 992937 w 1901727"/>
              <a:gd name="connsiteY7" fmla="*/ 1480991 h 1985875"/>
              <a:gd name="connsiteX8" fmla="*/ 1054645 w 1901727"/>
              <a:gd name="connsiteY8" fmla="*/ 1121963 h 1985875"/>
              <a:gd name="connsiteX9" fmla="*/ 1088304 w 1901727"/>
              <a:gd name="connsiteY9" fmla="*/ 757325 h 1985875"/>
              <a:gd name="connsiteX10" fmla="*/ 920009 w 1901727"/>
              <a:gd name="connsiteY10" fmla="*/ 611470 h 1985875"/>
              <a:gd name="connsiteX11" fmla="*/ 729276 w 1901727"/>
              <a:gd name="connsiteY11" fmla="*/ 751715 h 1985875"/>
              <a:gd name="connsiteX12" fmla="*/ 740495 w 1901727"/>
              <a:gd name="connsiteY12" fmla="*/ 1161232 h 1985875"/>
              <a:gd name="connsiteX13" fmla="*/ 785374 w 1901727"/>
              <a:gd name="connsiteY13" fmla="*/ 1509040 h 1985875"/>
              <a:gd name="connsiteX14" fmla="*/ 0 w 1901727"/>
              <a:gd name="connsiteY14" fmla="*/ 1985875 h 1985875"/>
              <a:gd name="connsiteX15" fmla="*/ 437565 w 1901727"/>
              <a:gd name="connsiteY15" fmla="*/ 387077 h 1985875"/>
              <a:gd name="connsiteX16" fmla="*/ 650738 w 1901727"/>
              <a:gd name="connsiteY16" fmla="*/ 611470 h 1985875"/>
              <a:gd name="connsiteX17" fmla="*/ 813423 w 1901727"/>
              <a:gd name="connsiteY17" fmla="*/ 499274 h 1985875"/>
              <a:gd name="connsiteX18" fmla="*/ 790984 w 1901727"/>
              <a:gd name="connsiteY18" fmla="*/ 0 h 1985875"/>
              <a:gd name="connsiteX0" fmla="*/ 790984 w 1942424"/>
              <a:gd name="connsiteY0" fmla="*/ 0 h 1985875"/>
              <a:gd name="connsiteX1" fmla="*/ 790984 w 1942424"/>
              <a:gd name="connsiteY1" fmla="*/ 0 h 1985875"/>
              <a:gd name="connsiteX2" fmla="*/ 1026596 w 1942424"/>
              <a:gd name="connsiteY2" fmla="*/ 5610 h 1985875"/>
              <a:gd name="connsiteX3" fmla="*/ 1020986 w 1942424"/>
              <a:gd name="connsiteY3" fmla="*/ 493664 h 1985875"/>
              <a:gd name="connsiteX4" fmla="*/ 1155622 w 1942424"/>
              <a:gd name="connsiteY4" fmla="*/ 572201 h 1985875"/>
              <a:gd name="connsiteX5" fmla="*/ 1351965 w 1942424"/>
              <a:gd name="connsiteY5" fmla="*/ 375858 h 1985875"/>
              <a:gd name="connsiteX6" fmla="*/ 1901727 w 1942424"/>
              <a:gd name="connsiteY6" fmla="*/ 1924167 h 1985875"/>
              <a:gd name="connsiteX7" fmla="*/ 992937 w 1942424"/>
              <a:gd name="connsiteY7" fmla="*/ 1480991 h 1985875"/>
              <a:gd name="connsiteX8" fmla="*/ 1054645 w 1942424"/>
              <a:gd name="connsiteY8" fmla="*/ 1121963 h 1985875"/>
              <a:gd name="connsiteX9" fmla="*/ 1088304 w 1942424"/>
              <a:gd name="connsiteY9" fmla="*/ 757325 h 1985875"/>
              <a:gd name="connsiteX10" fmla="*/ 920009 w 1942424"/>
              <a:gd name="connsiteY10" fmla="*/ 611470 h 1985875"/>
              <a:gd name="connsiteX11" fmla="*/ 729276 w 1942424"/>
              <a:gd name="connsiteY11" fmla="*/ 751715 h 1985875"/>
              <a:gd name="connsiteX12" fmla="*/ 740495 w 1942424"/>
              <a:gd name="connsiteY12" fmla="*/ 1161232 h 1985875"/>
              <a:gd name="connsiteX13" fmla="*/ 785374 w 1942424"/>
              <a:gd name="connsiteY13" fmla="*/ 1509040 h 1985875"/>
              <a:gd name="connsiteX14" fmla="*/ 0 w 1942424"/>
              <a:gd name="connsiteY14" fmla="*/ 1985875 h 1985875"/>
              <a:gd name="connsiteX15" fmla="*/ 437565 w 1942424"/>
              <a:gd name="connsiteY15" fmla="*/ 387077 h 1985875"/>
              <a:gd name="connsiteX16" fmla="*/ 650738 w 1942424"/>
              <a:gd name="connsiteY16" fmla="*/ 611470 h 1985875"/>
              <a:gd name="connsiteX17" fmla="*/ 813423 w 1942424"/>
              <a:gd name="connsiteY17" fmla="*/ 499274 h 1985875"/>
              <a:gd name="connsiteX18" fmla="*/ 790984 w 1942424"/>
              <a:gd name="connsiteY18" fmla="*/ 0 h 1985875"/>
              <a:gd name="connsiteX0" fmla="*/ 790984 w 1942424"/>
              <a:gd name="connsiteY0" fmla="*/ 0 h 1985875"/>
              <a:gd name="connsiteX1" fmla="*/ 790984 w 1942424"/>
              <a:gd name="connsiteY1" fmla="*/ 0 h 1985875"/>
              <a:gd name="connsiteX2" fmla="*/ 1026596 w 1942424"/>
              <a:gd name="connsiteY2" fmla="*/ 5610 h 1985875"/>
              <a:gd name="connsiteX3" fmla="*/ 1020986 w 1942424"/>
              <a:gd name="connsiteY3" fmla="*/ 493664 h 1985875"/>
              <a:gd name="connsiteX4" fmla="*/ 1155622 w 1942424"/>
              <a:gd name="connsiteY4" fmla="*/ 572201 h 1985875"/>
              <a:gd name="connsiteX5" fmla="*/ 1351965 w 1942424"/>
              <a:gd name="connsiteY5" fmla="*/ 375858 h 1985875"/>
              <a:gd name="connsiteX6" fmla="*/ 1901727 w 1942424"/>
              <a:gd name="connsiteY6" fmla="*/ 1924167 h 1985875"/>
              <a:gd name="connsiteX7" fmla="*/ 992937 w 1942424"/>
              <a:gd name="connsiteY7" fmla="*/ 1480991 h 1985875"/>
              <a:gd name="connsiteX8" fmla="*/ 1054645 w 1942424"/>
              <a:gd name="connsiteY8" fmla="*/ 1121963 h 1985875"/>
              <a:gd name="connsiteX9" fmla="*/ 1088304 w 1942424"/>
              <a:gd name="connsiteY9" fmla="*/ 757325 h 1985875"/>
              <a:gd name="connsiteX10" fmla="*/ 920009 w 1942424"/>
              <a:gd name="connsiteY10" fmla="*/ 611470 h 1985875"/>
              <a:gd name="connsiteX11" fmla="*/ 729276 w 1942424"/>
              <a:gd name="connsiteY11" fmla="*/ 751715 h 1985875"/>
              <a:gd name="connsiteX12" fmla="*/ 740495 w 1942424"/>
              <a:gd name="connsiteY12" fmla="*/ 1161232 h 1985875"/>
              <a:gd name="connsiteX13" fmla="*/ 785374 w 1942424"/>
              <a:gd name="connsiteY13" fmla="*/ 1509040 h 1985875"/>
              <a:gd name="connsiteX14" fmla="*/ 0 w 1942424"/>
              <a:gd name="connsiteY14" fmla="*/ 1985875 h 1985875"/>
              <a:gd name="connsiteX15" fmla="*/ 437565 w 1942424"/>
              <a:gd name="connsiteY15" fmla="*/ 387077 h 1985875"/>
              <a:gd name="connsiteX16" fmla="*/ 650738 w 1942424"/>
              <a:gd name="connsiteY16" fmla="*/ 611470 h 1985875"/>
              <a:gd name="connsiteX17" fmla="*/ 813423 w 1942424"/>
              <a:gd name="connsiteY17" fmla="*/ 499274 h 1985875"/>
              <a:gd name="connsiteX18" fmla="*/ 790984 w 1942424"/>
              <a:gd name="connsiteY18" fmla="*/ 0 h 1985875"/>
              <a:gd name="connsiteX0" fmla="*/ 790984 w 1946874"/>
              <a:gd name="connsiteY0" fmla="*/ 0 h 1985875"/>
              <a:gd name="connsiteX1" fmla="*/ 790984 w 1946874"/>
              <a:gd name="connsiteY1" fmla="*/ 0 h 1985875"/>
              <a:gd name="connsiteX2" fmla="*/ 1026596 w 1946874"/>
              <a:gd name="connsiteY2" fmla="*/ 5610 h 1985875"/>
              <a:gd name="connsiteX3" fmla="*/ 1020986 w 1946874"/>
              <a:gd name="connsiteY3" fmla="*/ 493664 h 1985875"/>
              <a:gd name="connsiteX4" fmla="*/ 1155622 w 1946874"/>
              <a:gd name="connsiteY4" fmla="*/ 572201 h 1985875"/>
              <a:gd name="connsiteX5" fmla="*/ 1351965 w 1946874"/>
              <a:gd name="connsiteY5" fmla="*/ 375858 h 1985875"/>
              <a:gd name="connsiteX6" fmla="*/ 1901727 w 1946874"/>
              <a:gd name="connsiteY6" fmla="*/ 1924167 h 1985875"/>
              <a:gd name="connsiteX7" fmla="*/ 992937 w 1946874"/>
              <a:gd name="connsiteY7" fmla="*/ 1480991 h 1985875"/>
              <a:gd name="connsiteX8" fmla="*/ 1054645 w 1946874"/>
              <a:gd name="connsiteY8" fmla="*/ 1121963 h 1985875"/>
              <a:gd name="connsiteX9" fmla="*/ 1088304 w 1946874"/>
              <a:gd name="connsiteY9" fmla="*/ 757325 h 1985875"/>
              <a:gd name="connsiteX10" fmla="*/ 920009 w 1946874"/>
              <a:gd name="connsiteY10" fmla="*/ 611470 h 1985875"/>
              <a:gd name="connsiteX11" fmla="*/ 729276 w 1946874"/>
              <a:gd name="connsiteY11" fmla="*/ 751715 h 1985875"/>
              <a:gd name="connsiteX12" fmla="*/ 740495 w 1946874"/>
              <a:gd name="connsiteY12" fmla="*/ 1161232 h 1985875"/>
              <a:gd name="connsiteX13" fmla="*/ 785374 w 1946874"/>
              <a:gd name="connsiteY13" fmla="*/ 1509040 h 1985875"/>
              <a:gd name="connsiteX14" fmla="*/ 0 w 1946874"/>
              <a:gd name="connsiteY14" fmla="*/ 1985875 h 1985875"/>
              <a:gd name="connsiteX15" fmla="*/ 437565 w 1946874"/>
              <a:gd name="connsiteY15" fmla="*/ 387077 h 1985875"/>
              <a:gd name="connsiteX16" fmla="*/ 650738 w 1946874"/>
              <a:gd name="connsiteY16" fmla="*/ 611470 h 1985875"/>
              <a:gd name="connsiteX17" fmla="*/ 813423 w 1946874"/>
              <a:gd name="connsiteY17" fmla="*/ 499274 h 1985875"/>
              <a:gd name="connsiteX18" fmla="*/ 790984 w 1946874"/>
              <a:gd name="connsiteY18" fmla="*/ 0 h 1985875"/>
              <a:gd name="connsiteX0" fmla="*/ 790984 w 1946874"/>
              <a:gd name="connsiteY0" fmla="*/ 0 h 1985875"/>
              <a:gd name="connsiteX1" fmla="*/ 790984 w 1946874"/>
              <a:gd name="connsiteY1" fmla="*/ 0 h 1985875"/>
              <a:gd name="connsiteX2" fmla="*/ 1026596 w 1946874"/>
              <a:gd name="connsiteY2" fmla="*/ 5610 h 1985875"/>
              <a:gd name="connsiteX3" fmla="*/ 1020986 w 1946874"/>
              <a:gd name="connsiteY3" fmla="*/ 493664 h 1985875"/>
              <a:gd name="connsiteX4" fmla="*/ 1155622 w 1946874"/>
              <a:gd name="connsiteY4" fmla="*/ 572201 h 1985875"/>
              <a:gd name="connsiteX5" fmla="*/ 1351965 w 1946874"/>
              <a:gd name="connsiteY5" fmla="*/ 375858 h 1985875"/>
              <a:gd name="connsiteX6" fmla="*/ 1901727 w 1946874"/>
              <a:gd name="connsiteY6" fmla="*/ 1924167 h 1985875"/>
              <a:gd name="connsiteX7" fmla="*/ 992937 w 1946874"/>
              <a:gd name="connsiteY7" fmla="*/ 1480991 h 1985875"/>
              <a:gd name="connsiteX8" fmla="*/ 1054645 w 1946874"/>
              <a:gd name="connsiteY8" fmla="*/ 1121963 h 1985875"/>
              <a:gd name="connsiteX9" fmla="*/ 1088304 w 1946874"/>
              <a:gd name="connsiteY9" fmla="*/ 757325 h 1985875"/>
              <a:gd name="connsiteX10" fmla="*/ 920009 w 1946874"/>
              <a:gd name="connsiteY10" fmla="*/ 611470 h 1985875"/>
              <a:gd name="connsiteX11" fmla="*/ 729276 w 1946874"/>
              <a:gd name="connsiteY11" fmla="*/ 751715 h 1985875"/>
              <a:gd name="connsiteX12" fmla="*/ 740495 w 1946874"/>
              <a:gd name="connsiteY12" fmla="*/ 1161232 h 1985875"/>
              <a:gd name="connsiteX13" fmla="*/ 785374 w 1946874"/>
              <a:gd name="connsiteY13" fmla="*/ 1509040 h 1985875"/>
              <a:gd name="connsiteX14" fmla="*/ 0 w 1946874"/>
              <a:gd name="connsiteY14" fmla="*/ 1985875 h 1985875"/>
              <a:gd name="connsiteX15" fmla="*/ 437565 w 1946874"/>
              <a:gd name="connsiteY15" fmla="*/ 387077 h 1985875"/>
              <a:gd name="connsiteX16" fmla="*/ 650738 w 1946874"/>
              <a:gd name="connsiteY16" fmla="*/ 611470 h 1985875"/>
              <a:gd name="connsiteX17" fmla="*/ 813423 w 1946874"/>
              <a:gd name="connsiteY17" fmla="*/ 499274 h 1985875"/>
              <a:gd name="connsiteX18" fmla="*/ 790984 w 1946874"/>
              <a:gd name="connsiteY18" fmla="*/ 0 h 1985875"/>
              <a:gd name="connsiteX0" fmla="*/ 790984 w 1946874"/>
              <a:gd name="connsiteY0" fmla="*/ 0 h 1985875"/>
              <a:gd name="connsiteX1" fmla="*/ 790984 w 1946874"/>
              <a:gd name="connsiteY1" fmla="*/ 0 h 1985875"/>
              <a:gd name="connsiteX2" fmla="*/ 1026596 w 1946874"/>
              <a:gd name="connsiteY2" fmla="*/ 5610 h 1985875"/>
              <a:gd name="connsiteX3" fmla="*/ 1020986 w 1946874"/>
              <a:gd name="connsiteY3" fmla="*/ 493664 h 1985875"/>
              <a:gd name="connsiteX4" fmla="*/ 1155622 w 1946874"/>
              <a:gd name="connsiteY4" fmla="*/ 572201 h 1985875"/>
              <a:gd name="connsiteX5" fmla="*/ 1351965 w 1946874"/>
              <a:gd name="connsiteY5" fmla="*/ 375858 h 1985875"/>
              <a:gd name="connsiteX6" fmla="*/ 1901727 w 1946874"/>
              <a:gd name="connsiteY6" fmla="*/ 1924167 h 1985875"/>
              <a:gd name="connsiteX7" fmla="*/ 992937 w 1946874"/>
              <a:gd name="connsiteY7" fmla="*/ 1480991 h 1985875"/>
              <a:gd name="connsiteX8" fmla="*/ 1037816 w 1946874"/>
              <a:gd name="connsiteY8" fmla="*/ 1161232 h 1985875"/>
              <a:gd name="connsiteX9" fmla="*/ 1088304 w 1946874"/>
              <a:gd name="connsiteY9" fmla="*/ 757325 h 1985875"/>
              <a:gd name="connsiteX10" fmla="*/ 920009 w 1946874"/>
              <a:gd name="connsiteY10" fmla="*/ 611470 h 1985875"/>
              <a:gd name="connsiteX11" fmla="*/ 729276 w 1946874"/>
              <a:gd name="connsiteY11" fmla="*/ 751715 h 1985875"/>
              <a:gd name="connsiteX12" fmla="*/ 740495 w 1946874"/>
              <a:gd name="connsiteY12" fmla="*/ 1161232 h 1985875"/>
              <a:gd name="connsiteX13" fmla="*/ 785374 w 1946874"/>
              <a:gd name="connsiteY13" fmla="*/ 1509040 h 1985875"/>
              <a:gd name="connsiteX14" fmla="*/ 0 w 1946874"/>
              <a:gd name="connsiteY14" fmla="*/ 1985875 h 1985875"/>
              <a:gd name="connsiteX15" fmla="*/ 437565 w 1946874"/>
              <a:gd name="connsiteY15" fmla="*/ 387077 h 1985875"/>
              <a:gd name="connsiteX16" fmla="*/ 650738 w 1946874"/>
              <a:gd name="connsiteY16" fmla="*/ 611470 h 1985875"/>
              <a:gd name="connsiteX17" fmla="*/ 813423 w 1946874"/>
              <a:gd name="connsiteY17" fmla="*/ 499274 h 1985875"/>
              <a:gd name="connsiteX18" fmla="*/ 790984 w 1946874"/>
              <a:gd name="connsiteY18" fmla="*/ 0 h 1985875"/>
              <a:gd name="connsiteX0" fmla="*/ 790984 w 1946874"/>
              <a:gd name="connsiteY0" fmla="*/ 0 h 1985875"/>
              <a:gd name="connsiteX1" fmla="*/ 790984 w 1946874"/>
              <a:gd name="connsiteY1" fmla="*/ 0 h 1985875"/>
              <a:gd name="connsiteX2" fmla="*/ 1026596 w 1946874"/>
              <a:gd name="connsiteY2" fmla="*/ 5610 h 1985875"/>
              <a:gd name="connsiteX3" fmla="*/ 1020986 w 1946874"/>
              <a:gd name="connsiteY3" fmla="*/ 493664 h 1985875"/>
              <a:gd name="connsiteX4" fmla="*/ 1155622 w 1946874"/>
              <a:gd name="connsiteY4" fmla="*/ 572201 h 1985875"/>
              <a:gd name="connsiteX5" fmla="*/ 1351965 w 1946874"/>
              <a:gd name="connsiteY5" fmla="*/ 375858 h 1985875"/>
              <a:gd name="connsiteX6" fmla="*/ 1901727 w 1946874"/>
              <a:gd name="connsiteY6" fmla="*/ 1924167 h 1985875"/>
              <a:gd name="connsiteX7" fmla="*/ 992937 w 1946874"/>
              <a:gd name="connsiteY7" fmla="*/ 1480991 h 1985875"/>
              <a:gd name="connsiteX8" fmla="*/ 1037816 w 1946874"/>
              <a:gd name="connsiteY8" fmla="*/ 1161232 h 1985875"/>
              <a:gd name="connsiteX9" fmla="*/ 1088304 w 1946874"/>
              <a:gd name="connsiteY9" fmla="*/ 757325 h 1985875"/>
              <a:gd name="connsiteX10" fmla="*/ 920009 w 1946874"/>
              <a:gd name="connsiteY10" fmla="*/ 611470 h 1985875"/>
              <a:gd name="connsiteX11" fmla="*/ 729276 w 1946874"/>
              <a:gd name="connsiteY11" fmla="*/ 751715 h 1985875"/>
              <a:gd name="connsiteX12" fmla="*/ 740495 w 1946874"/>
              <a:gd name="connsiteY12" fmla="*/ 1161232 h 1985875"/>
              <a:gd name="connsiteX13" fmla="*/ 785374 w 1946874"/>
              <a:gd name="connsiteY13" fmla="*/ 1509040 h 1985875"/>
              <a:gd name="connsiteX14" fmla="*/ 0 w 1946874"/>
              <a:gd name="connsiteY14" fmla="*/ 1985875 h 1985875"/>
              <a:gd name="connsiteX15" fmla="*/ 437565 w 1946874"/>
              <a:gd name="connsiteY15" fmla="*/ 387077 h 1985875"/>
              <a:gd name="connsiteX16" fmla="*/ 650738 w 1946874"/>
              <a:gd name="connsiteY16" fmla="*/ 611470 h 1985875"/>
              <a:gd name="connsiteX17" fmla="*/ 813423 w 1946874"/>
              <a:gd name="connsiteY17" fmla="*/ 499274 h 1985875"/>
              <a:gd name="connsiteX18" fmla="*/ 790984 w 1946874"/>
              <a:gd name="connsiteY18" fmla="*/ 0 h 1985875"/>
              <a:gd name="connsiteX0" fmla="*/ 790984 w 1946874"/>
              <a:gd name="connsiteY0" fmla="*/ 0 h 1985875"/>
              <a:gd name="connsiteX1" fmla="*/ 790984 w 1946874"/>
              <a:gd name="connsiteY1" fmla="*/ 0 h 1985875"/>
              <a:gd name="connsiteX2" fmla="*/ 1026596 w 1946874"/>
              <a:gd name="connsiteY2" fmla="*/ 5610 h 1985875"/>
              <a:gd name="connsiteX3" fmla="*/ 1020986 w 1946874"/>
              <a:gd name="connsiteY3" fmla="*/ 493664 h 1985875"/>
              <a:gd name="connsiteX4" fmla="*/ 1155622 w 1946874"/>
              <a:gd name="connsiteY4" fmla="*/ 572201 h 1985875"/>
              <a:gd name="connsiteX5" fmla="*/ 1351965 w 1946874"/>
              <a:gd name="connsiteY5" fmla="*/ 375858 h 1985875"/>
              <a:gd name="connsiteX6" fmla="*/ 1901727 w 1946874"/>
              <a:gd name="connsiteY6" fmla="*/ 1924167 h 1985875"/>
              <a:gd name="connsiteX7" fmla="*/ 992937 w 1946874"/>
              <a:gd name="connsiteY7" fmla="*/ 1480991 h 1985875"/>
              <a:gd name="connsiteX8" fmla="*/ 1037816 w 1946874"/>
              <a:gd name="connsiteY8" fmla="*/ 1161232 h 1985875"/>
              <a:gd name="connsiteX9" fmla="*/ 1088304 w 1946874"/>
              <a:gd name="connsiteY9" fmla="*/ 757325 h 1985875"/>
              <a:gd name="connsiteX10" fmla="*/ 920009 w 1946874"/>
              <a:gd name="connsiteY10" fmla="*/ 611470 h 1985875"/>
              <a:gd name="connsiteX11" fmla="*/ 729276 w 1946874"/>
              <a:gd name="connsiteY11" fmla="*/ 751715 h 1985875"/>
              <a:gd name="connsiteX12" fmla="*/ 740495 w 1946874"/>
              <a:gd name="connsiteY12" fmla="*/ 1161232 h 1985875"/>
              <a:gd name="connsiteX13" fmla="*/ 785374 w 1946874"/>
              <a:gd name="connsiteY13" fmla="*/ 1509040 h 1985875"/>
              <a:gd name="connsiteX14" fmla="*/ 0 w 1946874"/>
              <a:gd name="connsiteY14" fmla="*/ 1985875 h 1985875"/>
              <a:gd name="connsiteX15" fmla="*/ 437565 w 1946874"/>
              <a:gd name="connsiteY15" fmla="*/ 387077 h 1985875"/>
              <a:gd name="connsiteX16" fmla="*/ 650738 w 1946874"/>
              <a:gd name="connsiteY16" fmla="*/ 611470 h 1985875"/>
              <a:gd name="connsiteX17" fmla="*/ 813423 w 1946874"/>
              <a:gd name="connsiteY17" fmla="*/ 499274 h 1985875"/>
              <a:gd name="connsiteX18" fmla="*/ 790984 w 1946874"/>
              <a:gd name="connsiteY18" fmla="*/ 0 h 1985875"/>
              <a:gd name="connsiteX0" fmla="*/ 790984 w 1946874"/>
              <a:gd name="connsiteY0" fmla="*/ 0 h 1985875"/>
              <a:gd name="connsiteX1" fmla="*/ 790984 w 1946874"/>
              <a:gd name="connsiteY1" fmla="*/ 0 h 1985875"/>
              <a:gd name="connsiteX2" fmla="*/ 1026596 w 1946874"/>
              <a:gd name="connsiteY2" fmla="*/ 5610 h 1985875"/>
              <a:gd name="connsiteX3" fmla="*/ 1020986 w 1946874"/>
              <a:gd name="connsiteY3" fmla="*/ 493664 h 1985875"/>
              <a:gd name="connsiteX4" fmla="*/ 1155622 w 1946874"/>
              <a:gd name="connsiteY4" fmla="*/ 572201 h 1985875"/>
              <a:gd name="connsiteX5" fmla="*/ 1351965 w 1946874"/>
              <a:gd name="connsiteY5" fmla="*/ 375858 h 1985875"/>
              <a:gd name="connsiteX6" fmla="*/ 1901727 w 1946874"/>
              <a:gd name="connsiteY6" fmla="*/ 1924167 h 1985875"/>
              <a:gd name="connsiteX7" fmla="*/ 992937 w 1946874"/>
              <a:gd name="connsiteY7" fmla="*/ 1480991 h 1985875"/>
              <a:gd name="connsiteX8" fmla="*/ 1037816 w 1946874"/>
              <a:gd name="connsiteY8" fmla="*/ 1161232 h 1985875"/>
              <a:gd name="connsiteX9" fmla="*/ 1088304 w 1946874"/>
              <a:gd name="connsiteY9" fmla="*/ 757325 h 1985875"/>
              <a:gd name="connsiteX10" fmla="*/ 920009 w 1946874"/>
              <a:gd name="connsiteY10" fmla="*/ 611470 h 1985875"/>
              <a:gd name="connsiteX11" fmla="*/ 729276 w 1946874"/>
              <a:gd name="connsiteY11" fmla="*/ 751715 h 1985875"/>
              <a:gd name="connsiteX12" fmla="*/ 740495 w 1946874"/>
              <a:gd name="connsiteY12" fmla="*/ 1161232 h 1985875"/>
              <a:gd name="connsiteX13" fmla="*/ 785374 w 1946874"/>
              <a:gd name="connsiteY13" fmla="*/ 1509040 h 1985875"/>
              <a:gd name="connsiteX14" fmla="*/ 0 w 1946874"/>
              <a:gd name="connsiteY14" fmla="*/ 1985875 h 1985875"/>
              <a:gd name="connsiteX15" fmla="*/ 437565 w 1946874"/>
              <a:gd name="connsiteY15" fmla="*/ 387077 h 1985875"/>
              <a:gd name="connsiteX16" fmla="*/ 650738 w 1946874"/>
              <a:gd name="connsiteY16" fmla="*/ 611470 h 1985875"/>
              <a:gd name="connsiteX17" fmla="*/ 813423 w 1946874"/>
              <a:gd name="connsiteY17" fmla="*/ 499274 h 1985875"/>
              <a:gd name="connsiteX18" fmla="*/ 790984 w 1946874"/>
              <a:gd name="connsiteY18" fmla="*/ 0 h 1985875"/>
              <a:gd name="connsiteX0" fmla="*/ 790984 w 1946874"/>
              <a:gd name="connsiteY0" fmla="*/ 0 h 1985875"/>
              <a:gd name="connsiteX1" fmla="*/ 790984 w 1946874"/>
              <a:gd name="connsiteY1" fmla="*/ 0 h 1985875"/>
              <a:gd name="connsiteX2" fmla="*/ 1026596 w 1946874"/>
              <a:gd name="connsiteY2" fmla="*/ 5610 h 1985875"/>
              <a:gd name="connsiteX3" fmla="*/ 1020986 w 1946874"/>
              <a:gd name="connsiteY3" fmla="*/ 493664 h 1985875"/>
              <a:gd name="connsiteX4" fmla="*/ 1155622 w 1946874"/>
              <a:gd name="connsiteY4" fmla="*/ 572201 h 1985875"/>
              <a:gd name="connsiteX5" fmla="*/ 1351965 w 1946874"/>
              <a:gd name="connsiteY5" fmla="*/ 375858 h 1985875"/>
              <a:gd name="connsiteX6" fmla="*/ 1901727 w 1946874"/>
              <a:gd name="connsiteY6" fmla="*/ 1924167 h 1985875"/>
              <a:gd name="connsiteX7" fmla="*/ 992937 w 1946874"/>
              <a:gd name="connsiteY7" fmla="*/ 1480991 h 1985875"/>
              <a:gd name="connsiteX8" fmla="*/ 1037816 w 1946874"/>
              <a:gd name="connsiteY8" fmla="*/ 1161232 h 1985875"/>
              <a:gd name="connsiteX9" fmla="*/ 1088304 w 1946874"/>
              <a:gd name="connsiteY9" fmla="*/ 757325 h 1985875"/>
              <a:gd name="connsiteX10" fmla="*/ 920009 w 1946874"/>
              <a:gd name="connsiteY10" fmla="*/ 611470 h 1985875"/>
              <a:gd name="connsiteX11" fmla="*/ 729276 w 1946874"/>
              <a:gd name="connsiteY11" fmla="*/ 751715 h 1985875"/>
              <a:gd name="connsiteX12" fmla="*/ 740495 w 1946874"/>
              <a:gd name="connsiteY12" fmla="*/ 1161232 h 1985875"/>
              <a:gd name="connsiteX13" fmla="*/ 785374 w 1946874"/>
              <a:gd name="connsiteY13" fmla="*/ 1509040 h 1985875"/>
              <a:gd name="connsiteX14" fmla="*/ 0 w 1946874"/>
              <a:gd name="connsiteY14" fmla="*/ 1985875 h 1985875"/>
              <a:gd name="connsiteX15" fmla="*/ 437565 w 1946874"/>
              <a:gd name="connsiteY15" fmla="*/ 387077 h 1985875"/>
              <a:gd name="connsiteX16" fmla="*/ 650738 w 1946874"/>
              <a:gd name="connsiteY16" fmla="*/ 611470 h 1985875"/>
              <a:gd name="connsiteX17" fmla="*/ 813423 w 1946874"/>
              <a:gd name="connsiteY17" fmla="*/ 499274 h 1985875"/>
              <a:gd name="connsiteX18" fmla="*/ 790984 w 1946874"/>
              <a:gd name="connsiteY18" fmla="*/ 0 h 1985875"/>
              <a:gd name="connsiteX0" fmla="*/ 790984 w 1946874"/>
              <a:gd name="connsiteY0" fmla="*/ 0 h 1985875"/>
              <a:gd name="connsiteX1" fmla="*/ 790984 w 1946874"/>
              <a:gd name="connsiteY1" fmla="*/ 0 h 1985875"/>
              <a:gd name="connsiteX2" fmla="*/ 1026596 w 1946874"/>
              <a:gd name="connsiteY2" fmla="*/ 5610 h 1985875"/>
              <a:gd name="connsiteX3" fmla="*/ 1020986 w 1946874"/>
              <a:gd name="connsiteY3" fmla="*/ 493664 h 1985875"/>
              <a:gd name="connsiteX4" fmla="*/ 1155622 w 1946874"/>
              <a:gd name="connsiteY4" fmla="*/ 572201 h 1985875"/>
              <a:gd name="connsiteX5" fmla="*/ 1351965 w 1946874"/>
              <a:gd name="connsiteY5" fmla="*/ 375858 h 1985875"/>
              <a:gd name="connsiteX6" fmla="*/ 1901727 w 1946874"/>
              <a:gd name="connsiteY6" fmla="*/ 1924167 h 1985875"/>
              <a:gd name="connsiteX7" fmla="*/ 992937 w 1946874"/>
              <a:gd name="connsiteY7" fmla="*/ 1480991 h 1985875"/>
              <a:gd name="connsiteX8" fmla="*/ 1037816 w 1946874"/>
              <a:gd name="connsiteY8" fmla="*/ 1161232 h 1985875"/>
              <a:gd name="connsiteX9" fmla="*/ 1088304 w 1946874"/>
              <a:gd name="connsiteY9" fmla="*/ 757325 h 1985875"/>
              <a:gd name="connsiteX10" fmla="*/ 920009 w 1946874"/>
              <a:gd name="connsiteY10" fmla="*/ 611470 h 1985875"/>
              <a:gd name="connsiteX11" fmla="*/ 729276 w 1946874"/>
              <a:gd name="connsiteY11" fmla="*/ 751715 h 1985875"/>
              <a:gd name="connsiteX12" fmla="*/ 740495 w 1946874"/>
              <a:gd name="connsiteY12" fmla="*/ 1161232 h 1985875"/>
              <a:gd name="connsiteX13" fmla="*/ 785374 w 1946874"/>
              <a:gd name="connsiteY13" fmla="*/ 1509040 h 1985875"/>
              <a:gd name="connsiteX14" fmla="*/ 0 w 1946874"/>
              <a:gd name="connsiteY14" fmla="*/ 1985875 h 1985875"/>
              <a:gd name="connsiteX15" fmla="*/ 437565 w 1946874"/>
              <a:gd name="connsiteY15" fmla="*/ 387077 h 1985875"/>
              <a:gd name="connsiteX16" fmla="*/ 650738 w 1946874"/>
              <a:gd name="connsiteY16" fmla="*/ 611470 h 1985875"/>
              <a:gd name="connsiteX17" fmla="*/ 813423 w 1946874"/>
              <a:gd name="connsiteY17" fmla="*/ 499274 h 1985875"/>
              <a:gd name="connsiteX18" fmla="*/ 790984 w 1946874"/>
              <a:gd name="connsiteY18" fmla="*/ 0 h 1985875"/>
              <a:gd name="connsiteX0" fmla="*/ 790984 w 1946874"/>
              <a:gd name="connsiteY0" fmla="*/ 0 h 1985875"/>
              <a:gd name="connsiteX1" fmla="*/ 790984 w 1946874"/>
              <a:gd name="connsiteY1" fmla="*/ 0 h 1985875"/>
              <a:gd name="connsiteX2" fmla="*/ 1026596 w 1946874"/>
              <a:gd name="connsiteY2" fmla="*/ 5610 h 1985875"/>
              <a:gd name="connsiteX3" fmla="*/ 1020986 w 1946874"/>
              <a:gd name="connsiteY3" fmla="*/ 493664 h 1985875"/>
              <a:gd name="connsiteX4" fmla="*/ 1155622 w 1946874"/>
              <a:gd name="connsiteY4" fmla="*/ 572201 h 1985875"/>
              <a:gd name="connsiteX5" fmla="*/ 1351965 w 1946874"/>
              <a:gd name="connsiteY5" fmla="*/ 375858 h 1985875"/>
              <a:gd name="connsiteX6" fmla="*/ 1901727 w 1946874"/>
              <a:gd name="connsiteY6" fmla="*/ 1924167 h 1985875"/>
              <a:gd name="connsiteX7" fmla="*/ 1071474 w 1946874"/>
              <a:gd name="connsiteY7" fmla="*/ 1480991 h 1985875"/>
              <a:gd name="connsiteX8" fmla="*/ 1037816 w 1946874"/>
              <a:gd name="connsiteY8" fmla="*/ 1161232 h 1985875"/>
              <a:gd name="connsiteX9" fmla="*/ 1088304 w 1946874"/>
              <a:gd name="connsiteY9" fmla="*/ 757325 h 1985875"/>
              <a:gd name="connsiteX10" fmla="*/ 920009 w 1946874"/>
              <a:gd name="connsiteY10" fmla="*/ 611470 h 1985875"/>
              <a:gd name="connsiteX11" fmla="*/ 729276 w 1946874"/>
              <a:gd name="connsiteY11" fmla="*/ 751715 h 1985875"/>
              <a:gd name="connsiteX12" fmla="*/ 740495 w 1946874"/>
              <a:gd name="connsiteY12" fmla="*/ 1161232 h 1985875"/>
              <a:gd name="connsiteX13" fmla="*/ 785374 w 1946874"/>
              <a:gd name="connsiteY13" fmla="*/ 1509040 h 1985875"/>
              <a:gd name="connsiteX14" fmla="*/ 0 w 1946874"/>
              <a:gd name="connsiteY14" fmla="*/ 1985875 h 1985875"/>
              <a:gd name="connsiteX15" fmla="*/ 437565 w 1946874"/>
              <a:gd name="connsiteY15" fmla="*/ 387077 h 1985875"/>
              <a:gd name="connsiteX16" fmla="*/ 650738 w 1946874"/>
              <a:gd name="connsiteY16" fmla="*/ 611470 h 1985875"/>
              <a:gd name="connsiteX17" fmla="*/ 813423 w 1946874"/>
              <a:gd name="connsiteY17" fmla="*/ 499274 h 1985875"/>
              <a:gd name="connsiteX18" fmla="*/ 790984 w 1946874"/>
              <a:gd name="connsiteY18" fmla="*/ 0 h 1985875"/>
              <a:gd name="connsiteX0" fmla="*/ 790984 w 1946874"/>
              <a:gd name="connsiteY0" fmla="*/ 0 h 1985875"/>
              <a:gd name="connsiteX1" fmla="*/ 790984 w 1946874"/>
              <a:gd name="connsiteY1" fmla="*/ 0 h 1985875"/>
              <a:gd name="connsiteX2" fmla="*/ 1026596 w 1946874"/>
              <a:gd name="connsiteY2" fmla="*/ 5610 h 1985875"/>
              <a:gd name="connsiteX3" fmla="*/ 1020986 w 1946874"/>
              <a:gd name="connsiteY3" fmla="*/ 493664 h 1985875"/>
              <a:gd name="connsiteX4" fmla="*/ 1155622 w 1946874"/>
              <a:gd name="connsiteY4" fmla="*/ 572201 h 1985875"/>
              <a:gd name="connsiteX5" fmla="*/ 1351965 w 1946874"/>
              <a:gd name="connsiteY5" fmla="*/ 375858 h 1985875"/>
              <a:gd name="connsiteX6" fmla="*/ 1901727 w 1946874"/>
              <a:gd name="connsiteY6" fmla="*/ 1924167 h 1985875"/>
              <a:gd name="connsiteX7" fmla="*/ 1054644 w 1946874"/>
              <a:gd name="connsiteY7" fmla="*/ 1486600 h 1985875"/>
              <a:gd name="connsiteX8" fmla="*/ 1037816 w 1946874"/>
              <a:gd name="connsiteY8" fmla="*/ 1161232 h 1985875"/>
              <a:gd name="connsiteX9" fmla="*/ 1088304 w 1946874"/>
              <a:gd name="connsiteY9" fmla="*/ 757325 h 1985875"/>
              <a:gd name="connsiteX10" fmla="*/ 920009 w 1946874"/>
              <a:gd name="connsiteY10" fmla="*/ 611470 h 1985875"/>
              <a:gd name="connsiteX11" fmla="*/ 729276 w 1946874"/>
              <a:gd name="connsiteY11" fmla="*/ 751715 h 1985875"/>
              <a:gd name="connsiteX12" fmla="*/ 740495 w 1946874"/>
              <a:gd name="connsiteY12" fmla="*/ 1161232 h 1985875"/>
              <a:gd name="connsiteX13" fmla="*/ 785374 w 1946874"/>
              <a:gd name="connsiteY13" fmla="*/ 1509040 h 1985875"/>
              <a:gd name="connsiteX14" fmla="*/ 0 w 1946874"/>
              <a:gd name="connsiteY14" fmla="*/ 1985875 h 1985875"/>
              <a:gd name="connsiteX15" fmla="*/ 437565 w 1946874"/>
              <a:gd name="connsiteY15" fmla="*/ 387077 h 1985875"/>
              <a:gd name="connsiteX16" fmla="*/ 650738 w 1946874"/>
              <a:gd name="connsiteY16" fmla="*/ 611470 h 1985875"/>
              <a:gd name="connsiteX17" fmla="*/ 813423 w 1946874"/>
              <a:gd name="connsiteY17" fmla="*/ 499274 h 1985875"/>
              <a:gd name="connsiteX18" fmla="*/ 790984 w 1946874"/>
              <a:gd name="connsiteY18" fmla="*/ 0 h 1985875"/>
              <a:gd name="connsiteX0" fmla="*/ 790984 w 1946874"/>
              <a:gd name="connsiteY0" fmla="*/ 0 h 1985875"/>
              <a:gd name="connsiteX1" fmla="*/ 790984 w 1946874"/>
              <a:gd name="connsiteY1" fmla="*/ 0 h 1985875"/>
              <a:gd name="connsiteX2" fmla="*/ 1026596 w 1946874"/>
              <a:gd name="connsiteY2" fmla="*/ 5610 h 1985875"/>
              <a:gd name="connsiteX3" fmla="*/ 1020986 w 1946874"/>
              <a:gd name="connsiteY3" fmla="*/ 493664 h 1985875"/>
              <a:gd name="connsiteX4" fmla="*/ 1155622 w 1946874"/>
              <a:gd name="connsiteY4" fmla="*/ 572201 h 1985875"/>
              <a:gd name="connsiteX5" fmla="*/ 1351965 w 1946874"/>
              <a:gd name="connsiteY5" fmla="*/ 375858 h 1985875"/>
              <a:gd name="connsiteX6" fmla="*/ 1901727 w 1946874"/>
              <a:gd name="connsiteY6" fmla="*/ 1924167 h 1985875"/>
              <a:gd name="connsiteX7" fmla="*/ 1054644 w 1946874"/>
              <a:gd name="connsiteY7" fmla="*/ 1486600 h 1985875"/>
              <a:gd name="connsiteX8" fmla="*/ 1037816 w 1946874"/>
              <a:gd name="connsiteY8" fmla="*/ 1161232 h 1985875"/>
              <a:gd name="connsiteX9" fmla="*/ 1088304 w 1946874"/>
              <a:gd name="connsiteY9" fmla="*/ 757325 h 1985875"/>
              <a:gd name="connsiteX10" fmla="*/ 920009 w 1946874"/>
              <a:gd name="connsiteY10" fmla="*/ 611470 h 1985875"/>
              <a:gd name="connsiteX11" fmla="*/ 729276 w 1946874"/>
              <a:gd name="connsiteY11" fmla="*/ 751715 h 1985875"/>
              <a:gd name="connsiteX12" fmla="*/ 740495 w 1946874"/>
              <a:gd name="connsiteY12" fmla="*/ 1161232 h 1985875"/>
              <a:gd name="connsiteX13" fmla="*/ 785374 w 1946874"/>
              <a:gd name="connsiteY13" fmla="*/ 1509040 h 1985875"/>
              <a:gd name="connsiteX14" fmla="*/ 0 w 1946874"/>
              <a:gd name="connsiteY14" fmla="*/ 1985875 h 1985875"/>
              <a:gd name="connsiteX15" fmla="*/ 437565 w 1946874"/>
              <a:gd name="connsiteY15" fmla="*/ 387077 h 1985875"/>
              <a:gd name="connsiteX16" fmla="*/ 650738 w 1946874"/>
              <a:gd name="connsiteY16" fmla="*/ 611470 h 1985875"/>
              <a:gd name="connsiteX17" fmla="*/ 813423 w 1946874"/>
              <a:gd name="connsiteY17" fmla="*/ 499274 h 1985875"/>
              <a:gd name="connsiteX18" fmla="*/ 790984 w 1946874"/>
              <a:gd name="connsiteY18" fmla="*/ 0 h 1985875"/>
              <a:gd name="connsiteX0" fmla="*/ 790984 w 1946874"/>
              <a:gd name="connsiteY0" fmla="*/ 0 h 1985875"/>
              <a:gd name="connsiteX1" fmla="*/ 790984 w 1946874"/>
              <a:gd name="connsiteY1" fmla="*/ 0 h 1985875"/>
              <a:gd name="connsiteX2" fmla="*/ 1026596 w 1946874"/>
              <a:gd name="connsiteY2" fmla="*/ 5610 h 1985875"/>
              <a:gd name="connsiteX3" fmla="*/ 1020986 w 1946874"/>
              <a:gd name="connsiteY3" fmla="*/ 493664 h 1985875"/>
              <a:gd name="connsiteX4" fmla="*/ 1155622 w 1946874"/>
              <a:gd name="connsiteY4" fmla="*/ 572201 h 1985875"/>
              <a:gd name="connsiteX5" fmla="*/ 1351965 w 1946874"/>
              <a:gd name="connsiteY5" fmla="*/ 375858 h 1985875"/>
              <a:gd name="connsiteX6" fmla="*/ 1901727 w 1946874"/>
              <a:gd name="connsiteY6" fmla="*/ 1924167 h 1985875"/>
              <a:gd name="connsiteX7" fmla="*/ 1054644 w 1946874"/>
              <a:gd name="connsiteY7" fmla="*/ 1486600 h 1985875"/>
              <a:gd name="connsiteX8" fmla="*/ 1037816 w 1946874"/>
              <a:gd name="connsiteY8" fmla="*/ 1161232 h 1985875"/>
              <a:gd name="connsiteX9" fmla="*/ 1088304 w 1946874"/>
              <a:gd name="connsiteY9" fmla="*/ 757325 h 1985875"/>
              <a:gd name="connsiteX10" fmla="*/ 920009 w 1946874"/>
              <a:gd name="connsiteY10" fmla="*/ 611470 h 1985875"/>
              <a:gd name="connsiteX11" fmla="*/ 729276 w 1946874"/>
              <a:gd name="connsiteY11" fmla="*/ 751715 h 1985875"/>
              <a:gd name="connsiteX12" fmla="*/ 740495 w 1946874"/>
              <a:gd name="connsiteY12" fmla="*/ 1161232 h 1985875"/>
              <a:gd name="connsiteX13" fmla="*/ 785374 w 1946874"/>
              <a:gd name="connsiteY13" fmla="*/ 1509040 h 1985875"/>
              <a:gd name="connsiteX14" fmla="*/ 0 w 1946874"/>
              <a:gd name="connsiteY14" fmla="*/ 1985875 h 1985875"/>
              <a:gd name="connsiteX15" fmla="*/ 437565 w 1946874"/>
              <a:gd name="connsiteY15" fmla="*/ 387077 h 1985875"/>
              <a:gd name="connsiteX16" fmla="*/ 650738 w 1946874"/>
              <a:gd name="connsiteY16" fmla="*/ 611470 h 1985875"/>
              <a:gd name="connsiteX17" fmla="*/ 813423 w 1946874"/>
              <a:gd name="connsiteY17" fmla="*/ 499274 h 1985875"/>
              <a:gd name="connsiteX18" fmla="*/ 790984 w 1946874"/>
              <a:gd name="connsiteY18" fmla="*/ 0 h 1985875"/>
              <a:gd name="connsiteX0" fmla="*/ 790984 w 1946874"/>
              <a:gd name="connsiteY0" fmla="*/ 0 h 1985875"/>
              <a:gd name="connsiteX1" fmla="*/ 790984 w 1946874"/>
              <a:gd name="connsiteY1" fmla="*/ 0 h 1985875"/>
              <a:gd name="connsiteX2" fmla="*/ 1026596 w 1946874"/>
              <a:gd name="connsiteY2" fmla="*/ 5610 h 1985875"/>
              <a:gd name="connsiteX3" fmla="*/ 1020986 w 1946874"/>
              <a:gd name="connsiteY3" fmla="*/ 493664 h 1985875"/>
              <a:gd name="connsiteX4" fmla="*/ 1155622 w 1946874"/>
              <a:gd name="connsiteY4" fmla="*/ 572201 h 1985875"/>
              <a:gd name="connsiteX5" fmla="*/ 1351965 w 1946874"/>
              <a:gd name="connsiteY5" fmla="*/ 375858 h 1985875"/>
              <a:gd name="connsiteX6" fmla="*/ 1901727 w 1946874"/>
              <a:gd name="connsiteY6" fmla="*/ 1924167 h 1985875"/>
              <a:gd name="connsiteX7" fmla="*/ 1054644 w 1946874"/>
              <a:gd name="connsiteY7" fmla="*/ 1486600 h 1985875"/>
              <a:gd name="connsiteX8" fmla="*/ 1037816 w 1946874"/>
              <a:gd name="connsiteY8" fmla="*/ 1161232 h 1985875"/>
              <a:gd name="connsiteX9" fmla="*/ 1088304 w 1946874"/>
              <a:gd name="connsiteY9" fmla="*/ 757325 h 1985875"/>
              <a:gd name="connsiteX10" fmla="*/ 920009 w 1946874"/>
              <a:gd name="connsiteY10" fmla="*/ 611470 h 1985875"/>
              <a:gd name="connsiteX11" fmla="*/ 729276 w 1946874"/>
              <a:gd name="connsiteY11" fmla="*/ 751715 h 1985875"/>
              <a:gd name="connsiteX12" fmla="*/ 740495 w 1946874"/>
              <a:gd name="connsiteY12" fmla="*/ 1161232 h 1985875"/>
              <a:gd name="connsiteX13" fmla="*/ 785374 w 1946874"/>
              <a:gd name="connsiteY13" fmla="*/ 1509040 h 1985875"/>
              <a:gd name="connsiteX14" fmla="*/ 0 w 1946874"/>
              <a:gd name="connsiteY14" fmla="*/ 1985875 h 1985875"/>
              <a:gd name="connsiteX15" fmla="*/ 437565 w 1946874"/>
              <a:gd name="connsiteY15" fmla="*/ 387077 h 1985875"/>
              <a:gd name="connsiteX16" fmla="*/ 650738 w 1946874"/>
              <a:gd name="connsiteY16" fmla="*/ 611470 h 1985875"/>
              <a:gd name="connsiteX17" fmla="*/ 813423 w 1946874"/>
              <a:gd name="connsiteY17" fmla="*/ 499274 h 1985875"/>
              <a:gd name="connsiteX18" fmla="*/ 790984 w 1946874"/>
              <a:gd name="connsiteY18" fmla="*/ 0 h 1985875"/>
              <a:gd name="connsiteX0" fmla="*/ 790984 w 1946874"/>
              <a:gd name="connsiteY0" fmla="*/ 0 h 1985875"/>
              <a:gd name="connsiteX1" fmla="*/ 790984 w 1946874"/>
              <a:gd name="connsiteY1" fmla="*/ 0 h 1985875"/>
              <a:gd name="connsiteX2" fmla="*/ 1026596 w 1946874"/>
              <a:gd name="connsiteY2" fmla="*/ 5610 h 1985875"/>
              <a:gd name="connsiteX3" fmla="*/ 1020986 w 1946874"/>
              <a:gd name="connsiteY3" fmla="*/ 493664 h 1985875"/>
              <a:gd name="connsiteX4" fmla="*/ 1155622 w 1946874"/>
              <a:gd name="connsiteY4" fmla="*/ 572201 h 1985875"/>
              <a:gd name="connsiteX5" fmla="*/ 1351965 w 1946874"/>
              <a:gd name="connsiteY5" fmla="*/ 375858 h 1985875"/>
              <a:gd name="connsiteX6" fmla="*/ 1901727 w 1946874"/>
              <a:gd name="connsiteY6" fmla="*/ 1924167 h 1985875"/>
              <a:gd name="connsiteX7" fmla="*/ 1054644 w 1946874"/>
              <a:gd name="connsiteY7" fmla="*/ 1486600 h 1985875"/>
              <a:gd name="connsiteX8" fmla="*/ 1037816 w 1946874"/>
              <a:gd name="connsiteY8" fmla="*/ 1161232 h 1985875"/>
              <a:gd name="connsiteX9" fmla="*/ 1088304 w 1946874"/>
              <a:gd name="connsiteY9" fmla="*/ 757325 h 1985875"/>
              <a:gd name="connsiteX10" fmla="*/ 920009 w 1946874"/>
              <a:gd name="connsiteY10" fmla="*/ 611470 h 1985875"/>
              <a:gd name="connsiteX11" fmla="*/ 729276 w 1946874"/>
              <a:gd name="connsiteY11" fmla="*/ 751715 h 1985875"/>
              <a:gd name="connsiteX12" fmla="*/ 740495 w 1946874"/>
              <a:gd name="connsiteY12" fmla="*/ 1161232 h 1985875"/>
              <a:gd name="connsiteX13" fmla="*/ 785374 w 1946874"/>
              <a:gd name="connsiteY13" fmla="*/ 1509040 h 1985875"/>
              <a:gd name="connsiteX14" fmla="*/ 0 w 1946874"/>
              <a:gd name="connsiteY14" fmla="*/ 1985875 h 1985875"/>
              <a:gd name="connsiteX15" fmla="*/ 437565 w 1946874"/>
              <a:gd name="connsiteY15" fmla="*/ 387077 h 1985875"/>
              <a:gd name="connsiteX16" fmla="*/ 650738 w 1946874"/>
              <a:gd name="connsiteY16" fmla="*/ 611470 h 1985875"/>
              <a:gd name="connsiteX17" fmla="*/ 813423 w 1946874"/>
              <a:gd name="connsiteY17" fmla="*/ 499274 h 1985875"/>
              <a:gd name="connsiteX18" fmla="*/ 790984 w 1946874"/>
              <a:gd name="connsiteY18" fmla="*/ 0 h 1985875"/>
              <a:gd name="connsiteX0" fmla="*/ 790984 w 1946874"/>
              <a:gd name="connsiteY0" fmla="*/ 0 h 1985875"/>
              <a:gd name="connsiteX1" fmla="*/ 790984 w 1946874"/>
              <a:gd name="connsiteY1" fmla="*/ 0 h 1985875"/>
              <a:gd name="connsiteX2" fmla="*/ 1026596 w 1946874"/>
              <a:gd name="connsiteY2" fmla="*/ 5610 h 1985875"/>
              <a:gd name="connsiteX3" fmla="*/ 1020986 w 1946874"/>
              <a:gd name="connsiteY3" fmla="*/ 493664 h 1985875"/>
              <a:gd name="connsiteX4" fmla="*/ 1155622 w 1946874"/>
              <a:gd name="connsiteY4" fmla="*/ 572201 h 1985875"/>
              <a:gd name="connsiteX5" fmla="*/ 1351965 w 1946874"/>
              <a:gd name="connsiteY5" fmla="*/ 375858 h 1985875"/>
              <a:gd name="connsiteX6" fmla="*/ 1901727 w 1946874"/>
              <a:gd name="connsiteY6" fmla="*/ 1924167 h 1985875"/>
              <a:gd name="connsiteX7" fmla="*/ 1054644 w 1946874"/>
              <a:gd name="connsiteY7" fmla="*/ 1486600 h 1985875"/>
              <a:gd name="connsiteX8" fmla="*/ 1037816 w 1946874"/>
              <a:gd name="connsiteY8" fmla="*/ 1144403 h 1985875"/>
              <a:gd name="connsiteX9" fmla="*/ 1088304 w 1946874"/>
              <a:gd name="connsiteY9" fmla="*/ 757325 h 1985875"/>
              <a:gd name="connsiteX10" fmla="*/ 920009 w 1946874"/>
              <a:gd name="connsiteY10" fmla="*/ 611470 h 1985875"/>
              <a:gd name="connsiteX11" fmla="*/ 729276 w 1946874"/>
              <a:gd name="connsiteY11" fmla="*/ 751715 h 1985875"/>
              <a:gd name="connsiteX12" fmla="*/ 740495 w 1946874"/>
              <a:gd name="connsiteY12" fmla="*/ 1161232 h 1985875"/>
              <a:gd name="connsiteX13" fmla="*/ 785374 w 1946874"/>
              <a:gd name="connsiteY13" fmla="*/ 1509040 h 1985875"/>
              <a:gd name="connsiteX14" fmla="*/ 0 w 1946874"/>
              <a:gd name="connsiteY14" fmla="*/ 1985875 h 1985875"/>
              <a:gd name="connsiteX15" fmla="*/ 437565 w 1946874"/>
              <a:gd name="connsiteY15" fmla="*/ 387077 h 1985875"/>
              <a:gd name="connsiteX16" fmla="*/ 650738 w 1946874"/>
              <a:gd name="connsiteY16" fmla="*/ 611470 h 1985875"/>
              <a:gd name="connsiteX17" fmla="*/ 813423 w 1946874"/>
              <a:gd name="connsiteY17" fmla="*/ 499274 h 1985875"/>
              <a:gd name="connsiteX18" fmla="*/ 790984 w 1946874"/>
              <a:gd name="connsiteY18" fmla="*/ 0 h 1985875"/>
              <a:gd name="connsiteX0" fmla="*/ 790984 w 1946874"/>
              <a:gd name="connsiteY0" fmla="*/ 0 h 1985875"/>
              <a:gd name="connsiteX1" fmla="*/ 790984 w 1946874"/>
              <a:gd name="connsiteY1" fmla="*/ 0 h 1985875"/>
              <a:gd name="connsiteX2" fmla="*/ 1026596 w 1946874"/>
              <a:gd name="connsiteY2" fmla="*/ 5610 h 1985875"/>
              <a:gd name="connsiteX3" fmla="*/ 1020986 w 1946874"/>
              <a:gd name="connsiteY3" fmla="*/ 493664 h 1985875"/>
              <a:gd name="connsiteX4" fmla="*/ 1155622 w 1946874"/>
              <a:gd name="connsiteY4" fmla="*/ 572201 h 1985875"/>
              <a:gd name="connsiteX5" fmla="*/ 1351965 w 1946874"/>
              <a:gd name="connsiteY5" fmla="*/ 375858 h 1985875"/>
              <a:gd name="connsiteX6" fmla="*/ 1901727 w 1946874"/>
              <a:gd name="connsiteY6" fmla="*/ 1924167 h 1985875"/>
              <a:gd name="connsiteX7" fmla="*/ 1054644 w 1946874"/>
              <a:gd name="connsiteY7" fmla="*/ 1486600 h 1985875"/>
              <a:gd name="connsiteX8" fmla="*/ 1037816 w 1946874"/>
              <a:gd name="connsiteY8" fmla="*/ 1144403 h 1985875"/>
              <a:gd name="connsiteX9" fmla="*/ 1088304 w 1946874"/>
              <a:gd name="connsiteY9" fmla="*/ 757325 h 1985875"/>
              <a:gd name="connsiteX10" fmla="*/ 920009 w 1946874"/>
              <a:gd name="connsiteY10" fmla="*/ 611470 h 1985875"/>
              <a:gd name="connsiteX11" fmla="*/ 729276 w 1946874"/>
              <a:gd name="connsiteY11" fmla="*/ 751715 h 1985875"/>
              <a:gd name="connsiteX12" fmla="*/ 740495 w 1946874"/>
              <a:gd name="connsiteY12" fmla="*/ 1161232 h 1985875"/>
              <a:gd name="connsiteX13" fmla="*/ 785374 w 1946874"/>
              <a:gd name="connsiteY13" fmla="*/ 1509040 h 1985875"/>
              <a:gd name="connsiteX14" fmla="*/ 0 w 1946874"/>
              <a:gd name="connsiteY14" fmla="*/ 1985875 h 1985875"/>
              <a:gd name="connsiteX15" fmla="*/ 437565 w 1946874"/>
              <a:gd name="connsiteY15" fmla="*/ 387077 h 1985875"/>
              <a:gd name="connsiteX16" fmla="*/ 650738 w 1946874"/>
              <a:gd name="connsiteY16" fmla="*/ 611470 h 1985875"/>
              <a:gd name="connsiteX17" fmla="*/ 813423 w 1946874"/>
              <a:gd name="connsiteY17" fmla="*/ 499274 h 1985875"/>
              <a:gd name="connsiteX18" fmla="*/ 790984 w 1946874"/>
              <a:gd name="connsiteY18" fmla="*/ 0 h 1985875"/>
              <a:gd name="connsiteX0" fmla="*/ 790984 w 1946874"/>
              <a:gd name="connsiteY0" fmla="*/ 0 h 1985875"/>
              <a:gd name="connsiteX1" fmla="*/ 790984 w 1946874"/>
              <a:gd name="connsiteY1" fmla="*/ 0 h 1985875"/>
              <a:gd name="connsiteX2" fmla="*/ 1026596 w 1946874"/>
              <a:gd name="connsiteY2" fmla="*/ 5610 h 1985875"/>
              <a:gd name="connsiteX3" fmla="*/ 1020986 w 1946874"/>
              <a:gd name="connsiteY3" fmla="*/ 493664 h 1985875"/>
              <a:gd name="connsiteX4" fmla="*/ 1155622 w 1946874"/>
              <a:gd name="connsiteY4" fmla="*/ 572201 h 1985875"/>
              <a:gd name="connsiteX5" fmla="*/ 1351965 w 1946874"/>
              <a:gd name="connsiteY5" fmla="*/ 375858 h 1985875"/>
              <a:gd name="connsiteX6" fmla="*/ 1901727 w 1946874"/>
              <a:gd name="connsiteY6" fmla="*/ 1924167 h 1985875"/>
              <a:gd name="connsiteX7" fmla="*/ 1054644 w 1946874"/>
              <a:gd name="connsiteY7" fmla="*/ 1486600 h 1985875"/>
              <a:gd name="connsiteX8" fmla="*/ 1037816 w 1946874"/>
              <a:gd name="connsiteY8" fmla="*/ 1144403 h 1985875"/>
              <a:gd name="connsiteX9" fmla="*/ 1088304 w 1946874"/>
              <a:gd name="connsiteY9" fmla="*/ 757325 h 1985875"/>
              <a:gd name="connsiteX10" fmla="*/ 920009 w 1946874"/>
              <a:gd name="connsiteY10" fmla="*/ 611470 h 1985875"/>
              <a:gd name="connsiteX11" fmla="*/ 729276 w 1946874"/>
              <a:gd name="connsiteY11" fmla="*/ 751715 h 1985875"/>
              <a:gd name="connsiteX12" fmla="*/ 740495 w 1946874"/>
              <a:gd name="connsiteY12" fmla="*/ 1161232 h 1985875"/>
              <a:gd name="connsiteX13" fmla="*/ 785374 w 1946874"/>
              <a:gd name="connsiteY13" fmla="*/ 1509040 h 1985875"/>
              <a:gd name="connsiteX14" fmla="*/ 0 w 1946874"/>
              <a:gd name="connsiteY14" fmla="*/ 1985875 h 1985875"/>
              <a:gd name="connsiteX15" fmla="*/ 437565 w 1946874"/>
              <a:gd name="connsiteY15" fmla="*/ 387077 h 1985875"/>
              <a:gd name="connsiteX16" fmla="*/ 650738 w 1946874"/>
              <a:gd name="connsiteY16" fmla="*/ 611470 h 1985875"/>
              <a:gd name="connsiteX17" fmla="*/ 813423 w 1946874"/>
              <a:gd name="connsiteY17" fmla="*/ 499274 h 1985875"/>
              <a:gd name="connsiteX18" fmla="*/ 790984 w 1946874"/>
              <a:gd name="connsiteY18" fmla="*/ 0 h 1985875"/>
              <a:gd name="connsiteX0" fmla="*/ 790984 w 1946874"/>
              <a:gd name="connsiteY0" fmla="*/ 0 h 1985875"/>
              <a:gd name="connsiteX1" fmla="*/ 790984 w 1946874"/>
              <a:gd name="connsiteY1" fmla="*/ 0 h 1985875"/>
              <a:gd name="connsiteX2" fmla="*/ 1026596 w 1946874"/>
              <a:gd name="connsiteY2" fmla="*/ 5610 h 1985875"/>
              <a:gd name="connsiteX3" fmla="*/ 1020986 w 1946874"/>
              <a:gd name="connsiteY3" fmla="*/ 493664 h 1985875"/>
              <a:gd name="connsiteX4" fmla="*/ 1155622 w 1946874"/>
              <a:gd name="connsiteY4" fmla="*/ 572201 h 1985875"/>
              <a:gd name="connsiteX5" fmla="*/ 1351965 w 1946874"/>
              <a:gd name="connsiteY5" fmla="*/ 375858 h 1985875"/>
              <a:gd name="connsiteX6" fmla="*/ 1901727 w 1946874"/>
              <a:gd name="connsiteY6" fmla="*/ 1924167 h 1985875"/>
              <a:gd name="connsiteX7" fmla="*/ 1054644 w 1946874"/>
              <a:gd name="connsiteY7" fmla="*/ 1486600 h 1985875"/>
              <a:gd name="connsiteX8" fmla="*/ 1037816 w 1946874"/>
              <a:gd name="connsiteY8" fmla="*/ 1144403 h 1985875"/>
              <a:gd name="connsiteX9" fmla="*/ 1088304 w 1946874"/>
              <a:gd name="connsiteY9" fmla="*/ 757325 h 1985875"/>
              <a:gd name="connsiteX10" fmla="*/ 920009 w 1946874"/>
              <a:gd name="connsiteY10" fmla="*/ 611470 h 1985875"/>
              <a:gd name="connsiteX11" fmla="*/ 729276 w 1946874"/>
              <a:gd name="connsiteY11" fmla="*/ 751715 h 1985875"/>
              <a:gd name="connsiteX12" fmla="*/ 740495 w 1946874"/>
              <a:gd name="connsiteY12" fmla="*/ 1161232 h 1985875"/>
              <a:gd name="connsiteX13" fmla="*/ 785374 w 1946874"/>
              <a:gd name="connsiteY13" fmla="*/ 1509040 h 1985875"/>
              <a:gd name="connsiteX14" fmla="*/ 0 w 1946874"/>
              <a:gd name="connsiteY14" fmla="*/ 1985875 h 1985875"/>
              <a:gd name="connsiteX15" fmla="*/ 420736 w 1946874"/>
              <a:gd name="connsiteY15" fmla="*/ 375858 h 1985875"/>
              <a:gd name="connsiteX16" fmla="*/ 650738 w 1946874"/>
              <a:gd name="connsiteY16" fmla="*/ 611470 h 1985875"/>
              <a:gd name="connsiteX17" fmla="*/ 813423 w 1946874"/>
              <a:gd name="connsiteY17" fmla="*/ 499274 h 1985875"/>
              <a:gd name="connsiteX18" fmla="*/ 790984 w 1946874"/>
              <a:gd name="connsiteY18" fmla="*/ 0 h 1985875"/>
              <a:gd name="connsiteX0" fmla="*/ 790984 w 1946874"/>
              <a:gd name="connsiteY0" fmla="*/ 0 h 1985875"/>
              <a:gd name="connsiteX1" fmla="*/ 790984 w 1946874"/>
              <a:gd name="connsiteY1" fmla="*/ 0 h 1985875"/>
              <a:gd name="connsiteX2" fmla="*/ 1026596 w 1946874"/>
              <a:gd name="connsiteY2" fmla="*/ 5610 h 1985875"/>
              <a:gd name="connsiteX3" fmla="*/ 1020986 w 1946874"/>
              <a:gd name="connsiteY3" fmla="*/ 493664 h 1985875"/>
              <a:gd name="connsiteX4" fmla="*/ 1155622 w 1946874"/>
              <a:gd name="connsiteY4" fmla="*/ 572201 h 1985875"/>
              <a:gd name="connsiteX5" fmla="*/ 1351965 w 1946874"/>
              <a:gd name="connsiteY5" fmla="*/ 375858 h 1985875"/>
              <a:gd name="connsiteX6" fmla="*/ 1901727 w 1946874"/>
              <a:gd name="connsiteY6" fmla="*/ 1924167 h 1985875"/>
              <a:gd name="connsiteX7" fmla="*/ 1054644 w 1946874"/>
              <a:gd name="connsiteY7" fmla="*/ 1486600 h 1985875"/>
              <a:gd name="connsiteX8" fmla="*/ 1037816 w 1946874"/>
              <a:gd name="connsiteY8" fmla="*/ 1144403 h 1985875"/>
              <a:gd name="connsiteX9" fmla="*/ 1088304 w 1946874"/>
              <a:gd name="connsiteY9" fmla="*/ 757325 h 1985875"/>
              <a:gd name="connsiteX10" fmla="*/ 920009 w 1946874"/>
              <a:gd name="connsiteY10" fmla="*/ 611470 h 1985875"/>
              <a:gd name="connsiteX11" fmla="*/ 729276 w 1946874"/>
              <a:gd name="connsiteY11" fmla="*/ 751715 h 1985875"/>
              <a:gd name="connsiteX12" fmla="*/ 740495 w 1946874"/>
              <a:gd name="connsiteY12" fmla="*/ 1161232 h 1985875"/>
              <a:gd name="connsiteX13" fmla="*/ 785374 w 1946874"/>
              <a:gd name="connsiteY13" fmla="*/ 1509040 h 1985875"/>
              <a:gd name="connsiteX14" fmla="*/ 0 w 1946874"/>
              <a:gd name="connsiteY14" fmla="*/ 1985875 h 1985875"/>
              <a:gd name="connsiteX15" fmla="*/ 420736 w 1946874"/>
              <a:gd name="connsiteY15" fmla="*/ 375858 h 1985875"/>
              <a:gd name="connsiteX16" fmla="*/ 650738 w 1946874"/>
              <a:gd name="connsiteY16" fmla="*/ 611470 h 1985875"/>
              <a:gd name="connsiteX17" fmla="*/ 813423 w 1946874"/>
              <a:gd name="connsiteY17" fmla="*/ 499274 h 1985875"/>
              <a:gd name="connsiteX18" fmla="*/ 790984 w 1946874"/>
              <a:gd name="connsiteY18" fmla="*/ 0 h 1985875"/>
              <a:gd name="connsiteX0" fmla="*/ 858302 w 2014192"/>
              <a:gd name="connsiteY0" fmla="*/ 0 h 1958316"/>
              <a:gd name="connsiteX1" fmla="*/ 858302 w 2014192"/>
              <a:gd name="connsiteY1" fmla="*/ 0 h 1958316"/>
              <a:gd name="connsiteX2" fmla="*/ 1093914 w 2014192"/>
              <a:gd name="connsiteY2" fmla="*/ 5610 h 1958316"/>
              <a:gd name="connsiteX3" fmla="*/ 1088304 w 2014192"/>
              <a:gd name="connsiteY3" fmla="*/ 493664 h 1958316"/>
              <a:gd name="connsiteX4" fmla="*/ 1222940 w 2014192"/>
              <a:gd name="connsiteY4" fmla="*/ 572201 h 1958316"/>
              <a:gd name="connsiteX5" fmla="*/ 1419283 w 2014192"/>
              <a:gd name="connsiteY5" fmla="*/ 375858 h 1958316"/>
              <a:gd name="connsiteX6" fmla="*/ 1969045 w 2014192"/>
              <a:gd name="connsiteY6" fmla="*/ 1924167 h 1958316"/>
              <a:gd name="connsiteX7" fmla="*/ 1121962 w 2014192"/>
              <a:gd name="connsiteY7" fmla="*/ 1486600 h 1958316"/>
              <a:gd name="connsiteX8" fmla="*/ 1105134 w 2014192"/>
              <a:gd name="connsiteY8" fmla="*/ 1144403 h 1958316"/>
              <a:gd name="connsiteX9" fmla="*/ 1155622 w 2014192"/>
              <a:gd name="connsiteY9" fmla="*/ 757325 h 1958316"/>
              <a:gd name="connsiteX10" fmla="*/ 987327 w 2014192"/>
              <a:gd name="connsiteY10" fmla="*/ 611470 h 1958316"/>
              <a:gd name="connsiteX11" fmla="*/ 796594 w 2014192"/>
              <a:gd name="connsiteY11" fmla="*/ 751715 h 1958316"/>
              <a:gd name="connsiteX12" fmla="*/ 807813 w 2014192"/>
              <a:gd name="connsiteY12" fmla="*/ 1161232 h 1958316"/>
              <a:gd name="connsiteX13" fmla="*/ 852692 w 2014192"/>
              <a:gd name="connsiteY13" fmla="*/ 1509040 h 1958316"/>
              <a:gd name="connsiteX14" fmla="*/ 0 w 2014192"/>
              <a:gd name="connsiteY14" fmla="*/ 1952216 h 1958316"/>
              <a:gd name="connsiteX15" fmla="*/ 488054 w 2014192"/>
              <a:gd name="connsiteY15" fmla="*/ 375858 h 1958316"/>
              <a:gd name="connsiteX16" fmla="*/ 718056 w 2014192"/>
              <a:gd name="connsiteY16" fmla="*/ 611470 h 1958316"/>
              <a:gd name="connsiteX17" fmla="*/ 880741 w 2014192"/>
              <a:gd name="connsiteY17" fmla="*/ 499274 h 1958316"/>
              <a:gd name="connsiteX18" fmla="*/ 858302 w 2014192"/>
              <a:gd name="connsiteY18" fmla="*/ 0 h 1958316"/>
              <a:gd name="connsiteX0" fmla="*/ 947503 w 2103393"/>
              <a:gd name="connsiteY0" fmla="*/ 0 h 1958316"/>
              <a:gd name="connsiteX1" fmla="*/ 947503 w 2103393"/>
              <a:gd name="connsiteY1" fmla="*/ 0 h 1958316"/>
              <a:gd name="connsiteX2" fmla="*/ 1183115 w 2103393"/>
              <a:gd name="connsiteY2" fmla="*/ 5610 h 1958316"/>
              <a:gd name="connsiteX3" fmla="*/ 1177505 w 2103393"/>
              <a:gd name="connsiteY3" fmla="*/ 493664 h 1958316"/>
              <a:gd name="connsiteX4" fmla="*/ 1312141 w 2103393"/>
              <a:gd name="connsiteY4" fmla="*/ 572201 h 1958316"/>
              <a:gd name="connsiteX5" fmla="*/ 1508484 w 2103393"/>
              <a:gd name="connsiteY5" fmla="*/ 375858 h 1958316"/>
              <a:gd name="connsiteX6" fmla="*/ 2058246 w 2103393"/>
              <a:gd name="connsiteY6" fmla="*/ 1924167 h 1958316"/>
              <a:gd name="connsiteX7" fmla="*/ 1211163 w 2103393"/>
              <a:gd name="connsiteY7" fmla="*/ 1486600 h 1958316"/>
              <a:gd name="connsiteX8" fmla="*/ 1194335 w 2103393"/>
              <a:gd name="connsiteY8" fmla="*/ 1144403 h 1958316"/>
              <a:gd name="connsiteX9" fmla="*/ 1244823 w 2103393"/>
              <a:gd name="connsiteY9" fmla="*/ 757325 h 1958316"/>
              <a:gd name="connsiteX10" fmla="*/ 1076528 w 2103393"/>
              <a:gd name="connsiteY10" fmla="*/ 611470 h 1958316"/>
              <a:gd name="connsiteX11" fmla="*/ 885795 w 2103393"/>
              <a:gd name="connsiteY11" fmla="*/ 751715 h 1958316"/>
              <a:gd name="connsiteX12" fmla="*/ 897014 w 2103393"/>
              <a:gd name="connsiteY12" fmla="*/ 1161232 h 1958316"/>
              <a:gd name="connsiteX13" fmla="*/ 941893 w 2103393"/>
              <a:gd name="connsiteY13" fmla="*/ 1509040 h 1958316"/>
              <a:gd name="connsiteX14" fmla="*/ 89201 w 2103393"/>
              <a:gd name="connsiteY14" fmla="*/ 1952216 h 1958316"/>
              <a:gd name="connsiteX15" fmla="*/ 577255 w 2103393"/>
              <a:gd name="connsiteY15" fmla="*/ 375858 h 1958316"/>
              <a:gd name="connsiteX16" fmla="*/ 807257 w 2103393"/>
              <a:gd name="connsiteY16" fmla="*/ 611470 h 1958316"/>
              <a:gd name="connsiteX17" fmla="*/ 969942 w 2103393"/>
              <a:gd name="connsiteY17" fmla="*/ 499274 h 1958316"/>
              <a:gd name="connsiteX18" fmla="*/ 947503 w 2103393"/>
              <a:gd name="connsiteY18" fmla="*/ 0 h 1958316"/>
              <a:gd name="connsiteX0" fmla="*/ 947503 w 2103393"/>
              <a:gd name="connsiteY0" fmla="*/ 0 h 1958316"/>
              <a:gd name="connsiteX1" fmla="*/ 947503 w 2103393"/>
              <a:gd name="connsiteY1" fmla="*/ 0 h 1958316"/>
              <a:gd name="connsiteX2" fmla="*/ 1183115 w 2103393"/>
              <a:gd name="connsiteY2" fmla="*/ 5610 h 1958316"/>
              <a:gd name="connsiteX3" fmla="*/ 1177505 w 2103393"/>
              <a:gd name="connsiteY3" fmla="*/ 493664 h 1958316"/>
              <a:gd name="connsiteX4" fmla="*/ 1312141 w 2103393"/>
              <a:gd name="connsiteY4" fmla="*/ 572201 h 1958316"/>
              <a:gd name="connsiteX5" fmla="*/ 1508484 w 2103393"/>
              <a:gd name="connsiteY5" fmla="*/ 375858 h 1958316"/>
              <a:gd name="connsiteX6" fmla="*/ 2058246 w 2103393"/>
              <a:gd name="connsiteY6" fmla="*/ 1924167 h 1958316"/>
              <a:gd name="connsiteX7" fmla="*/ 1211163 w 2103393"/>
              <a:gd name="connsiteY7" fmla="*/ 1486600 h 1958316"/>
              <a:gd name="connsiteX8" fmla="*/ 1194335 w 2103393"/>
              <a:gd name="connsiteY8" fmla="*/ 1144403 h 1958316"/>
              <a:gd name="connsiteX9" fmla="*/ 1244823 w 2103393"/>
              <a:gd name="connsiteY9" fmla="*/ 757325 h 1958316"/>
              <a:gd name="connsiteX10" fmla="*/ 1076528 w 2103393"/>
              <a:gd name="connsiteY10" fmla="*/ 611470 h 1958316"/>
              <a:gd name="connsiteX11" fmla="*/ 885795 w 2103393"/>
              <a:gd name="connsiteY11" fmla="*/ 751715 h 1958316"/>
              <a:gd name="connsiteX12" fmla="*/ 897014 w 2103393"/>
              <a:gd name="connsiteY12" fmla="*/ 1161232 h 1958316"/>
              <a:gd name="connsiteX13" fmla="*/ 941893 w 2103393"/>
              <a:gd name="connsiteY13" fmla="*/ 1509040 h 1958316"/>
              <a:gd name="connsiteX14" fmla="*/ 89201 w 2103393"/>
              <a:gd name="connsiteY14" fmla="*/ 1952216 h 1958316"/>
              <a:gd name="connsiteX15" fmla="*/ 577255 w 2103393"/>
              <a:gd name="connsiteY15" fmla="*/ 375858 h 1958316"/>
              <a:gd name="connsiteX16" fmla="*/ 807257 w 2103393"/>
              <a:gd name="connsiteY16" fmla="*/ 611470 h 1958316"/>
              <a:gd name="connsiteX17" fmla="*/ 969942 w 2103393"/>
              <a:gd name="connsiteY17" fmla="*/ 499274 h 1958316"/>
              <a:gd name="connsiteX18" fmla="*/ 947503 w 2103393"/>
              <a:gd name="connsiteY18" fmla="*/ 0 h 1958316"/>
              <a:gd name="connsiteX0" fmla="*/ 947503 w 2103393"/>
              <a:gd name="connsiteY0" fmla="*/ 0 h 1958316"/>
              <a:gd name="connsiteX1" fmla="*/ 947503 w 2103393"/>
              <a:gd name="connsiteY1" fmla="*/ 0 h 1958316"/>
              <a:gd name="connsiteX2" fmla="*/ 1183115 w 2103393"/>
              <a:gd name="connsiteY2" fmla="*/ 5610 h 1958316"/>
              <a:gd name="connsiteX3" fmla="*/ 1177505 w 2103393"/>
              <a:gd name="connsiteY3" fmla="*/ 493664 h 1958316"/>
              <a:gd name="connsiteX4" fmla="*/ 1312141 w 2103393"/>
              <a:gd name="connsiteY4" fmla="*/ 572201 h 1958316"/>
              <a:gd name="connsiteX5" fmla="*/ 1508484 w 2103393"/>
              <a:gd name="connsiteY5" fmla="*/ 375858 h 1958316"/>
              <a:gd name="connsiteX6" fmla="*/ 2058246 w 2103393"/>
              <a:gd name="connsiteY6" fmla="*/ 1924167 h 1958316"/>
              <a:gd name="connsiteX7" fmla="*/ 1211163 w 2103393"/>
              <a:gd name="connsiteY7" fmla="*/ 1486600 h 1958316"/>
              <a:gd name="connsiteX8" fmla="*/ 1194335 w 2103393"/>
              <a:gd name="connsiteY8" fmla="*/ 1144403 h 1958316"/>
              <a:gd name="connsiteX9" fmla="*/ 1244823 w 2103393"/>
              <a:gd name="connsiteY9" fmla="*/ 757325 h 1958316"/>
              <a:gd name="connsiteX10" fmla="*/ 1076528 w 2103393"/>
              <a:gd name="connsiteY10" fmla="*/ 611470 h 1958316"/>
              <a:gd name="connsiteX11" fmla="*/ 885795 w 2103393"/>
              <a:gd name="connsiteY11" fmla="*/ 751715 h 1958316"/>
              <a:gd name="connsiteX12" fmla="*/ 897014 w 2103393"/>
              <a:gd name="connsiteY12" fmla="*/ 1161232 h 1958316"/>
              <a:gd name="connsiteX13" fmla="*/ 930674 w 2103393"/>
              <a:gd name="connsiteY13" fmla="*/ 1480991 h 1958316"/>
              <a:gd name="connsiteX14" fmla="*/ 89201 w 2103393"/>
              <a:gd name="connsiteY14" fmla="*/ 1952216 h 1958316"/>
              <a:gd name="connsiteX15" fmla="*/ 577255 w 2103393"/>
              <a:gd name="connsiteY15" fmla="*/ 375858 h 1958316"/>
              <a:gd name="connsiteX16" fmla="*/ 807257 w 2103393"/>
              <a:gd name="connsiteY16" fmla="*/ 611470 h 1958316"/>
              <a:gd name="connsiteX17" fmla="*/ 969942 w 2103393"/>
              <a:gd name="connsiteY17" fmla="*/ 499274 h 1958316"/>
              <a:gd name="connsiteX18" fmla="*/ 947503 w 2103393"/>
              <a:gd name="connsiteY18" fmla="*/ 0 h 1958316"/>
              <a:gd name="connsiteX0" fmla="*/ 947503 w 2103393"/>
              <a:gd name="connsiteY0" fmla="*/ 0 h 1958316"/>
              <a:gd name="connsiteX1" fmla="*/ 947503 w 2103393"/>
              <a:gd name="connsiteY1" fmla="*/ 0 h 1958316"/>
              <a:gd name="connsiteX2" fmla="*/ 1183115 w 2103393"/>
              <a:gd name="connsiteY2" fmla="*/ 5610 h 1958316"/>
              <a:gd name="connsiteX3" fmla="*/ 1177505 w 2103393"/>
              <a:gd name="connsiteY3" fmla="*/ 493664 h 1958316"/>
              <a:gd name="connsiteX4" fmla="*/ 1312141 w 2103393"/>
              <a:gd name="connsiteY4" fmla="*/ 572201 h 1958316"/>
              <a:gd name="connsiteX5" fmla="*/ 1508484 w 2103393"/>
              <a:gd name="connsiteY5" fmla="*/ 375858 h 1958316"/>
              <a:gd name="connsiteX6" fmla="*/ 2058246 w 2103393"/>
              <a:gd name="connsiteY6" fmla="*/ 1924167 h 1958316"/>
              <a:gd name="connsiteX7" fmla="*/ 1211163 w 2103393"/>
              <a:gd name="connsiteY7" fmla="*/ 1486600 h 1958316"/>
              <a:gd name="connsiteX8" fmla="*/ 1194335 w 2103393"/>
              <a:gd name="connsiteY8" fmla="*/ 1144403 h 1958316"/>
              <a:gd name="connsiteX9" fmla="*/ 1244823 w 2103393"/>
              <a:gd name="connsiteY9" fmla="*/ 757325 h 1958316"/>
              <a:gd name="connsiteX10" fmla="*/ 1076528 w 2103393"/>
              <a:gd name="connsiteY10" fmla="*/ 611470 h 1958316"/>
              <a:gd name="connsiteX11" fmla="*/ 885795 w 2103393"/>
              <a:gd name="connsiteY11" fmla="*/ 751715 h 1958316"/>
              <a:gd name="connsiteX12" fmla="*/ 897014 w 2103393"/>
              <a:gd name="connsiteY12" fmla="*/ 1161232 h 1958316"/>
              <a:gd name="connsiteX13" fmla="*/ 930674 w 2103393"/>
              <a:gd name="connsiteY13" fmla="*/ 1480991 h 1958316"/>
              <a:gd name="connsiteX14" fmla="*/ 89201 w 2103393"/>
              <a:gd name="connsiteY14" fmla="*/ 1952216 h 1958316"/>
              <a:gd name="connsiteX15" fmla="*/ 577255 w 2103393"/>
              <a:gd name="connsiteY15" fmla="*/ 375858 h 1958316"/>
              <a:gd name="connsiteX16" fmla="*/ 807257 w 2103393"/>
              <a:gd name="connsiteY16" fmla="*/ 611470 h 1958316"/>
              <a:gd name="connsiteX17" fmla="*/ 969942 w 2103393"/>
              <a:gd name="connsiteY17" fmla="*/ 499274 h 1958316"/>
              <a:gd name="connsiteX18" fmla="*/ 947503 w 2103393"/>
              <a:gd name="connsiteY18" fmla="*/ 0 h 1958316"/>
              <a:gd name="connsiteX0" fmla="*/ 947503 w 2103393"/>
              <a:gd name="connsiteY0" fmla="*/ 0 h 1958316"/>
              <a:gd name="connsiteX1" fmla="*/ 947503 w 2103393"/>
              <a:gd name="connsiteY1" fmla="*/ 0 h 1958316"/>
              <a:gd name="connsiteX2" fmla="*/ 1183115 w 2103393"/>
              <a:gd name="connsiteY2" fmla="*/ 5610 h 1958316"/>
              <a:gd name="connsiteX3" fmla="*/ 1177505 w 2103393"/>
              <a:gd name="connsiteY3" fmla="*/ 493664 h 1958316"/>
              <a:gd name="connsiteX4" fmla="*/ 1312141 w 2103393"/>
              <a:gd name="connsiteY4" fmla="*/ 572201 h 1958316"/>
              <a:gd name="connsiteX5" fmla="*/ 1508484 w 2103393"/>
              <a:gd name="connsiteY5" fmla="*/ 375858 h 1958316"/>
              <a:gd name="connsiteX6" fmla="*/ 2058246 w 2103393"/>
              <a:gd name="connsiteY6" fmla="*/ 1924167 h 1958316"/>
              <a:gd name="connsiteX7" fmla="*/ 1211163 w 2103393"/>
              <a:gd name="connsiteY7" fmla="*/ 1486600 h 1958316"/>
              <a:gd name="connsiteX8" fmla="*/ 1194335 w 2103393"/>
              <a:gd name="connsiteY8" fmla="*/ 1144403 h 1958316"/>
              <a:gd name="connsiteX9" fmla="*/ 1244823 w 2103393"/>
              <a:gd name="connsiteY9" fmla="*/ 757325 h 1958316"/>
              <a:gd name="connsiteX10" fmla="*/ 1076528 w 2103393"/>
              <a:gd name="connsiteY10" fmla="*/ 611470 h 1958316"/>
              <a:gd name="connsiteX11" fmla="*/ 885795 w 2103393"/>
              <a:gd name="connsiteY11" fmla="*/ 751715 h 1958316"/>
              <a:gd name="connsiteX12" fmla="*/ 897014 w 2103393"/>
              <a:gd name="connsiteY12" fmla="*/ 1161232 h 1958316"/>
              <a:gd name="connsiteX13" fmla="*/ 930674 w 2103393"/>
              <a:gd name="connsiteY13" fmla="*/ 1480991 h 1958316"/>
              <a:gd name="connsiteX14" fmla="*/ 89201 w 2103393"/>
              <a:gd name="connsiteY14" fmla="*/ 1952216 h 1958316"/>
              <a:gd name="connsiteX15" fmla="*/ 577255 w 2103393"/>
              <a:gd name="connsiteY15" fmla="*/ 375858 h 1958316"/>
              <a:gd name="connsiteX16" fmla="*/ 807257 w 2103393"/>
              <a:gd name="connsiteY16" fmla="*/ 611470 h 1958316"/>
              <a:gd name="connsiteX17" fmla="*/ 969942 w 2103393"/>
              <a:gd name="connsiteY17" fmla="*/ 499274 h 1958316"/>
              <a:gd name="connsiteX18" fmla="*/ 947503 w 2103393"/>
              <a:gd name="connsiteY18" fmla="*/ 0 h 1958316"/>
              <a:gd name="connsiteX0" fmla="*/ 947503 w 2103393"/>
              <a:gd name="connsiteY0" fmla="*/ 0 h 1958316"/>
              <a:gd name="connsiteX1" fmla="*/ 947503 w 2103393"/>
              <a:gd name="connsiteY1" fmla="*/ 0 h 1958316"/>
              <a:gd name="connsiteX2" fmla="*/ 1183115 w 2103393"/>
              <a:gd name="connsiteY2" fmla="*/ 5610 h 1958316"/>
              <a:gd name="connsiteX3" fmla="*/ 1177505 w 2103393"/>
              <a:gd name="connsiteY3" fmla="*/ 493664 h 1958316"/>
              <a:gd name="connsiteX4" fmla="*/ 1312141 w 2103393"/>
              <a:gd name="connsiteY4" fmla="*/ 572201 h 1958316"/>
              <a:gd name="connsiteX5" fmla="*/ 1508484 w 2103393"/>
              <a:gd name="connsiteY5" fmla="*/ 375858 h 1958316"/>
              <a:gd name="connsiteX6" fmla="*/ 2058246 w 2103393"/>
              <a:gd name="connsiteY6" fmla="*/ 1924167 h 1958316"/>
              <a:gd name="connsiteX7" fmla="*/ 1211163 w 2103393"/>
              <a:gd name="connsiteY7" fmla="*/ 1486600 h 1958316"/>
              <a:gd name="connsiteX8" fmla="*/ 1194335 w 2103393"/>
              <a:gd name="connsiteY8" fmla="*/ 1144403 h 1958316"/>
              <a:gd name="connsiteX9" fmla="*/ 1244823 w 2103393"/>
              <a:gd name="connsiteY9" fmla="*/ 757325 h 1958316"/>
              <a:gd name="connsiteX10" fmla="*/ 1076528 w 2103393"/>
              <a:gd name="connsiteY10" fmla="*/ 611470 h 1958316"/>
              <a:gd name="connsiteX11" fmla="*/ 885795 w 2103393"/>
              <a:gd name="connsiteY11" fmla="*/ 751715 h 1958316"/>
              <a:gd name="connsiteX12" fmla="*/ 897014 w 2103393"/>
              <a:gd name="connsiteY12" fmla="*/ 1161232 h 1958316"/>
              <a:gd name="connsiteX13" fmla="*/ 930674 w 2103393"/>
              <a:gd name="connsiteY13" fmla="*/ 1480991 h 1958316"/>
              <a:gd name="connsiteX14" fmla="*/ 89201 w 2103393"/>
              <a:gd name="connsiteY14" fmla="*/ 1952216 h 1958316"/>
              <a:gd name="connsiteX15" fmla="*/ 577255 w 2103393"/>
              <a:gd name="connsiteY15" fmla="*/ 375858 h 1958316"/>
              <a:gd name="connsiteX16" fmla="*/ 807257 w 2103393"/>
              <a:gd name="connsiteY16" fmla="*/ 611470 h 1958316"/>
              <a:gd name="connsiteX17" fmla="*/ 969942 w 2103393"/>
              <a:gd name="connsiteY17" fmla="*/ 499274 h 1958316"/>
              <a:gd name="connsiteX18" fmla="*/ 947503 w 2103393"/>
              <a:gd name="connsiteY18" fmla="*/ 0 h 1958316"/>
              <a:gd name="connsiteX0" fmla="*/ 947503 w 2103393"/>
              <a:gd name="connsiteY0" fmla="*/ 0 h 1958316"/>
              <a:gd name="connsiteX1" fmla="*/ 947503 w 2103393"/>
              <a:gd name="connsiteY1" fmla="*/ 0 h 1958316"/>
              <a:gd name="connsiteX2" fmla="*/ 1183115 w 2103393"/>
              <a:gd name="connsiteY2" fmla="*/ 5610 h 1958316"/>
              <a:gd name="connsiteX3" fmla="*/ 1177505 w 2103393"/>
              <a:gd name="connsiteY3" fmla="*/ 493664 h 1958316"/>
              <a:gd name="connsiteX4" fmla="*/ 1312141 w 2103393"/>
              <a:gd name="connsiteY4" fmla="*/ 572201 h 1958316"/>
              <a:gd name="connsiteX5" fmla="*/ 1508484 w 2103393"/>
              <a:gd name="connsiteY5" fmla="*/ 375858 h 1958316"/>
              <a:gd name="connsiteX6" fmla="*/ 2058246 w 2103393"/>
              <a:gd name="connsiteY6" fmla="*/ 1924167 h 1958316"/>
              <a:gd name="connsiteX7" fmla="*/ 1211163 w 2103393"/>
              <a:gd name="connsiteY7" fmla="*/ 1486600 h 1958316"/>
              <a:gd name="connsiteX8" fmla="*/ 1194335 w 2103393"/>
              <a:gd name="connsiteY8" fmla="*/ 1144403 h 1958316"/>
              <a:gd name="connsiteX9" fmla="*/ 1244823 w 2103393"/>
              <a:gd name="connsiteY9" fmla="*/ 757325 h 1958316"/>
              <a:gd name="connsiteX10" fmla="*/ 1076528 w 2103393"/>
              <a:gd name="connsiteY10" fmla="*/ 611470 h 1958316"/>
              <a:gd name="connsiteX11" fmla="*/ 885795 w 2103393"/>
              <a:gd name="connsiteY11" fmla="*/ 751715 h 1958316"/>
              <a:gd name="connsiteX12" fmla="*/ 897014 w 2103393"/>
              <a:gd name="connsiteY12" fmla="*/ 1161232 h 1958316"/>
              <a:gd name="connsiteX13" fmla="*/ 930674 w 2103393"/>
              <a:gd name="connsiteY13" fmla="*/ 1480991 h 1958316"/>
              <a:gd name="connsiteX14" fmla="*/ 89201 w 2103393"/>
              <a:gd name="connsiteY14" fmla="*/ 1952216 h 1958316"/>
              <a:gd name="connsiteX15" fmla="*/ 577255 w 2103393"/>
              <a:gd name="connsiteY15" fmla="*/ 375858 h 1958316"/>
              <a:gd name="connsiteX16" fmla="*/ 807257 w 2103393"/>
              <a:gd name="connsiteY16" fmla="*/ 611470 h 1958316"/>
              <a:gd name="connsiteX17" fmla="*/ 969942 w 2103393"/>
              <a:gd name="connsiteY17" fmla="*/ 499274 h 1958316"/>
              <a:gd name="connsiteX18" fmla="*/ 947503 w 2103393"/>
              <a:gd name="connsiteY18" fmla="*/ 0 h 1958316"/>
              <a:gd name="connsiteX0" fmla="*/ 947503 w 2103393"/>
              <a:gd name="connsiteY0" fmla="*/ 0 h 1958316"/>
              <a:gd name="connsiteX1" fmla="*/ 947503 w 2103393"/>
              <a:gd name="connsiteY1" fmla="*/ 0 h 1958316"/>
              <a:gd name="connsiteX2" fmla="*/ 1183115 w 2103393"/>
              <a:gd name="connsiteY2" fmla="*/ 5610 h 1958316"/>
              <a:gd name="connsiteX3" fmla="*/ 1177505 w 2103393"/>
              <a:gd name="connsiteY3" fmla="*/ 493664 h 1958316"/>
              <a:gd name="connsiteX4" fmla="*/ 1312141 w 2103393"/>
              <a:gd name="connsiteY4" fmla="*/ 572201 h 1958316"/>
              <a:gd name="connsiteX5" fmla="*/ 1508484 w 2103393"/>
              <a:gd name="connsiteY5" fmla="*/ 375858 h 1958316"/>
              <a:gd name="connsiteX6" fmla="*/ 2058246 w 2103393"/>
              <a:gd name="connsiteY6" fmla="*/ 1924167 h 1958316"/>
              <a:gd name="connsiteX7" fmla="*/ 1211163 w 2103393"/>
              <a:gd name="connsiteY7" fmla="*/ 1486600 h 1958316"/>
              <a:gd name="connsiteX8" fmla="*/ 1194335 w 2103393"/>
              <a:gd name="connsiteY8" fmla="*/ 1144403 h 1958316"/>
              <a:gd name="connsiteX9" fmla="*/ 1244823 w 2103393"/>
              <a:gd name="connsiteY9" fmla="*/ 757325 h 1958316"/>
              <a:gd name="connsiteX10" fmla="*/ 1076528 w 2103393"/>
              <a:gd name="connsiteY10" fmla="*/ 611470 h 1958316"/>
              <a:gd name="connsiteX11" fmla="*/ 885795 w 2103393"/>
              <a:gd name="connsiteY11" fmla="*/ 751715 h 1958316"/>
              <a:gd name="connsiteX12" fmla="*/ 897014 w 2103393"/>
              <a:gd name="connsiteY12" fmla="*/ 1161232 h 1958316"/>
              <a:gd name="connsiteX13" fmla="*/ 891405 w 2103393"/>
              <a:gd name="connsiteY13" fmla="*/ 1509040 h 1958316"/>
              <a:gd name="connsiteX14" fmla="*/ 89201 w 2103393"/>
              <a:gd name="connsiteY14" fmla="*/ 1952216 h 1958316"/>
              <a:gd name="connsiteX15" fmla="*/ 577255 w 2103393"/>
              <a:gd name="connsiteY15" fmla="*/ 375858 h 1958316"/>
              <a:gd name="connsiteX16" fmla="*/ 807257 w 2103393"/>
              <a:gd name="connsiteY16" fmla="*/ 611470 h 1958316"/>
              <a:gd name="connsiteX17" fmla="*/ 969942 w 2103393"/>
              <a:gd name="connsiteY17" fmla="*/ 499274 h 1958316"/>
              <a:gd name="connsiteX18" fmla="*/ 947503 w 2103393"/>
              <a:gd name="connsiteY18" fmla="*/ 0 h 1958316"/>
              <a:gd name="connsiteX0" fmla="*/ 947503 w 2103393"/>
              <a:gd name="connsiteY0" fmla="*/ 0 h 1958316"/>
              <a:gd name="connsiteX1" fmla="*/ 947503 w 2103393"/>
              <a:gd name="connsiteY1" fmla="*/ 0 h 1958316"/>
              <a:gd name="connsiteX2" fmla="*/ 1183115 w 2103393"/>
              <a:gd name="connsiteY2" fmla="*/ 5610 h 1958316"/>
              <a:gd name="connsiteX3" fmla="*/ 1177505 w 2103393"/>
              <a:gd name="connsiteY3" fmla="*/ 493664 h 1958316"/>
              <a:gd name="connsiteX4" fmla="*/ 1312141 w 2103393"/>
              <a:gd name="connsiteY4" fmla="*/ 572201 h 1958316"/>
              <a:gd name="connsiteX5" fmla="*/ 1508484 w 2103393"/>
              <a:gd name="connsiteY5" fmla="*/ 375858 h 1958316"/>
              <a:gd name="connsiteX6" fmla="*/ 2058246 w 2103393"/>
              <a:gd name="connsiteY6" fmla="*/ 1924167 h 1958316"/>
              <a:gd name="connsiteX7" fmla="*/ 1211163 w 2103393"/>
              <a:gd name="connsiteY7" fmla="*/ 1486600 h 1958316"/>
              <a:gd name="connsiteX8" fmla="*/ 1194335 w 2103393"/>
              <a:gd name="connsiteY8" fmla="*/ 1144403 h 1958316"/>
              <a:gd name="connsiteX9" fmla="*/ 1244823 w 2103393"/>
              <a:gd name="connsiteY9" fmla="*/ 757325 h 1958316"/>
              <a:gd name="connsiteX10" fmla="*/ 1076528 w 2103393"/>
              <a:gd name="connsiteY10" fmla="*/ 611470 h 1958316"/>
              <a:gd name="connsiteX11" fmla="*/ 885795 w 2103393"/>
              <a:gd name="connsiteY11" fmla="*/ 751715 h 1958316"/>
              <a:gd name="connsiteX12" fmla="*/ 897014 w 2103393"/>
              <a:gd name="connsiteY12" fmla="*/ 1161232 h 1958316"/>
              <a:gd name="connsiteX13" fmla="*/ 891405 w 2103393"/>
              <a:gd name="connsiteY13" fmla="*/ 1509040 h 1958316"/>
              <a:gd name="connsiteX14" fmla="*/ 89201 w 2103393"/>
              <a:gd name="connsiteY14" fmla="*/ 1952216 h 1958316"/>
              <a:gd name="connsiteX15" fmla="*/ 577255 w 2103393"/>
              <a:gd name="connsiteY15" fmla="*/ 375858 h 1958316"/>
              <a:gd name="connsiteX16" fmla="*/ 807257 w 2103393"/>
              <a:gd name="connsiteY16" fmla="*/ 611470 h 1958316"/>
              <a:gd name="connsiteX17" fmla="*/ 969942 w 2103393"/>
              <a:gd name="connsiteY17" fmla="*/ 499274 h 1958316"/>
              <a:gd name="connsiteX18" fmla="*/ 947503 w 2103393"/>
              <a:gd name="connsiteY18" fmla="*/ 0 h 1958316"/>
              <a:gd name="connsiteX0" fmla="*/ 947503 w 2103393"/>
              <a:gd name="connsiteY0" fmla="*/ 0 h 1958316"/>
              <a:gd name="connsiteX1" fmla="*/ 947503 w 2103393"/>
              <a:gd name="connsiteY1" fmla="*/ 0 h 1958316"/>
              <a:gd name="connsiteX2" fmla="*/ 1183115 w 2103393"/>
              <a:gd name="connsiteY2" fmla="*/ 5610 h 1958316"/>
              <a:gd name="connsiteX3" fmla="*/ 1177505 w 2103393"/>
              <a:gd name="connsiteY3" fmla="*/ 493664 h 1958316"/>
              <a:gd name="connsiteX4" fmla="*/ 1312141 w 2103393"/>
              <a:gd name="connsiteY4" fmla="*/ 572201 h 1958316"/>
              <a:gd name="connsiteX5" fmla="*/ 1508484 w 2103393"/>
              <a:gd name="connsiteY5" fmla="*/ 375858 h 1958316"/>
              <a:gd name="connsiteX6" fmla="*/ 2058246 w 2103393"/>
              <a:gd name="connsiteY6" fmla="*/ 1924167 h 1958316"/>
              <a:gd name="connsiteX7" fmla="*/ 1211163 w 2103393"/>
              <a:gd name="connsiteY7" fmla="*/ 1486600 h 1958316"/>
              <a:gd name="connsiteX8" fmla="*/ 1194335 w 2103393"/>
              <a:gd name="connsiteY8" fmla="*/ 1144403 h 1958316"/>
              <a:gd name="connsiteX9" fmla="*/ 1244823 w 2103393"/>
              <a:gd name="connsiteY9" fmla="*/ 757325 h 1958316"/>
              <a:gd name="connsiteX10" fmla="*/ 1076528 w 2103393"/>
              <a:gd name="connsiteY10" fmla="*/ 611470 h 1958316"/>
              <a:gd name="connsiteX11" fmla="*/ 885795 w 2103393"/>
              <a:gd name="connsiteY11" fmla="*/ 751715 h 1958316"/>
              <a:gd name="connsiteX12" fmla="*/ 897014 w 2103393"/>
              <a:gd name="connsiteY12" fmla="*/ 1161232 h 1958316"/>
              <a:gd name="connsiteX13" fmla="*/ 891405 w 2103393"/>
              <a:gd name="connsiteY13" fmla="*/ 1509040 h 1958316"/>
              <a:gd name="connsiteX14" fmla="*/ 89201 w 2103393"/>
              <a:gd name="connsiteY14" fmla="*/ 1952216 h 1958316"/>
              <a:gd name="connsiteX15" fmla="*/ 577255 w 2103393"/>
              <a:gd name="connsiteY15" fmla="*/ 375858 h 1958316"/>
              <a:gd name="connsiteX16" fmla="*/ 807257 w 2103393"/>
              <a:gd name="connsiteY16" fmla="*/ 611470 h 1958316"/>
              <a:gd name="connsiteX17" fmla="*/ 969942 w 2103393"/>
              <a:gd name="connsiteY17" fmla="*/ 499274 h 1958316"/>
              <a:gd name="connsiteX18" fmla="*/ 947503 w 2103393"/>
              <a:gd name="connsiteY18" fmla="*/ 0 h 1958316"/>
              <a:gd name="connsiteX0" fmla="*/ 947503 w 2103393"/>
              <a:gd name="connsiteY0" fmla="*/ 0 h 1958316"/>
              <a:gd name="connsiteX1" fmla="*/ 947503 w 2103393"/>
              <a:gd name="connsiteY1" fmla="*/ 0 h 1958316"/>
              <a:gd name="connsiteX2" fmla="*/ 1183115 w 2103393"/>
              <a:gd name="connsiteY2" fmla="*/ 5610 h 1958316"/>
              <a:gd name="connsiteX3" fmla="*/ 1177505 w 2103393"/>
              <a:gd name="connsiteY3" fmla="*/ 493664 h 1958316"/>
              <a:gd name="connsiteX4" fmla="*/ 1312141 w 2103393"/>
              <a:gd name="connsiteY4" fmla="*/ 572201 h 1958316"/>
              <a:gd name="connsiteX5" fmla="*/ 1508484 w 2103393"/>
              <a:gd name="connsiteY5" fmla="*/ 375858 h 1958316"/>
              <a:gd name="connsiteX6" fmla="*/ 2058246 w 2103393"/>
              <a:gd name="connsiteY6" fmla="*/ 1924167 h 1958316"/>
              <a:gd name="connsiteX7" fmla="*/ 1211163 w 2103393"/>
              <a:gd name="connsiteY7" fmla="*/ 1486600 h 1958316"/>
              <a:gd name="connsiteX8" fmla="*/ 1194335 w 2103393"/>
              <a:gd name="connsiteY8" fmla="*/ 1144403 h 1958316"/>
              <a:gd name="connsiteX9" fmla="*/ 1244823 w 2103393"/>
              <a:gd name="connsiteY9" fmla="*/ 757325 h 1958316"/>
              <a:gd name="connsiteX10" fmla="*/ 1076528 w 2103393"/>
              <a:gd name="connsiteY10" fmla="*/ 611470 h 1958316"/>
              <a:gd name="connsiteX11" fmla="*/ 885795 w 2103393"/>
              <a:gd name="connsiteY11" fmla="*/ 751715 h 1958316"/>
              <a:gd name="connsiteX12" fmla="*/ 897014 w 2103393"/>
              <a:gd name="connsiteY12" fmla="*/ 1161232 h 1958316"/>
              <a:gd name="connsiteX13" fmla="*/ 891405 w 2103393"/>
              <a:gd name="connsiteY13" fmla="*/ 1509040 h 1958316"/>
              <a:gd name="connsiteX14" fmla="*/ 89201 w 2103393"/>
              <a:gd name="connsiteY14" fmla="*/ 1952216 h 1958316"/>
              <a:gd name="connsiteX15" fmla="*/ 577255 w 2103393"/>
              <a:gd name="connsiteY15" fmla="*/ 375858 h 1958316"/>
              <a:gd name="connsiteX16" fmla="*/ 807257 w 2103393"/>
              <a:gd name="connsiteY16" fmla="*/ 611470 h 1958316"/>
              <a:gd name="connsiteX17" fmla="*/ 969942 w 2103393"/>
              <a:gd name="connsiteY17" fmla="*/ 499274 h 1958316"/>
              <a:gd name="connsiteX18" fmla="*/ 947503 w 2103393"/>
              <a:gd name="connsiteY18" fmla="*/ 0 h 1958316"/>
              <a:gd name="connsiteX0" fmla="*/ 947503 w 2103393"/>
              <a:gd name="connsiteY0" fmla="*/ 0 h 1958316"/>
              <a:gd name="connsiteX1" fmla="*/ 947503 w 2103393"/>
              <a:gd name="connsiteY1" fmla="*/ 0 h 1958316"/>
              <a:gd name="connsiteX2" fmla="*/ 1183115 w 2103393"/>
              <a:gd name="connsiteY2" fmla="*/ 5610 h 1958316"/>
              <a:gd name="connsiteX3" fmla="*/ 1177505 w 2103393"/>
              <a:gd name="connsiteY3" fmla="*/ 493664 h 1958316"/>
              <a:gd name="connsiteX4" fmla="*/ 1312141 w 2103393"/>
              <a:gd name="connsiteY4" fmla="*/ 572201 h 1958316"/>
              <a:gd name="connsiteX5" fmla="*/ 1508484 w 2103393"/>
              <a:gd name="connsiteY5" fmla="*/ 375858 h 1958316"/>
              <a:gd name="connsiteX6" fmla="*/ 2058246 w 2103393"/>
              <a:gd name="connsiteY6" fmla="*/ 1924167 h 1958316"/>
              <a:gd name="connsiteX7" fmla="*/ 1211163 w 2103393"/>
              <a:gd name="connsiteY7" fmla="*/ 1486600 h 1958316"/>
              <a:gd name="connsiteX8" fmla="*/ 1194335 w 2103393"/>
              <a:gd name="connsiteY8" fmla="*/ 1144403 h 1958316"/>
              <a:gd name="connsiteX9" fmla="*/ 1244823 w 2103393"/>
              <a:gd name="connsiteY9" fmla="*/ 757325 h 1958316"/>
              <a:gd name="connsiteX10" fmla="*/ 1076528 w 2103393"/>
              <a:gd name="connsiteY10" fmla="*/ 611470 h 1958316"/>
              <a:gd name="connsiteX11" fmla="*/ 885795 w 2103393"/>
              <a:gd name="connsiteY11" fmla="*/ 751715 h 1958316"/>
              <a:gd name="connsiteX12" fmla="*/ 897014 w 2103393"/>
              <a:gd name="connsiteY12" fmla="*/ 1161232 h 1958316"/>
              <a:gd name="connsiteX13" fmla="*/ 891405 w 2103393"/>
              <a:gd name="connsiteY13" fmla="*/ 1509040 h 1958316"/>
              <a:gd name="connsiteX14" fmla="*/ 89201 w 2103393"/>
              <a:gd name="connsiteY14" fmla="*/ 1952216 h 1958316"/>
              <a:gd name="connsiteX15" fmla="*/ 577255 w 2103393"/>
              <a:gd name="connsiteY15" fmla="*/ 375858 h 1958316"/>
              <a:gd name="connsiteX16" fmla="*/ 807257 w 2103393"/>
              <a:gd name="connsiteY16" fmla="*/ 611470 h 1958316"/>
              <a:gd name="connsiteX17" fmla="*/ 969942 w 2103393"/>
              <a:gd name="connsiteY17" fmla="*/ 499274 h 1958316"/>
              <a:gd name="connsiteX18" fmla="*/ 947503 w 2103393"/>
              <a:gd name="connsiteY18" fmla="*/ 0 h 1958316"/>
              <a:gd name="connsiteX0" fmla="*/ 947503 w 2103393"/>
              <a:gd name="connsiteY0" fmla="*/ 0 h 1958316"/>
              <a:gd name="connsiteX1" fmla="*/ 947503 w 2103393"/>
              <a:gd name="connsiteY1" fmla="*/ 0 h 1958316"/>
              <a:gd name="connsiteX2" fmla="*/ 1183115 w 2103393"/>
              <a:gd name="connsiteY2" fmla="*/ 5610 h 1958316"/>
              <a:gd name="connsiteX3" fmla="*/ 1177505 w 2103393"/>
              <a:gd name="connsiteY3" fmla="*/ 493664 h 1958316"/>
              <a:gd name="connsiteX4" fmla="*/ 1312141 w 2103393"/>
              <a:gd name="connsiteY4" fmla="*/ 572201 h 1958316"/>
              <a:gd name="connsiteX5" fmla="*/ 1508484 w 2103393"/>
              <a:gd name="connsiteY5" fmla="*/ 375858 h 1958316"/>
              <a:gd name="connsiteX6" fmla="*/ 2058246 w 2103393"/>
              <a:gd name="connsiteY6" fmla="*/ 1924167 h 1958316"/>
              <a:gd name="connsiteX7" fmla="*/ 1211163 w 2103393"/>
              <a:gd name="connsiteY7" fmla="*/ 1486600 h 1958316"/>
              <a:gd name="connsiteX8" fmla="*/ 1194335 w 2103393"/>
              <a:gd name="connsiteY8" fmla="*/ 1144403 h 1958316"/>
              <a:gd name="connsiteX9" fmla="*/ 1244823 w 2103393"/>
              <a:gd name="connsiteY9" fmla="*/ 757325 h 1958316"/>
              <a:gd name="connsiteX10" fmla="*/ 1076528 w 2103393"/>
              <a:gd name="connsiteY10" fmla="*/ 611470 h 1958316"/>
              <a:gd name="connsiteX11" fmla="*/ 885795 w 2103393"/>
              <a:gd name="connsiteY11" fmla="*/ 751715 h 1958316"/>
              <a:gd name="connsiteX12" fmla="*/ 897014 w 2103393"/>
              <a:gd name="connsiteY12" fmla="*/ 1161232 h 1958316"/>
              <a:gd name="connsiteX13" fmla="*/ 891405 w 2103393"/>
              <a:gd name="connsiteY13" fmla="*/ 1509040 h 1958316"/>
              <a:gd name="connsiteX14" fmla="*/ 89201 w 2103393"/>
              <a:gd name="connsiteY14" fmla="*/ 1952216 h 1958316"/>
              <a:gd name="connsiteX15" fmla="*/ 577255 w 2103393"/>
              <a:gd name="connsiteY15" fmla="*/ 375858 h 1958316"/>
              <a:gd name="connsiteX16" fmla="*/ 807257 w 2103393"/>
              <a:gd name="connsiteY16" fmla="*/ 611470 h 1958316"/>
              <a:gd name="connsiteX17" fmla="*/ 969942 w 2103393"/>
              <a:gd name="connsiteY17" fmla="*/ 499274 h 1958316"/>
              <a:gd name="connsiteX18" fmla="*/ 947503 w 2103393"/>
              <a:gd name="connsiteY18" fmla="*/ 0 h 1958316"/>
              <a:gd name="connsiteX0" fmla="*/ 947503 w 2103393"/>
              <a:gd name="connsiteY0" fmla="*/ 0 h 1958316"/>
              <a:gd name="connsiteX1" fmla="*/ 947503 w 2103393"/>
              <a:gd name="connsiteY1" fmla="*/ 0 h 1958316"/>
              <a:gd name="connsiteX2" fmla="*/ 1183115 w 2103393"/>
              <a:gd name="connsiteY2" fmla="*/ 5610 h 1958316"/>
              <a:gd name="connsiteX3" fmla="*/ 1177505 w 2103393"/>
              <a:gd name="connsiteY3" fmla="*/ 493664 h 1958316"/>
              <a:gd name="connsiteX4" fmla="*/ 1312141 w 2103393"/>
              <a:gd name="connsiteY4" fmla="*/ 572201 h 1958316"/>
              <a:gd name="connsiteX5" fmla="*/ 1508484 w 2103393"/>
              <a:gd name="connsiteY5" fmla="*/ 375858 h 1958316"/>
              <a:gd name="connsiteX6" fmla="*/ 2058246 w 2103393"/>
              <a:gd name="connsiteY6" fmla="*/ 1924167 h 1958316"/>
              <a:gd name="connsiteX7" fmla="*/ 1211163 w 2103393"/>
              <a:gd name="connsiteY7" fmla="*/ 1486600 h 1958316"/>
              <a:gd name="connsiteX8" fmla="*/ 1194335 w 2103393"/>
              <a:gd name="connsiteY8" fmla="*/ 1144403 h 1958316"/>
              <a:gd name="connsiteX9" fmla="*/ 1244823 w 2103393"/>
              <a:gd name="connsiteY9" fmla="*/ 757325 h 1958316"/>
              <a:gd name="connsiteX10" fmla="*/ 1076528 w 2103393"/>
              <a:gd name="connsiteY10" fmla="*/ 611470 h 1958316"/>
              <a:gd name="connsiteX11" fmla="*/ 885795 w 2103393"/>
              <a:gd name="connsiteY11" fmla="*/ 751715 h 1958316"/>
              <a:gd name="connsiteX12" fmla="*/ 897014 w 2103393"/>
              <a:gd name="connsiteY12" fmla="*/ 1161232 h 1958316"/>
              <a:gd name="connsiteX13" fmla="*/ 891405 w 2103393"/>
              <a:gd name="connsiteY13" fmla="*/ 1509040 h 1958316"/>
              <a:gd name="connsiteX14" fmla="*/ 89201 w 2103393"/>
              <a:gd name="connsiteY14" fmla="*/ 1952216 h 1958316"/>
              <a:gd name="connsiteX15" fmla="*/ 577255 w 2103393"/>
              <a:gd name="connsiteY15" fmla="*/ 375858 h 1958316"/>
              <a:gd name="connsiteX16" fmla="*/ 807257 w 2103393"/>
              <a:gd name="connsiteY16" fmla="*/ 611470 h 1958316"/>
              <a:gd name="connsiteX17" fmla="*/ 969942 w 2103393"/>
              <a:gd name="connsiteY17" fmla="*/ 499274 h 1958316"/>
              <a:gd name="connsiteX18" fmla="*/ 947503 w 2103393"/>
              <a:gd name="connsiteY18" fmla="*/ 0 h 1958316"/>
              <a:gd name="connsiteX0" fmla="*/ 947503 w 2103393"/>
              <a:gd name="connsiteY0" fmla="*/ 0 h 1958316"/>
              <a:gd name="connsiteX1" fmla="*/ 947503 w 2103393"/>
              <a:gd name="connsiteY1" fmla="*/ 0 h 1958316"/>
              <a:gd name="connsiteX2" fmla="*/ 1183115 w 2103393"/>
              <a:gd name="connsiteY2" fmla="*/ 5610 h 1958316"/>
              <a:gd name="connsiteX3" fmla="*/ 1177505 w 2103393"/>
              <a:gd name="connsiteY3" fmla="*/ 493664 h 1958316"/>
              <a:gd name="connsiteX4" fmla="*/ 1312141 w 2103393"/>
              <a:gd name="connsiteY4" fmla="*/ 572201 h 1958316"/>
              <a:gd name="connsiteX5" fmla="*/ 1508484 w 2103393"/>
              <a:gd name="connsiteY5" fmla="*/ 375858 h 1958316"/>
              <a:gd name="connsiteX6" fmla="*/ 2058246 w 2103393"/>
              <a:gd name="connsiteY6" fmla="*/ 1924167 h 1958316"/>
              <a:gd name="connsiteX7" fmla="*/ 1211163 w 2103393"/>
              <a:gd name="connsiteY7" fmla="*/ 1486600 h 1958316"/>
              <a:gd name="connsiteX8" fmla="*/ 1194335 w 2103393"/>
              <a:gd name="connsiteY8" fmla="*/ 1144403 h 1958316"/>
              <a:gd name="connsiteX9" fmla="*/ 1244823 w 2103393"/>
              <a:gd name="connsiteY9" fmla="*/ 757325 h 1958316"/>
              <a:gd name="connsiteX10" fmla="*/ 1076528 w 2103393"/>
              <a:gd name="connsiteY10" fmla="*/ 611470 h 1958316"/>
              <a:gd name="connsiteX11" fmla="*/ 885795 w 2103393"/>
              <a:gd name="connsiteY11" fmla="*/ 751715 h 1958316"/>
              <a:gd name="connsiteX12" fmla="*/ 919453 w 2103393"/>
              <a:gd name="connsiteY12" fmla="*/ 1189281 h 1958316"/>
              <a:gd name="connsiteX13" fmla="*/ 891405 w 2103393"/>
              <a:gd name="connsiteY13" fmla="*/ 1509040 h 1958316"/>
              <a:gd name="connsiteX14" fmla="*/ 89201 w 2103393"/>
              <a:gd name="connsiteY14" fmla="*/ 1952216 h 1958316"/>
              <a:gd name="connsiteX15" fmla="*/ 577255 w 2103393"/>
              <a:gd name="connsiteY15" fmla="*/ 375858 h 1958316"/>
              <a:gd name="connsiteX16" fmla="*/ 807257 w 2103393"/>
              <a:gd name="connsiteY16" fmla="*/ 611470 h 1958316"/>
              <a:gd name="connsiteX17" fmla="*/ 969942 w 2103393"/>
              <a:gd name="connsiteY17" fmla="*/ 499274 h 1958316"/>
              <a:gd name="connsiteX18" fmla="*/ 947503 w 2103393"/>
              <a:gd name="connsiteY18" fmla="*/ 0 h 1958316"/>
              <a:gd name="connsiteX0" fmla="*/ 947503 w 2103393"/>
              <a:gd name="connsiteY0" fmla="*/ 0 h 1958316"/>
              <a:gd name="connsiteX1" fmla="*/ 947503 w 2103393"/>
              <a:gd name="connsiteY1" fmla="*/ 0 h 1958316"/>
              <a:gd name="connsiteX2" fmla="*/ 1183115 w 2103393"/>
              <a:gd name="connsiteY2" fmla="*/ 5610 h 1958316"/>
              <a:gd name="connsiteX3" fmla="*/ 1177505 w 2103393"/>
              <a:gd name="connsiteY3" fmla="*/ 493664 h 1958316"/>
              <a:gd name="connsiteX4" fmla="*/ 1312141 w 2103393"/>
              <a:gd name="connsiteY4" fmla="*/ 572201 h 1958316"/>
              <a:gd name="connsiteX5" fmla="*/ 1508484 w 2103393"/>
              <a:gd name="connsiteY5" fmla="*/ 375858 h 1958316"/>
              <a:gd name="connsiteX6" fmla="*/ 2058246 w 2103393"/>
              <a:gd name="connsiteY6" fmla="*/ 1924167 h 1958316"/>
              <a:gd name="connsiteX7" fmla="*/ 1211163 w 2103393"/>
              <a:gd name="connsiteY7" fmla="*/ 1486600 h 1958316"/>
              <a:gd name="connsiteX8" fmla="*/ 1194335 w 2103393"/>
              <a:gd name="connsiteY8" fmla="*/ 1144403 h 1958316"/>
              <a:gd name="connsiteX9" fmla="*/ 1244823 w 2103393"/>
              <a:gd name="connsiteY9" fmla="*/ 757325 h 1958316"/>
              <a:gd name="connsiteX10" fmla="*/ 1076528 w 2103393"/>
              <a:gd name="connsiteY10" fmla="*/ 611470 h 1958316"/>
              <a:gd name="connsiteX11" fmla="*/ 885795 w 2103393"/>
              <a:gd name="connsiteY11" fmla="*/ 751715 h 1958316"/>
              <a:gd name="connsiteX12" fmla="*/ 919453 w 2103393"/>
              <a:gd name="connsiteY12" fmla="*/ 1189281 h 1958316"/>
              <a:gd name="connsiteX13" fmla="*/ 891405 w 2103393"/>
              <a:gd name="connsiteY13" fmla="*/ 1509040 h 1958316"/>
              <a:gd name="connsiteX14" fmla="*/ 89201 w 2103393"/>
              <a:gd name="connsiteY14" fmla="*/ 1952216 h 1958316"/>
              <a:gd name="connsiteX15" fmla="*/ 577255 w 2103393"/>
              <a:gd name="connsiteY15" fmla="*/ 375858 h 1958316"/>
              <a:gd name="connsiteX16" fmla="*/ 807257 w 2103393"/>
              <a:gd name="connsiteY16" fmla="*/ 611470 h 1958316"/>
              <a:gd name="connsiteX17" fmla="*/ 969942 w 2103393"/>
              <a:gd name="connsiteY17" fmla="*/ 499274 h 1958316"/>
              <a:gd name="connsiteX18" fmla="*/ 947503 w 2103393"/>
              <a:gd name="connsiteY18" fmla="*/ 0 h 1958316"/>
              <a:gd name="connsiteX0" fmla="*/ 947503 w 2103393"/>
              <a:gd name="connsiteY0" fmla="*/ 0 h 1958316"/>
              <a:gd name="connsiteX1" fmla="*/ 947503 w 2103393"/>
              <a:gd name="connsiteY1" fmla="*/ 0 h 1958316"/>
              <a:gd name="connsiteX2" fmla="*/ 1183115 w 2103393"/>
              <a:gd name="connsiteY2" fmla="*/ 5610 h 1958316"/>
              <a:gd name="connsiteX3" fmla="*/ 1177505 w 2103393"/>
              <a:gd name="connsiteY3" fmla="*/ 493664 h 1958316"/>
              <a:gd name="connsiteX4" fmla="*/ 1312141 w 2103393"/>
              <a:gd name="connsiteY4" fmla="*/ 572201 h 1958316"/>
              <a:gd name="connsiteX5" fmla="*/ 1508484 w 2103393"/>
              <a:gd name="connsiteY5" fmla="*/ 375858 h 1958316"/>
              <a:gd name="connsiteX6" fmla="*/ 2058246 w 2103393"/>
              <a:gd name="connsiteY6" fmla="*/ 1924167 h 1958316"/>
              <a:gd name="connsiteX7" fmla="*/ 1211163 w 2103393"/>
              <a:gd name="connsiteY7" fmla="*/ 1486600 h 1958316"/>
              <a:gd name="connsiteX8" fmla="*/ 1194335 w 2103393"/>
              <a:gd name="connsiteY8" fmla="*/ 1144403 h 1958316"/>
              <a:gd name="connsiteX9" fmla="*/ 1244823 w 2103393"/>
              <a:gd name="connsiteY9" fmla="*/ 757325 h 1958316"/>
              <a:gd name="connsiteX10" fmla="*/ 1076528 w 2103393"/>
              <a:gd name="connsiteY10" fmla="*/ 611470 h 1958316"/>
              <a:gd name="connsiteX11" fmla="*/ 885795 w 2103393"/>
              <a:gd name="connsiteY11" fmla="*/ 751715 h 1958316"/>
              <a:gd name="connsiteX12" fmla="*/ 919453 w 2103393"/>
              <a:gd name="connsiteY12" fmla="*/ 1189281 h 1958316"/>
              <a:gd name="connsiteX13" fmla="*/ 891405 w 2103393"/>
              <a:gd name="connsiteY13" fmla="*/ 1509040 h 1958316"/>
              <a:gd name="connsiteX14" fmla="*/ 89201 w 2103393"/>
              <a:gd name="connsiteY14" fmla="*/ 1952216 h 1958316"/>
              <a:gd name="connsiteX15" fmla="*/ 577255 w 2103393"/>
              <a:gd name="connsiteY15" fmla="*/ 375858 h 1958316"/>
              <a:gd name="connsiteX16" fmla="*/ 807257 w 2103393"/>
              <a:gd name="connsiteY16" fmla="*/ 611470 h 1958316"/>
              <a:gd name="connsiteX17" fmla="*/ 969942 w 2103393"/>
              <a:gd name="connsiteY17" fmla="*/ 499274 h 1958316"/>
              <a:gd name="connsiteX18" fmla="*/ 947503 w 2103393"/>
              <a:gd name="connsiteY18" fmla="*/ 0 h 1958316"/>
              <a:gd name="connsiteX0" fmla="*/ 947503 w 2103393"/>
              <a:gd name="connsiteY0" fmla="*/ 0 h 1958316"/>
              <a:gd name="connsiteX1" fmla="*/ 947503 w 2103393"/>
              <a:gd name="connsiteY1" fmla="*/ 0 h 1958316"/>
              <a:gd name="connsiteX2" fmla="*/ 1183115 w 2103393"/>
              <a:gd name="connsiteY2" fmla="*/ 5610 h 1958316"/>
              <a:gd name="connsiteX3" fmla="*/ 1177505 w 2103393"/>
              <a:gd name="connsiteY3" fmla="*/ 493664 h 1958316"/>
              <a:gd name="connsiteX4" fmla="*/ 1312141 w 2103393"/>
              <a:gd name="connsiteY4" fmla="*/ 572201 h 1958316"/>
              <a:gd name="connsiteX5" fmla="*/ 1508484 w 2103393"/>
              <a:gd name="connsiteY5" fmla="*/ 375858 h 1958316"/>
              <a:gd name="connsiteX6" fmla="*/ 2058246 w 2103393"/>
              <a:gd name="connsiteY6" fmla="*/ 1924167 h 1958316"/>
              <a:gd name="connsiteX7" fmla="*/ 1211163 w 2103393"/>
              <a:gd name="connsiteY7" fmla="*/ 1486600 h 1958316"/>
              <a:gd name="connsiteX8" fmla="*/ 1227994 w 2103393"/>
              <a:gd name="connsiteY8" fmla="*/ 1194891 h 1958316"/>
              <a:gd name="connsiteX9" fmla="*/ 1244823 w 2103393"/>
              <a:gd name="connsiteY9" fmla="*/ 757325 h 1958316"/>
              <a:gd name="connsiteX10" fmla="*/ 1076528 w 2103393"/>
              <a:gd name="connsiteY10" fmla="*/ 611470 h 1958316"/>
              <a:gd name="connsiteX11" fmla="*/ 885795 w 2103393"/>
              <a:gd name="connsiteY11" fmla="*/ 751715 h 1958316"/>
              <a:gd name="connsiteX12" fmla="*/ 919453 w 2103393"/>
              <a:gd name="connsiteY12" fmla="*/ 1189281 h 1958316"/>
              <a:gd name="connsiteX13" fmla="*/ 891405 w 2103393"/>
              <a:gd name="connsiteY13" fmla="*/ 1509040 h 1958316"/>
              <a:gd name="connsiteX14" fmla="*/ 89201 w 2103393"/>
              <a:gd name="connsiteY14" fmla="*/ 1952216 h 1958316"/>
              <a:gd name="connsiteX15" fmla="*/ 577255 w 2103393"/>
              <a:gd name="connsiteY15" fmla="*/ 375858 h 1958316"/>
              <a:gd name="connsiteX16" fmla="*/ 807257 w 2103393"/>
              <a:gd name="connsiteY16" fmla="*/ 611470 h 1958316"/>
              <a:gd name="connsiteX17" fmla="*/ 969942 w 2103393"/>
              <a:gd name="connsiteY17" fmla="*/ 499274 h 1958316"/>
              <a:gd name="connsiteX18" fmla="*/ 947503 w 2103393"/>
              <a:gd name="connsiteY18" fmla="*/ 0 h 1958316"/>
              <a:gd name="connsiteX0" fmla="*/ 947503 w 2103393"/>
              <a:gd name="connsiteY0" fmla="*/ 0 h 1958316"/>
              <a:gd name="connsiteX1" fmla="*/ 947503 w 2103393"/>
              <a:gd name="connsiteY1" fmla="*/ 0 h 1958316"/>
              <a:gd name="connsiteX2" fmla="*/ 1183115 w 2103393"/>
              <a:gd name="connsiteY2" fmla="*/ 5610 h 1958316"/>
              <a:gd name="connsiteX3" fmla="*/ 1177505 w 2103393"/>
              <a:gd name="connsiteY3" fmla="*/ 493664 h 1958316"/>
              <a:gd name="connsiteX4" fmla="*/ 1312141 w 2103393"/>
              <a:gd name="connsiteY4" fmla="*/ 572201 h 1958316"/>
              <a:gd name="connsiteX5" fmla="*/ 1508484 w 2103393"/>
              <a:gd name="connsiteY5" fmla="*/ 375858 h 1958316"/>
              <a:gd name="connsiteX6" fmla="*/ 2058246 w 2103393"/>
              <a:gd name="connsiteY6" fmla="*/ 1924167 h 1958316"/>
              <a:gd name="connsiteX7" fmla="*/ 1211163 w 2103393"/>
              <a:gd name="connsiteY7" fmla="*/ 1486600 h 1958316"/>
              <a:gd name="connsiteX8" fmla="*/ 1227994 w 2103393"/>
              <a:gd name="connsiteY8" fmla="*/ 1194891 h 1958316"/>
              <a:gd name="connsiteX9" fmla="*/ 1244823 w 2103393"/>
              <a:gd name="connsiteY9" fmla="*/ 757325 h 1958316"/>
              <a:gd name="connsiteX10" fmla="*/ 1076528 w 2103393"/>
              <a:gd name="connsiteY10" fmla="*/ 611470 h 1958316"/>
              <a:gd name="connsiteX11" fmla="*/ 885795 w 2103393"/>
              <a:gd name="connsiteY11" fmla="*/ 751715 h 1958316"/>
              <a:gd name="connsiteX12" fmla="*/ 919453 w 2103393"/>
              <a:gd name="connsiteY12" fmla="*/ 1189281 h 1958316"/>
              <a:gd name="connsiteX13" fmla="*/ 891405 w 2103393"/>
              <a:gd name="connsiteY13" fmla="*/ 1509040 h 1958316"/>
              <a:gd name="connsiteX14" fmla="*/ 89201 w 2103393"/>
              <a:gd name="connsiteY14" fmla="*/ 1952216 h 1958316"/>
              <a:gd name="connsiteX15" fmla="*/ 577255 w 2103393"/>
              <a:gd name="connsiteY15" fmla="*/ 375858 h 1958316"/>
              <a:gd name="connsiteX16" fmla="*/ 807257 w 2103393"/>
              <a:gd name="connsiteY16" fmla="*/ 611470 h 1958316"/>
              <a:gd name="connsiteX17" fmla="*/ 969942 w 2103393"/>
              <a:gd name="connsiteY17" fmla="*/ 499274 h 1958316"/>
              <a:gd name="connsiteX18" fmla="*/ 947503 w 2103393"/>
              <a:gd name="connsiteY18" fmla="*/ 0 h 1958316"/>
              <a:gd name="connsiteX0" fmla="*/ 947503 w 2103393"/>
              <a:gd name="connsiteY0" fmla="*/ 0 h 1959848"/>
              <a:gd name="connsiteX1" fmla="*/ 947503 w 2103393"/>
              <a:gd name="connsiteY1" fmla="*/ 0 h 1959848"/>
              <a:gd name="connsiteX2" fmla="*/ 1183115 w 2103393"/>
              <a:gd name="connsiteY2" fmla="*/ 5610 h 1959848"/>
              <a:gd name="connsiteX3" fmla="*/ 1177505 w 2103393"/>
              <a:gd name="connsiteY3" fmla="*/ 493664 h 1959848"/>
              <a:gd name="connsiteX4" fmla="*/ 1312141 w 2103393"/>
              <a:gd name="connsiteY4" fmla="*/ 572201 h 1959848"/>
              <a:gd name="connsiteX5" fmla="*/ 1508484 w 2103393"/>
              <a:gd name="connsiteY5" fmla="*/ 375858 h 1959848"/>
              <a:gd name="connsiteX6" fmla="*/ 2058246 w 2103393"/>
              <a:gd name="connsiteY6" fmla="*/ 1924167 h 1959848"/>
              <a:gd name="connsiteX7" fmla="*/ 1211163 w 2103393"/>
              <a:gd name="connsiteY7" fmla="*/ 1486600 h 1959848"/>
              <a:gd name="connsiteX8" fmla="*/ 1227994 w 2103393"/>
              <a:gd name="connsiteY8" fmla="*/ 1194891 h 1959848"/>
              <a:gd name="connsiteX9" fmla="*/ 1244823 w 2103393"/>
              <a:gd name="connsiteY9" fmla="*/ 757325 h 1959848"/>
              <a:gd name="connsiteX10" fmla="*/ 1076528 w 2103393"/>
              <a:gd name="connsiteY10" fmla="*/ 611470 h 1959848"/>
              <a:gd name="connsiteX11" fmla="*/ 885795 w 2103393"/>
              <a:gd name="connsiteY11" fmla="*/ 751715 h 1959848"/>
              <a:gd name="connsiteX12" fmla="*/ 919453 w 2103393"/>
              <a:gd name="connsiteY12" fmla="*/ 1189281 h 1959848"/>
              <a:gd name="connsiteX13" fmla="*/ 891405 w 2103393"/>
              <a:gd name="connsiteY13" fmla="*/ 1509040 h 1959848"/>
              <a:gd name="connsiteX14" fmla="*/ 89201 w 2103393"/>
              <a:gd name="connsiteY14" fmla="*/ 1952216 h 1959848"/>
              <a:gd name="connsiteX15" fmla="*/ 577255 w 2103393"/>
              <a:gd name="connsiteY15" fmla="*/ 375858 h 1959848"/>
              <a:gd name="connsiteX16" fmla="*/ 807257 w 2103393"/>
              <a:gd name="connsiteY16" fmla="*/ 611470 h 1959848"/>
              <a:gd name="connsiteX17" fmla="*/ 969942 w 2103393"/>
              <a:gd name="connsiteY17" fmla="*/ 499274 h 1959848"/>
              <a:gd name="connsiteX18" fmla="*/ 947503 w 2103393"/>
              <a:gd name="connsiteY18" fmla="*/ 0 h 1959848"/>
              <a:gd name="connsiteX0" fmla="*/ 947503 w 2103393"/>
              <a:gd name="connsiteY0" fmla="*/ 0 h 1959848"/>
              <a:gd name="connsiteX1" fmla="*/ 947503 w 2103393"/>
              <a:gd name="connsiteY1" fmla="*/ 0 h 1959848"/>
              <a:gd name="connsiteX2" fmla="*/ 1183115 w 2103393"/>
              <a:gd name="connsiteY2" fmla="*/ 5610 h 1959848"/>
              <a:gd name="connsiteX3" fmla="*/ 1177505 w 2103393"/>
              <a:gd name="connsiteY3" fmla="*/ 493664 h 1959848"/>
              <a:gd name="connsiteX4" fmla="*/ 1312141 w 2103393"/>
              <a:gd name="connsiteY4" fmla="*/ 572201 h 1959848"/>
              <a:gd name="connsiteX5" fmla="*/ 1508484 w 2103393"/>
              <a:gd name="connsiteY5" fmla="*/ 375858 h 1959848"/>
              <a:gd name="connsiteX6" fmla="*/ 2058246 w 2103393"/>
              <a:gd name="connsiteY6" fmla="*/ 1924167 h 1959848"/>
              <a:gd name="connsiteX7" fmla="*/ 1211163 w 2103393"/>
              <a:gd name="connsiteY7" fmla="*/ 1486600 h 1959848"/>
              <a:gd name="connsiteX8" fmla="*/ 1222384 w 2103393"/>
              <a:gd name="connsiteY8" fmla="*/ 1178062 h 1959848"/>
              <a:gd name="connsiteX9" fmla="*/ 1244823 w 2103393"/>
              <a:gd name="connsiteY9" fmla="*/ 757325 h 1959848"/>
              <a:gd name="connsiteX10" fmla="*/ 1076528 w 2103393"/>
              <a:gd name="connsiteY10" fmla="*/ 611470 h 1959848"/>
              <a:gd name="connsiteX11" fmla="*/ 885795 w 2103393"/>
              <a:gd name="connsiteY11" fmla="*/ 751715 h 1959848"/>
              <a:gd name="connsiteX12" fmla="*/ 919453 w 2103393"/>
              <a:gd name="connsiteY12" fmla="*/ 1189281 h 1959848"/>
              <a:gd name="connsiteX13" fmla="*/ 891405 w 2103393"/>
              <a:gd name="connsiteY13" fmla="*/ 1509040 h 1959848"/>
              <a:gd name="connsiteX14" fmla="*/ 89201 w 2103393"/>
              <a:gd name="connsiteY14" fmla="*/ 1952216 h 1959848"/>
              <a:gd name="connsiteX15" fmla="*/ 577255 w 2103393"/>
              <a:gd name="connsiteY15" fmla="*/ 375858 h 1959848"/>
              <a:gd name="connsiteX16" fmla="*/ 807257 w 2103393"/>
              <a:gd name="connsiteY16" fmla="*/ 611470 h 1959848"/>
              <a:gd name="connsiteX17" fmla="*/ 969942 w 2103393"/>
              <a:gd name="connsiteY17" fmla="*/ 499274 h 1959848"/>
              <a:gd name="connsiteX18" fmla="*/ 947503 w 2103393"/>
              <a:gd name="connsiteY18" fmla="*/ 0 h 1959848"/>
              <a:gd name="connsiteX0" fmla="*/ 947503 w 2103393"/>
              <a:gd name="connsiteY0" fmla="*/ 0 h 1959848"/>
              <a:gd name="connsiteX1" fmla="*/ 947503 w 2103393"/>
              <a:gd name="connsiteY1" fmla="*/ 0 h 1959848"/>
              <a:gd name="connsiteX2" fmla="*/ 1183115 w 2103393"/>
              <a:gd name="connsiteY2" fmla="*/ 5610 h 1959848"/>
              <a:gd name="connsiteX3" fmla="*/ 1177505 w 2103393"/>
              <a:gd name="connsiteY3" fmla="*/ 493664 h 1959848"/>
              <a:gd name="connsiteX4" fmla="*/ 1312141 w 2103393"/>
              <a:gd name="connsiteY4" fmla="*/ 572201 h 1959848"/>
              <a:gd name="connsiteX5" fmla="*/ 1508484 w 2103393"/>
              <a:gd name="connsiteY5" fmla="*/ 375858 h 1959848"/>
              <a:gd name="connsiteX6" fmla="*/ 2058246 w 2103393"/>
              <a:gd name="connsiteY6" fmla="*/ 1924167 h 1959848"/>
              <a:gd name="connsiteX7" fmla="*/ 1211163 w 2103393"/>
              <a:gd name="connsiteY7" fmla="*/ 1486600 h 1959848"/>
              <a:gd name="connsiteX8" fmla="*/ 1205554 w 2103393"/>
              <a:gd name="connsiteY8" fmla="*/ 1200502 h 1959848"/>
              <a:gd name="connsiteX9" fmla="*/ 1244823 w 2103393"/>
              <a:gd name="connsiteY9" fmla="*/ 757325 h 1959848"/>
              <a:gd name="connsiteX10" fmla="*/ 1076528 w 2103393"/>
              <a:gd name="connsiteY10" fmla="*/ 611470 h 1959848"/>
              <a:gd name="connsiteX11" fmla="*/ 885795 w 2103393"/>
              <a:gd name="connsiteY11" fmla="*/ 751715 h 1959848"/>
              <a:gd name="connsiteX12" fmla="*/ 919453 w 2103393"/>
              <a:gd name="connsiteY12" fmla="*/ 1189281 h 1959848"/>
              <a:gd name="connsiteX13" fmla="*/ 891405 w 2103393"/>
              <a:gd name="connsiteY13" fmla="*/ 1509040 h 1959848"/>
              <a:gd name="connsiteX14" fmla="*/ 89201 w 2103393"/>
              <a:gd name="connsiteY14" fmla="*/ 1952216 h 1959848"/>
              <a:gd name="connsiteX15" fmla="*/ 577255 w 2103393"/>
              <a:gd name="connsiteY15" fmla="*/ 375858 h 1959848"/>
              <a:gd name="connsiteX16" fmla="*/ 807257 w 2103393"/>
              <a:gd name="connsiteY16" fmla="*/ 611470 h 1959848"/>
              <a:gd name="connsiteX17" fmla="*/ 969942 w 2103393"/>
              <a:gd name="connsiteY17" fmla="*/ 499274 h 1959848"/>
              <a:gd name="connsiteX18" fmla="*/ 947503 w 2103393"/>
              <a:gd name="connsiteY18" fmla="*/ 0 h 1959848"/>
              <a:gd name="connsiteX0" fmla="*/ 947503 w 2103393"/>
              <a:gd name="connsiteY0" fmla="*/ 0 h 1959848"/>
              <a:gd name="connsiteX1" fmla="*/ 947503 w 2103393"/>
              <a:gd name="connsiteY1" fmla="*/ 0 h 1959848"/>
              <a:gd name="connsiteX2" fmla="*/ 1183115 w 2103393"/>
              <a:gd name="connsiteY2" fmla="*/ 5610 h 1959848"/>
              <a:gd name="connsiteX3" fmla="*/ 1177505 w 2103393"/>
              <a:gd name="connsiteY3" fmla="*/ 493664 h 1959848"/>
              <a:gd name="connsiteX4" fmla="*/ 1312141 w 2103393"/>
              <a:gd name="connsiteY4" fmla="*/ 572201 h 1959848"/>
              <a:gd name="connsiteX5" fmla="*/ 1508484 w 2103393"/>
              <a:gd name="connsiteY5" fmla="*/ 375858 h 1959848"/>
              <a:gd name="connsiteX6" fmla="*/ 2058246 w 2103393"/>
              <a:gd name="connsiteY6" fmla="*/ 1924167 h 1959848"/>
              <a:gd name="connsiteX7" fmla="*/ 1211163 w 2103393"/>
              <a:gd name="connsiteY7" fmla="*/ 1486600 h 1959848"/>
              <a:gd name="connsiteX8" fmla="*/ 1205554 w 2103393"/>
              <a:gd name="connsiteY8" fmla="*/ 1200502 h 1959848"/>
              <a:gd name="connsiteX9" fmla="*/ 1244823 w 2103393"/>
              <a:gd name="connsiteY9" fmla="*/ 757325 h 1959848"/>
              <a:gd name="connsiteX10" fmla="*/ 1076528 w 2103393"/>
              <a:gd name="connsiteY10" fmla="*/ 611470 h 1959848"/>
              <a:gd name="connsiteX11" fmla="*/ 885795 w 2103393"/>
              <a:gd name="connsiteY11" fmla="*/ 751715 h 1959848"/>
              <a:gd name="connsiteX12" fmla="*/ 919453 w 2103393"/>
              <a:gd name="connsiteY12" fmla="*/ 1189281 h 1959848"/>
              <a:gd name="connsiteX13" fmla="*/ 891405 w 2103393"/>
              <a:gd name="connsiteY13" fmla="*/ 1509040 h 1959848"/>
              <a:gd name="connsiteX14" fmla="*/ 89201 w 2103393"/>
              <a:gd name="connsiteY14" fmla="*/ 1952216 h 1959848"/>
              <a:gd name="connsiteX15" fmla="*/ 577255 w 2103393"/>
              <a:gd name="connsiteY15" fmla="*/ 375858 h 1959848"/>
              <a:gd name="connsiteX16" fmla="*/ 807257 w 2103393"/>
              <a:gd name="connsiteY16" fmla="*/ 611470 h 1959848"/>
              <a:gd name="connsiteX17" fmla="*/ 969942 w 2103393"/>
              <a:gd name="connsiteY17" fmla="*/ 499274 h 1959848"/>
              <a:gd name="connsiteX18" fmla="*/ 947503 w 2103393"/>
              <a:gd name="connsiteY18" fmla="*/ 0 h 1959848"/>
              <a:gd name="connsiteX0" fmla="*/ 947503 w 2103393"/>
              <a:gd name="connsiteY0" fmla="*/ 0 h 1959848"/>
              <a:gd name="connsiteX1" fmla="*/ 947503 w 2103393"/>
              <a:gd name="connsiteY1" fmla="*/ 0 h 1959848"/>
              <a:gd name="connsiteX2" fmla="*/ 1183115 w 2103393"/>
              <a:gd name="connsiteY2" fmla="*/ 5610 h 1959848"/>
              <a:gd name="connsiteX3" fmla="*/ 1177505 w 2103393"/>
              <a:gd name="connsiteY3" fmla="*/ 493664 h 1959848"/>
              <a:gd name="connsiteX4" fmla="*/ 1312141 w 2103393"/>
              <a:gd name="connsiteY4" fmla="*/ 572201 h 1959848"/>
              <a:gd name="connsiteX5" fmla="*/ 1508484 w 2103393"/>
              <a:gd name="connsiteY5" fmla="*/ 375858 h 1959848"/>
              <a:gd name="connsiteX6" fmla="*/ 2058246 w 2103393"/>
              <a:gd name="connsiteY6" fmla="*/ 1924167 h 1959848"/>
              <a:gd name="connsiteX7" fmla="*/ 1211163 w 2103393"/>
              <a:gd name="connsiteY7" fmla="*/ 1486600 h 1959848"/>
              <a:gd name="connsiteX8" fmla="*/ 1205554 w 2103393"/>
              <a:gd name="connsiteY8" fmla="*/ 1200502 h 1959848"/>
              <a:gd name="connsiteX9" fmla="*/ 1244823 w 2103393"/>
              <a:gd name="connsiteY9" fmla="*/ 757325 h 1959848"/>
              <a:gd name="connsiteX10" fmla="*/ 1076528 w 2103393"/>
              <a:gd name="connsiteY10" fmla="*/ 611470 h 1959848"/>
              <a:gd name="connsiteX11" fmla="*/ 885795 w 2103393"/>
              <a:gd name="connsiteY11" fmla="*/ 751715 h 1959848"/>
              <a:gd name="connsiteX12" fmla="*/ 919453 w 2103393"/>
              <a:gd name="connsiteY12" fmla="*/ 1189281 h 1959848"/>
              <a:gd name="connsiteX13" fmla="*/ 891405 w 2103393"/>
              <a:gd name="connsiteY13" fmla="*/ 1509040 h 1959848"/>
              <a:gd name="connsiteX14" fmla="*/ 89201 w 2103393"/>
              <a:gd name="connsiteY14" fmla="*/ 1952216 h 1959848"/>
              <a:gd name="connsiteX15" fmla="*/ 577255 w 2103393"/>
              <a:gd name="connsiteY15" fmla="*/ 375858 h 1959848"/>
              <a:gd name="connsiteX16" fmla="*/ 807257 w 2103393"/>
              <a:gd name="connsiteY16" fmla="*/ 611470 h 1959848"/>
              <a:gd name="connsiteX17" fmla="*/ 969942 w 2103393"/>
              <a:gd name="connsiteY17" fmla="*/ 499274 h 1959848"/>
              <a:gd name="connsiteX18" fmla="*/ 947503 w 2103393"/>
              <a:gd name="connsiteY18" fmla="*/ 0 h 1959848"/>
              <a:gd name="connsiteX0" fmla="*/ 947503 w 2103393"/>
              <a:gd name="connsiteY0" fmla="*/ 0 h 1959848"/>
              <a:gd name="connsiteX1" fmla="*/ 947503 w 2103393"/>
              <a:gd name="connsiteY1" fmla="*/ 0 h 1959848"/>
              <a:gd name="connsiteX2" fmla="*/ 1183115 w 2103393"/>
              <a:gd name="connsiteY2" fmla="*/ 5610 h 1959848"/>
              <a:gd name="connsiteX3" fmla="*/ 1177505 w 2103393"/>
              <a:gd name="connsiteY3" fmla="*/ 493664 h 1959848"/>
              <a:gd name="connsiteX4" fmla="*/ 1312141 w 2103393"/>
              <a:gd name="connsiteY4" fmla="*/ 572201 h 1959848"/>
              <a:gd name="connsiteX5" fmla="*/ 1508484 w 2103393"/>
              <a:gd name="connsiteY5" fmla="*/ 375858 h 1959848"/>
              <a:gd name="connsiteX6" fmla="*/ 2058246 w 2103393"/>
              <a:gd name="connsiteY6" fmla="*/ 1924167 h 1959848"/>
              <a:gd name="connsiteX7" fmla="*/ 1211163 w 2103393"/>
              <a:gd name="connsiteY7" fmla="*/ 1486600 h 1959848"/>
              <a:gd name="connsiteX8" fmla="*/ 1205554 w 2103393"/>
              <a:gd name="connsiteY8" fmla="*/ 1200502 h 1959848"/>
              <a:gd name="connsiteX9" fmla="*/ 1244823 w 2103393"/>
              <a:gd name="connsiteY9" fmla="*/ 757325 h 1959848"/>
              <a:gd name="connsiteX10" fmla="*/ 1076528 w 2103393"/>
              <a:gd name="connsiteY10" fmla="*/ 611470 h 1959848"/>
              <a:gd name="connsiteX11" fmla="*/ 885795 w 2103393"/>
              <a:gd name="connsiteY11" fmla="*/ 751715 h 1959848"/>
              <a:gd name="connsiteX12" fmla="*/ 919453 w 2103393"/>
              <a:gd name="connsiteY12" fmla="*/ 1189281 h 1959848"/>
              <a:gd name="connsiteX13" fmla="*/ 891405 w 2103393"/>
              <a:gd name="connsiteY13" fmla="*/ 1509040 h 1959848"/>
              <a:gd name="connsiteX14" fmla="*/ 89201 w 2103393"/>
              <a:gd name="connsiteY14" fmla="*/ 1952216 h 1959848"/>
              <a:gd name="connsiteX15" fmla="*/ 577255 w 2103393"/>
              <a:gd name="connsiteY15" fmla="*/ 375858 h 1959848"/>
              <a:gd name="connsiteX16" fmla="*/ 807257 w 2103393"/>
              <a:gd name="connsiteY16" fmla="*/ 611470 h 1959848"/>
              <a:gd name="connsiteX17" fmla="*/ 969942 w 2103393"/>
              <a:gd name="connsiteY17" fmla="*/ 499274 h 1959848"/>
              <a:gd name="connsiteX18" fmla="*/ 947503 w 2103393"/>
              <a:gd name="connsiteY18" fmla="*/ 0 h 1959848"/>
              <a:gd name="connsiteX0" fmla="*/ 947503 w 2103393"/>
              <a:gd name="connsiteY0" fmla="*/ 0 h 1959848"/>
              <a:gd name="connsiteX1" fmla="*/ 947503 w 2103393"/>
              <a:gd name="connsiteY1" fmla="*/ 0 h 1959848"/>
              <a:gd name="connsiteX2" fmla="*/ 1183115 w 2103393"/>
              <a:gd name="connsiteY2" fmla="*/ 5610 h 1959848"/>
              <a:gd name="connsiteX3" fmla="*/ 1177505 w 2103393"/>
              <a:gd name="connsiteY3" fmla="*/ 493664 h 1959848"/>
              <a:gd name="connsiteX4" fmla="*/ 1312141 w 2103393"/>
              <a:gd name="connsiteY4" fmla="*/ 572201 h 1959848"/>
              <a:gd name="connsiteX5" fmla="*/ 1508484 w 2103393"/>
              <a:gd name="connsiteY5" fmla="*/ 375858 h 1959848"/>
              <a:gd name="connsiteX6" fmla="*/ 2058246 w 2103393"/>
              <a:gd name="connsiteY6" fmla="*/ 1924167 h 1959848"/>
              <a:gd name="connsiteX7" fmla="*/ 1211163 w 2103393"/>
              <a:gd name="connsiteY7" fmla="*/ 1486600 h 1959848"/>
              <a:gd name="connsiteX8" fmla="*/ 1205554 w 2103393"/>
              <a:gd name="connsiteY8" fmla="*/ 1200502 h 1959848"/>
              <a:gd name="connsiteX9" fmla="*/ 1244823 w 2103393"/>
              <a:gd name="connsiteY9" fmla="*/ 757325 h 1959848"/>
              <a:gd name="connsiteX10" fmla="*/ 1076528 w 2103393"/>
              <a:gd name="connsiteY10" fmla="*/ 611470 h 1959848"/>
              <a:gd name="connsiteX11" fmla="*/ 885795 w 2103393"/>
              <a:gd name="connsiteY11" fmla="*/ 751715 h 1959848"/>
              <a:gd name="connsiteX12" fmla="*/ 919453 w 2103393"/>
              <a:gd name="connsiteY12" fmla="*/ 1189281 h 1959848"/>
              <a:gd name="connsiteX13" fmla="*/ 891405 w 2103393"/>
              <a:gd name="connsiteY13" fmla="*/ 1509040 h 1959848"/>
              <a:gd name="connsiteX14" fmla="*/ 89201 w 2103393"/>
              <a:gd name="connsiteY14" fmla="*/ 1952216 h 1959848"/>
              <a:gd name="connsiteX15" fmla="*/ 577255 w 2103393"/>
              <a:gd name="connsiteY15" fmla="*/ 375858 h 1959848"/>
              <a:gd name="connsiteX16" fmla="*/ 807257 w 2103393"/>
              <a:gd name="connsiteY16" fmla="*/ 611470 h 1959848"/>
              <a:gd name="connsiteX17" fmla="*/ 969942 w 2103393"/>
              <a:gd name="connsiteY17" fmla="*/ 499274 h 1959848"/>
              <a:gd name="connsiteX18" fmla="*/ 947503 w 2103393"/>
              <a:gd name="connsiteY18" fmla="*/ 0 h 1959848"/>
              <a:gd name="connsiteX0" fmla="*/ 947503 w 2103393"/>
              <a:gd name="connsiteY0" fmla="*/ 0 h 1959848"/>
              <a:gd name="connsiteX1" fmla="*/ 947503 w 2103393"/>
              <a:gd name="connsiteY1" fmla="*/ 0 h 1959848"/>
              <a:gd name="connsiteX2" fmla="*/ 1183115 w 2103393"/>
              <a:gd name="connsiteY2" fmla="*/ 5610 h 1959848"/>
              <a:gd name="connsiteX3" fmla="*/ 1177505 w 2103393"/>
              <a:gd name="connsiteY3" fmla="*/ 493664 h 1959848"/>
              <a:gd name="connsiteX4" fmla="*/ 1312141 w 2103393"/>
              <a:gd name="connsiteY4" fmla="*/ 572201 h 1959848"/>
              <a:gd name="connsiteX5" fmla="*/ 1508484 w 2103393"/>
              <a:gd name="connsiteY5" fmla="*/ 375858 h 1959848"/>
              <a:gd name="connsiteX6" fmla="*/ 2058246 w 2103393"/>
              <a:gd name="connsiteY6" fmla="*/ 1924167 h 1959848"/>
              <a:gd name="connsiteX7" fmla="*/ 1211163 w 2103393"/>
              <a:gd name="connsiteY7" fmla="*/ 1486600 h 1959848"/>
              <a:gd name="connsiteX8" fmla="*/ 1205554 w 2103393"/>
              <a:gd name="connsiteY8" fmla="*/ 1200502 h 1959848"/>
              <a:gd name="connsiteX9" fmla="*/ 1244823 w 2103393"/>
              <a:gd name="connsiteY9" fmla="*/ 757325 h 1959848"/>
              <a:gd name="connsiteX10" fmla="*/ 1076528 w 2103393"/>
              <a:gd name="connsiteY10" fmla="*/ 611470 h 1959848"/>
              <a:gd name="connsiteX11" fmla="*/ 885795 w 2103393"/>
              <a:gd name="connsiteY11" fmla="*/ 751715 h 1959848"/>
              <a:gd name="connsiteX12" fmla="*/ 919453 w 2103393"/>
              <a:gd name="connsiteY12" fmla="*/ 1189281 h 1959848"/>
              <a:gd name="connsiteX13" fmla="*/ 891405 w 2103393"/>
              <a:gd name="connsiteY13" fmla="*/ 1509040 h 1959848"/>
              <a:gd name="connsiteX14" fmla="*/ 89201 w 2103393"/>
              <a:gd name="connsiteY14" fmla="*/ 1952216 h 1959848"/>
              <a:gd name="connsiteX15" fmla="*/ 577255 w 2103393"/>
              <a:gd name="connsiteY15" fmla="*/ 375858 h 1959848"/>
              <a:gd name="connsiteX16" fmla="*/ 807257 w 2103393"/>
              <a:gd name="connsiteY16" fmla="*/ 611470 h 1959848"/>
              <a:gd name="connsiteX17" fmla="*/ 969942 w 2103393"/>
              <a:gd name="connsiteY17" fmla="*/ 499274 h 1959848"/>
              <a:gd name="connsiteX18" fmla="*/ 947503 w 2103393"/>
              <a:gd name="connsiteY18" fmla="*/ 0 h 1959848"/>
              <a:gd name="connsiteX0" fmla="*/ 947503 w 2103393"/>
              <a:gd name="connsiteY0" fmla="*/ 0 h 1961617"/>
              <a:gd name="connsiteX1" fmla="*/ 947503 w 2103393"/>
              <a:gd name="connsiteY1" fmla="*/ 0 h 1961617"/>
              <a:gd name="connsiteX2" fmla="*/ 1183115 w 2103393"/>
              <a:gd name="connsiteY2" fmla="*/ 5610 h 1961617"/>
              <a:gd name="connsiteX3" fmla="*/ 1177505 w 2103393"/>
              <a:gd name="connsiteY3" fmla="*/ 493664 h 1961617"/>
              <a:gd name="connsiteX4" fmla="*/ 1312141 w 2103393"/>
              <a:gd name="connsiteY4" fmla="*/ 572201 h 1961617"/>
              <a:gd name="connsiteX5" fmla="*/ 1508484 w 2103393"/>
              <a:gd name="connsiteY5" fmla="*/ 375858 h 1961617"/>
              <a:gd name="connsiteX6" fmla="*/ 2058246 w 2103393"/>
              <a:gd name="connsiteY6" fmla="*/ 1924167 h 1961617"/>
              <a:gd name="connsiteX7" fmla="*/ 1244822 w 2103393"/>
              <a:gd name="connsiteY7" fmla="*/ 1514649 h 1961617"/>
              <a:gd name="connsiteX8" fmla="*/ 1205554 w 2103393"/>
              <a:gd name="connsiteY8" fmla="*/ 1200502 h 1961617"/>
              <a:gd name="connsiteX9" fmla="*/ 1244823 w 2103393"/>
              <a:gd name="connsiteY9" fmla="*/ 757325 h 1961617"/>
              <a:gd name="connsiteX10" fmla="*/ 1076528 w 2103393"/>
              <a:gd name="connsiteY10" fmla="*/ 611470 h 1961617"/>
              <a:gd name="connsiteX11" fmla="*/ 885795 w 2103393"/>
              <a:gd name="connsiteY11" fmla="*/ 751715 h 1961617"/>
              <a:gd name="connsiteX12" fmla="*/ 919453 w 2103393"/>
              <a:gd name="connsiteY12" fmla="*/ 1189281 h 1961617"/>
              <a:gd name="connsiteX13" fmla="*/ 891405 w 2103393"/>
              <a:gd name="connsiteY13" fmla="*/ 1509040 h 1961617"/>
              <a:gd name="connsiteX14" fmla="*/ 89201 w 2103393"/>
              <a:gd name="connsiteY14" fmla="*/ 1952216 h 1961617"/>
              <a:gd name="connsiteX15" fmla="*/ 577255 w 2103393"/>
              <a:gd name="connsiteY15" fmla="*/ 375858 h 1961617"/>
              <a:gd name="connsiteX16" fmla="*/ 807257 w 2103393"/>
              <a:gd name="connsiteY16" fmla="*/ 611470 h 1961617"/>
              <a:gd name="connsiteX17" fmla="*/ 969942 w 2103393"/>
              <a:gd name="connsiteY17" fmla="*/ 499274 h 1961617"/>
              <a:gd name="connsiteX18" fmla="*/ 947503 w 2103393"/>
              <a:gd name="connsiteY18" fmla="*/ 0 h 1961617"/>
              <a:gd name="connsiteX0" fmla="*/ 947503 w 2103393"/>
              <a:gd name="connsiteY0" fmla="*/ 0 h 1961617"/>
              <a:gd name="connsiteX1" fmla="*/ 947503 w 2103393"/>
              <a:gd name="connsiteY1" fmla="*/ 0 h 1961617"/>
              <a:gd name="connsiteX2" fmla="*/ 1183115 w 2103393"/>
              <a:gd name="connsiteY2" fmla="*/ 5610 h 1961617"/>
              <a:gd name="connsiteX3" fmla="*/ 1177505 w 2103393"/>
              <a:gd name="connsiteY3" fmla="*/ 493664 h 1961617"/>
              <a:gd name="connsiteX4" fmla="*/ 1312141 w 2103393"/>
              <a:gd name="connsiteY4" fmla="*/ 572201 h 1961617"/>
              <a:gd name="connsiteX5" fmla="*/ 1508484 w 2103393"/>
              <a:gd name="connsiteY5" fmla="*/ 375858 h 1961617"/>
              <a:gd name="connsiteX6" fmla="*/ 2058246 w 2103393"/>
              <a:gd name="connsiteY6" fmla="*/ 1924167 h 1961617"/>
              <a:gd name="connsiteX7" fmla="*/ 1244822 w 2103393"/>
              <a:gd name="connsiteY7" fmla="*/ 1514649 h 1961617"/>
              <a:gd name="connsiteX8" fmla="*/ 1205554 w 2103393"/>
              <a:gd name="connsiteY8" fmla="*/ 1200502 h 1961617"/>
              <a:gd name="connsiteX9" fmla="*/ 1244823 w 2103393"/>
              <a:gd name="connsiteY9" fmla="*/ 757325 h 1961617"/>
              <a:gd name="connsiteX10" fmla="*/ 1076528 w 2103393"/>
              <a:gd name="connsiteY10" fmla="*/ 611470 h 1961617"/>
              <a:gd name="connsiteX11" fmla="*/ 885795 w 2103393"/>
              <a:gd name="connsiteY11" fmla="*/ 751715 h 1961617"/>
              <a:gd name="connsiteX12" fmla="*/ 919453 w 2103393"/>
              <a:gd name="connsiteY12" fmla="*/ 1189281 h 1961617"/>
              <a:gd name="connsiteX13" fmla="*/ 891405 w 2103393"/>
              <a:gd name="connsiteY13" fmla="*/ 1509040 h 1961617"/>
              <a:gd name="connsiteX14" fmla="*/ 89201 w 2103393"/>
              <a:gd name="connsiteY14" fmla="*/ 1952216 h 1961617"/>
              <a:gd name="connsiteX15" fmla="*/ 577255 w 2103393"/>
              <a:gd name="connsiteY15" fmla="*/ 375858 h 1961617"/>
              <a:gd name="connsiteX16" fmla="*/ 807257 w 2103393"/>
              <a:gd name="connsiteY16" fmla="*/ 611470 h 1961617"/>
              <a:gd name="connsiteX17" fmla="*/ 969942 w 2103393"/>
              <a:gd name="connsiteY17" fmla="*/ 499274 h 1961617"/>
              <a:gd name="connsiteX18" fmla="*/ 947503 w 2103393"/>
              <a:gd name="connsiteY18" fmla="*/ 0 h 1961617"/>
              <a:gd name="connsiteX0" fmla="*/ 947503 w 2103393"/>
              <a:gd name="connsiteY0" fmla="*/ 0 h 1963064"/>
              <a:gd name="connsiteX1" fmla="*/ 947503 w 2103393"/>
              <a:gd name="connsiteY1" fmla="*/ 0 h 1963064"/>
              <a:gd name="connsiteX2" fmla="*/ 1183115 w 2103393"/>
              <a:gd name="connsiteY2" fmla="*/ 5610 h 1963064"/>
              <a:gd name="connsiteX3" fmla="*/ 1177505 w 2103393"/>
              <a:gd name="connsiteY3" fmla="*/ 493664 h 1963064"/>
              <a:gd name="connsiteX4" fmla="*/ 1312141 w 2103393"/>
              <a:gd name="connsiteY4" fmla="*/ 572201 h 1963064"/>
              <a:gd name="connsiteX5" fmla="*/ 1508484 w 2103393"/>
              <a:gd name="connsiteY5" fmla="*/ 375858 h 1963064"/>
              <a:gd name="connsiteX6" fmla="*/ 2058246 w 2103393"/>
              <a:gd name="connsiteY6" fmla="*/ 1924167 h 1963064"/>
              <a:gd name="connsiteX7" fmla="*/ 1244822 w 2103393"/>
              <a:gd name="connsiteY7" fmla="*/ 1514649 h 1963064"/>
              <a:gd name="connsiteX8" fmla="*/ 1205554 w 2103393"/>
              <a:gd name="connsiteY8" fmla="*/ 1200502 h 1963064"/>
              <a:gd name="connsiteX9" fmla="*/ 1244823 w 2103393"/>
              <a:gd name="connsiteY9" fmla="*/ 757325 h 1963064"/>
              <a:gd name="connsiteX10" fmla="*/ 1076528 w 2103393"/>
              <a:gd name="connsiteY10" fmla="*/ 611470 h 1963064"/>
              <a:gd name="connsiteX11" fmla="*/ 885795 w 2103393"/>
              <a:gd name="connsiteY11" fmla="*/ 751715 h 1963064"/>
              <a:gd name="connsiteX12" fmla="*/ 919453 w 2103393"/>
              <a:gd name="connsiteY12" fmla="*/ 1189281 h 1963064"/>
              <a:gd name="connsiteX13" fmla="*/ 891405 w 2103393"/>
              <a:gd name="connsiteY13" fmla="*/ 1509040 h 1963064"/>
              <a:gd name="connsiteX14" fmla="*/ 89201 w 2103393"/>
              <a:gd name="connsiteY14" fmla="*/ 1952216 h 1963064"/>
              <a:gd name="connsiteX15" fmla="*/ 577255 w 2103393"/>
              <a:gd name="connsiteY15" fmla="*/ 375858 h 1963064"/>
              <a:gd name="connsiteX16" fmla="*/ 807257 w 2103393"/>
              <a:gd name="connsiteY16" fmla="*/ 611470 h 1963064"/>
              <a:gd name="connsiteX17" fmla="*/ 969942 w 2103393"/>
              <a:gd name="connsiteY17" fmla="*/ 499274 h 1963064"/>
              <a:gd name="connsiteX18" fmla="*/ 947503 w 2103393"/>
              <a:gd name="connsiteY18" fmla="*/ 0 h 1963064"/>
              <a:gd name="connsiteX0" fmla="*/ 947503 w 2103393"/>
              <a:gd name="connsiteY0" fmla="*/ 0 h 1964995"/>
              <a:gd name="connsiteX1" fmla="*/ 947503 w 2103393"/>
              <a:gd name="connsiteY1" fmla="*/ 0 h 1964995"/>
              <a:gd name="connsiteX2" fmla="*/ 1183115 w 2103393"/>
              <a:gd name="connsiteY2" fmla="*/ 5610 h 1964995"/>
              <a:gd name="connsiteX3" fmla="*/ 1177505 w 2103393"/>
              <a:gd name="connsiteY3" fmla="*/ 493664 h 1964995"/>
              <a:gd name="connsiteX4" fmla="*/ 1312141 w 2103393"/>
              <a:gd name="connsiteY4" fmla="*/ 572201 h 1964995"/>
              <a:gd name="connsiteX5" fmla="*/ 1508484 w 2103393"/>
              <a:gd name="connsiteY5" fmla="*/ 375858 h 1964995"/>
              <a:gd name="connsiteX6" fmla="*/ 2058246 w 2103393"/>
              <a:gd name="connsiteY6" fmla="*/ 1924167 h 1964995"/>
              <a:gd name="connsiteX7" fmla="*/ 1244822 w 2103393"/>
              <a:gd name="connsiteY7" fmla="*/ 1514649 h 1964995"/>
              <a:gd name="connsiteX8" fmla="*/ 1205554 w 2103393"/>
              <a:gd name="connsiteY8" fmla="*/ 1200502 h 1964995"/>
              <a:gd name="connsiteX9" fmla="*/ 1244823 w 2103393"/>
              <a:gd name="connsiteY9" fmla="*/ 757325 h 1964995"/>
              <a:gd name="connsiteX10" fmla="*/ 1076528 w 2103393"/>
              <a:gd name="connsiteY10" fmla="*/ 611470 h 1964995"/>
              <a:gd name="connsiteX11" fmla="*/ 885795 w 2103393"/>
              <a:gd name="connsiteY11" fmla="*/ 751715 h 1964995"/>
              <a:gd name="connsiteX12" fmla="*/ 919453 w 2103393"/>
              <a:gd name="connsiteY12" fmla="*/ 1189281 h 1964995"/>
              <a:gd name="connsiteX13" fmla="*/ 891405 w 2103393"/>
              <a:gd name="connsiteY13" fmla="*/ 1509040 h 1964995"/>
              <a:gd name="connsiteX14" fmla="*/ 89201 w 2103393"/>
              <a:gd name="connsiteY14" fmla="*/ 1952216 h 1964995"/>
              <a:gd name="connsiteX15" fmla="*/ 577255 w 2103393"/>
              <a:gd name="connsiteY15" fmla="*/ 375858 h 1964995"/>
              <a:gd name="connsiteX16" fmla="*/ 807257 w 2103393"/>
              <a:gd name="connsiteY16" fmla="*/ 611470 h 1964995"/>
              <a:gd name="connsiteX17" fmla="*/ 969942 w 2103393"/>
              <a:gd name="connsiteY17" fmla="*/ 499274 h 1964995"/>
              <a:gd name="connsiteX18" fmla="*/ 947503 w 2103393"/>
              <a:gd name="connsiteY18" fmla="*/ 0 h 1964995"/>
              <a:gd name="connsiteX0" fmla="*/ 947503 w 2103393"/>
              <a:gd name="connsiteY0" fmla="*/ 13781 h 1978776"/>
              <a:gd name="connsiteX1" fmla="*/ 947503 w 2103393"/>
              <a:gd name="connsiteY1" fmla="*/ 13781 h 1978776"/>
              <a:gd name="connsiteX2" fmla="*/ 1183115 w 2103393"/>
              <a:gd name="connsiteY2" fmla="*/ 19391 h 1978776"/>
              <a:gd name="connsiteX3" fmla="*/ 1177505 w 2103393"/>
              <a:gd name="connsiteY3" fmla="*/ 507445 h 1978776"/>
              <a:gd name="connsiteX4" fmla="*/ 1312141 w 2103393"/>
              <a:gd name="connsiteY4" fmla="*/ 585982 h 1978776"/>
              <a:gd name="connsiteX5" fmla="*/ 1508484 w 2103393"/>
              <a:gd name="connsiteY5" fmla="*/ 389639 h 1978776"/>
              <a:gd name="connsiteX6" fmla="*/ 2058246 w 2103393"/>
              <a:gd name="connsiteY6" fmla="*/ 1937948 h 1978776"/>
              <a:gd name="connsiteX7" fmla="*/ 1244822 w 2103393"/>
              <a:gd name="connsiteY7" fmla="*/ 1528430 h 1978776"/>
              <a:gd name="connsiteX8" fmla="*/ 1205554 w 2103393"/>
              <a:gd name="connsiteY8" fmla="*/ 1214283 h 1978776"/>
              <a:gd name="connsiteX9" fmla="*/ 1244823 w 2103393"/>
              <a:gd name="connsiteY9" fmla="*/ 771106 h 1978776"/>
              <a:gd name="connsiteX10" fmla="*/ 1076528 w 2103393"/>
              <a:gd name="connsiteY10" fmla="*/ 625251 h 1978776"/>
              <a:gd name="connsiteX11" fmla="*/ 885795 w 2103393"/>
              <a:gd name="connsiteY11" fmla="*/ 765496 h 1978776"/>
              <a:gd name="connsiteX12" fmla="*/ 919453 w 2103393"/>
              <a:gd name="connsiteY12" fmla="*/ 1203062 h 1978776"/>
              <a:gd name="connsiteX13" fmla="*/ 891405 w 2103393"/>
              <a:gd name="connsiteY13" fmla="*/ 1522821 h 1978776"/>
              <a:gd name="connsiteX14" fmla="*/ 89201 w 2103393"/>
              <a:gd name="connsiteY14" fmla="*/ 1965997 h 1978776"/>
              <a:gd name="connsiteX15" fmla="*/ 577255 w 2103393"/>
              <a:gd name="connsiteY15" fmla="*/ 389639 h 1978776"/>
              <a:gd name="connsiteX16" fmla="*/ 807257 w 2103393"/>
              <a:gd name="connsiteY16" fmla="*/ 625251 h 1978776"/>
              <a:gd name="connsiteX17" fmla="*/ 969942 w 2103393"/>
              <a:gd name="connsiteY17" fmla="*/ 513055 h 1978776"/>
              <a:gd name="connsiteX18" fmla="*/ 947503 w 2103393"/>
              <a:gd name="connsiteY18" fmla="*/ 13781 h 1978776"/>
              <a:gd name="connsiteX0" fmla="*/ 964333 w 2103393"/>
              <a:gd name="connsiteY0" fmla="*/ 55026 h 1980752"/>
              <a:gd name="connsiteX1" fmla="*/ 947503 w 2103393"/>
              <a:gd name="connsiteY1" fmla="*/ 15757 h 1980752"/>
              <a:gd name="connsiteX2" fmla="*/ 1183115 w 2103393"/>
              <a:gd name="connsiteY2" fmla="*/ 21367 h 1980752"/>
              <a:gd name="connsiteX3" fmla="*/ 1177505 w 2103393"/>
              <a:gd name="connsiteY3" fmla="*/ 509421 h 1980752"/>
              <a:gd name="connsiteX4" fmla="*/ 1312141 w 2103393"/>
              <a:gd name="connsiteY4" fmla="*/ 587958 h 1980752"/>
              <a:gd name="connsiteX5" fmla="*/ 1508484 w 2103393"/>
              <a:gd name="connsiteY5" fmla="*/ 391615 h 1980752"/>
              <a:gd name="connsiteX6" fmla="*/ 2058246 w 2103393"/>
              <a:gd name="connsiteY6" fmla="*/ 1939924 h 1980752"/>
              <a:gd name="connsiteX7" fmla="*/ 1244822 w 2103393"/>
              <a:gd name="connsiteY7" fmla="*/ 1530406 h 1980752"/>
              <a:gd name="connsiteX8" fmla="*/ 1205554 w 2103393"/>
              <a:gd name="connsiteY8" fmla="*/ 1216259 h 1980752"/>
              <a:gd name="connsiteX9" fmla="*/ 1244823 w 2103393"/>
              <a:gd name="connsiteY9" fmla="*/ 773082 h 1980752"/>
              <a:gd name="connsiteX10" fmla="*/ 1076528 w 2103393"/>
              <a:gd name="connsiteY10" fmla="*/ 627227 h 1980752"/>
              <a:gd name="connsiteX11" fmla="*/ 885795 w 2103393"/>
              <a:gd name="connsiteY11" fmla="*/ 767472 h 1980752"/>
              <a:gd name="connsiteX12" fmla="*/ 919453 w 2103393"/>
              <a:gd name="connsiteY12" fmla="*/ 1205038 h 1980752"/>
              <a:gd name="connsiteX13" fmla="*/ 891405 w 2103393"/>
              <a:gd name="connsiteY13" fmla="*/ 1524797 h 1980752"/>
              <a:gd name="connsiteX14" fmla="*/ 89201 w 2103393"/>
              <a:gd name="connsiteY14" fmla="*/ 1967973 h 1980752"/>
              <a:gd name="connsiteX15" fmla="*/ 577255 w 2103393"/>
              <a:gd name="connsiteY15" fmla="*/ 391615 h 1980752"/>
              <a:gd name="connsiteX16" fmla="*/ 807257 w 2103393"/>
              <a:gd name="connsiteY16" fmla="*/ 627227 h 1980752"/>
              <a:gd name="connsiteX17" fmla="*/ 969942 w 2103393"/>
              <a:gd name="connsiteY17" fmla="*/ 515031 h 1980752"/>
              <a:gd name="connsiteX18" fmla="*/ 964333 w 2103393"/>
              <a:gd name="connsiteY18" fmla="*/ 55026 h 1980752"/>
              <a:gd name="connsiteX0" fmla="*/ 913845 w 2103393"/>
              <a:gd name="connsiteY0" fmla="*/ 72662 h 1981559"/>
              <a:gd name="connsiteX1" fmla="*/ 947503 w 2103393"/>
              <a:gd name="connsiteY1" fmla="*/ 16564 h 1981559"/>
              <a:gd name="connsiteX2" fmla="*/ 1183115 w 2103393"/>
              <a:gd name="connsiteY2" fmla="*/ 22174 h 1981559"/>
              <a:gd name="connsiteX3" fmla="*/ 1177505 w 2103393"/>
              <a:gd name="connsiteY3" fmla="*/ 510228 h 1981559"/>
              <a:gd name="connsiteX4" fmla="*/ 1312141 w 2103393"/>
              <a:gd name="connsiteY4" fmla="*/ 588765 h 1981559"/>
              <a:gd name="connsiteX5" fmla="*/ 1508484 w 2103393"/>
              <a:gd name="connsiteY5" fmla="*/ 392422 h 1981559"/>
              <a:gd name="connsiteX6" fmla="*/ 2058246 w 2103393"/>
              <a:gd name="connsiteY6" fmla="*/ 1940731 h 1981559"/>
              <a:gd name="connsiteX7" fmla="*/ 1244822 w 2103393"/>
              <a:gd name="connsiteY7" fmla="*/ 1531213 h 1981559"/>
              <a:gd name="connsiteX8" fmla="*/ 1205554 w 2103393"/>
              <a:gd name="connsiteY8" fmla="*/ 1217066 h 1981559"/>
              <a:gd name="connsiteX9" fmla="*/ 1244823 w 2103393"/>
              <a:gd name="connsiteY9" fmla="*/ 773889 h 1981559"/>
              <a:gd name="connsiteX10" fmla="*/ 1076528 w 2103393"/>
              <a:gd name="connsiteY10" fmla="*/ 628034 h 1981559"/>
              <a:gd name="connsiteX11" fmla="*/ 885795 w 2103393"/>
              <a:gd name="connsiteY11" fmla="*/ 768279 h 1981559"/>
              <a:gd name="connsiteX12" fmla="*/ 919453 w 2103393"/>
              <a:gd name="connsiteY12" fmla="*/ 1205845 h 1981559"/>
              <a:gd name="connsiteX13" fmla="*/ 891405 w 2103393"/>
              <a:gd name="connsiteY13" fmla="*/ 1525604 h 1981559"/>
              <a:gd name="connsiteX14" fmla="*/ 89201 w 2103393"/>
              <a:gd name="connsiteY14" fmla="*/ 1968780 h 1981559"/>
              <a:gd name="connsiteX15" fmla="*/ 577255 w 2103393"/>
              <a:gd name="connsiteY15" fmla="*/ 392422 h 1981559"/>
              <a:gd name="connsiteX16" fmla="*/ 807257 w 2103393"/>
              <a:gd name="connsiteY16" fmla="*/ 628034 h 1981559"/>
              <a:gd name="connsiteX17" fmla="*/ 969942 w 2103393"/>
              <a:gd name="connsiteY17" fmla="*/ 515838 h 1981559"/>
              <a:gd name="connsiteX18" fmla="*/ 913845 w 2103393"/>
              <a:gd name="connsiteY18" fmla="*/ 72662 h 1981559"/>
              <a:gd name="connsiteX0" fmla="*/ 913845 w 2103393"/>
              <a:gd name="connsiteY0" fmla="*/ 103017 h 2011914"/>
              <a:gd name="connsiteX1" fmla="*/ 1003601 w 2103393"/>
              <a:gd name="connsiteY1" fmla="*/ 2040 h 2011914"/>
              <a:gd name="connsiteX2" fmla="*/ 1183115 w 2103393"/>
              <a:gd name="connsiteY2" fmla="*/ 52529 h 2011914"/>
              <a:gd name="connsiteX3" fmla="*/ 1177505 w 2103393"/>
              <a:gd name="connsiteY3" fmla="*/ 540583 h 2011914"/>
              <a:gd name="connsiteX4" fmla="*/ 1312141 w 2103393"/>
              <a:gd name="connsiteY4" fmla="*/ 619120 h 2011914"/>
              <a:gd name="connsiteX5" fmla="*/ 1508484 w 2103393"/>
              <a:gd name="connsiteY5" fmla="*/ 422777 h 2011914"/>
              <a:gd name="connsiteX6" fmla="*/ 2058246 w 2103393"/>
              <a:gd name="connsiteY6" fmla="*/ 1971086 h 2011914"/>
              <a:gd name="connsiteX7" fmla="*/ 1244822 w 2103393"/>
              <a:gd name="connsiteY7" fmla="*/ 1561568 h 2011914"/>
              <a:gd name="connsiteX8" fmla="*/ 1205554 w 2103393"/>
              <a:gd name="connsiteY8" fmla="*/ 1247421 h 2011914"/>
              <a:gd name="connsiteX9" fmla="*/ 1244823 w 2103393"/>
              <a:gd name="connsiteY9" fmla="*/ 804244 h 2011914"/>
              <a:gd name="connsiteX10" fmla="*/ 1076528 w 2103393"/>
              <a:gd name="connsiteY10" fmla="*/ 658389 h 2011914"/>
              <a:gd name="connsiteX11" fmla="*/ 885795 w 2103393"/>
              <a:gd name="connsiteY11" fmla="*/ 798634 h 2011914"/>
              <a:gd name="connsiteX12" fmla="*/ 919453 w 2103393"/>
              <a:gd name="connsiteY12" fmla="*/ 1236200 h 2011914"/>
              <a:gd name="connsiteX13" fmla="*/ 891405 w 2103393"/>
              <a:gd name="connsiteY13" fmla="*/ 1555959 h 2011914"/>
              <a:gd name="connsiteX14" fmla="*/ 89201 w 2103393"/>
              <a:gd name="connsiteY14" fmla="*/ 1999135 h 2011914"/>
              <a:gd name="connsiteX15" fmla="*/ 577255 w 2103393"/>
              <a:gd name="connsiteY15" fmla="*/ 422777 h 2011914"/>
              <a:gd name="connsiteX16" fmla="*/ 807257 w 2103393"/>
              <a:gd name="connsiteY16" fmla="*/ 658389 h 2011914"/>
              <a:gd name="connsiteX17" fmla="*/ 969942 w 2103393"/>
              <a:gd name="connsiteY17" fmla="*/ 546193 h 2011914"/>
              <a:gd name="connsiteX18" fmla="*/ 913845 w 2103393"/>
              <a:gd name="connsiteY18" fmla="*/ 103017 h 2011914"/>
              <a:gd name="connsiteX0" fmla="*/ 930675 w 2103393"/>
              <a:gd name="connsiteY0" fmla="*/ 67702 h 2010258"/>
              <a:gd name="connsiteX1" fmla="*/ 1003601 w 2103393"/>
              <a:gd name="connsiteY1" fmla="*/ 384 h 2010258"/>
              <a:gd name="connsiteX2" fmla="*/ 1183115 w 2103393"/>
              <a:gd name="connsiteY2" fmla="*/ 50873 h 2010258"/>
              <a:gd name="connsiteX3" fmla="*/ 1177505 w 2103393"/>
              <a:gd name="connsiteY3" fmla="*/ 538927 h 2010258"/>
              <a:gd name="connsiteX4" fmla="*/ 1312141 w 2103393"/>
              <a:gd name="connsiteY4" fmla="*/ 617464 h 2010258"/>
              <a:gd name="connsiteX5" fmla="*/ 1508484 w 2103393"/>
              <a:gd name="connsiteY5" fmla="*/ 421121 h 2010258"/>
              <a:gd name="connsiteX6" fmla="*/ 2058246 w 2103393"/>
              <a:gd name="connsiteY6" fmla="*/ 1969430 h 2010258"/>
              <a:gd name="connsiteX7" fmla="*/ 1244822 w 2103393"/>
              <a:gd name="connsiteY7" fmla="*/ 1559912 h 2010258"/>
              <a:gd name="connsiteX8" fmla="*/ 1205554 w 2103393"/>
              <a:gd name="connsiteY8" fmla="*/ 1245765 h 2010258"/>
              <a:gd name="connsiteX9" fmla="*/ 1244823 w 2103393"/>
              <a:gd name="connsiteY9" fmla="*/ 802588 h 2010258"/>
              <a:gd name="connsiteX10" fmla="*/ 1076528 w 2103393"/>
              <a:gd name="connsiteY10" fmla="*/ 656733 h 2010258"/>
              <a:gd name="connsiteX11" fmla="*/ 885795 w 2103393"/>
              <a:gd name="connsiteY11" fmla="*/ 796978 h 2010258"/>
              <a:gd name="connsiteX12" fmla="*/ 919453 w 2103393"/>
              <a:gd name="connsiteY12" fmla="*/ 1234544 h 2010258"/>
              <a:gd name="connsiteX13" fmla="*/ 891405 w 2103393"/>
              <a:gd name="connsiteY13" fmla="*/ 1554303 h 2010258"/>
              <a:gd name="connsiteX14" fmla="*/ 89201 w 2103393"/>
              <a:gd name="connsiteY14" fmla="*/ 1997479 h 2010258"/>
              <a:gd name="connsiteX15" fmla="*/ 577255 w 2103393"/>
              <a:gd name="connsiteY15" fmla="*/ 421121 h 2010258"/>
              <a:gd name="connsiteX16" fmla="*/ 807257 w 2103393"/>
              <a:gd name="connsiteY16" fmla="*/ 656733 h 2010258"/>
              <a:gd name="connsiteX17" fmla="*/ 969942 w 2103393"/>
              <a:gd name="connsiteY17" fmla="*/ 544537 h 2010258"/>
              <a:gd name="connsiteX18" fmla="*/ 930675 w 2103393"/>
              <a:gd name="connsiteY18" fmla="*/ 67702 h 2010258"/>
              <a:gd name="connsiteX0" fmla="*/ 930675 w 2103393"/>
              <a:gd name="connsiteY0" fmla="*/ 69239 h 2011795"/>
              <a:gd name="connsiteX1" fmla="*/ 1183115 w 2103393"/>
              <a:gd name="connsiteY1" fmla="*/ 52410 h 2011795"/>
              <a:gd name="connsiteX2" fmla="*/ 1177505 w 2103393"/>
              <a:gd name="connsiteY2" fmla="*/ 540464 h 2011795"/>
              <a:gd name="connsiteX3" fmla="*/ 1312141 w 2103393"/>
              <a:gd name="connsiteY3" fmla="*/ 619001 h 2011795"/>
              <a:gd name="connsiteX4" fmla="*/ 1508484 w 2103393"/>
              <a:gd name="connsiteY4" fmla="*/ 422658 h 2011795"/>
              <a:gd name="connsiteX5" fmla="*/ 2058246 w 2103393"/>
              <a:gd name="connsiteY5" fmla="*/ 1970967 h 2011795"/>
              <a:gd name="connsiteX6" fmla="*/ 1244822 w 2103393"/>
              <a:gd name="connsiteY6" fmla="*/ 1561449 h 2011795"/>
              <a:gd name="connsiteX7" fmla="*/ 1205554 w 2103393"/>
              <a:gd name="connsiteY7" fmla="*/ 1247302 h 2011795"/>
              <a:gd name="connsiteX8" fmla="*/ 1244823 w 2103393"/>
              <a:gd name="connsiteY8" fmla="*/ 804125 h 2011795"/>
              <a:gd name="connsiteX9" fmla="*/ 1076528 w 2103393"/>
              <a:gd name="connsiteY9" fmla="*/ 658270 h 2011795"/>
              <a:gd name="connsiteX10" fmla="*/ 885795 w 2103393"/>
              <a:gd name="connsiteY10" fmla="*/ 798515 h 2011795"/>
              <a:gd name="connsiteX11" fmla="*/ 919453 w 2103393"/>
              <a:gd name="connsiteY11" fmla="*/ 1236081 h 2011795"/>
              <a:gd name="connsiteX12" fmla="*/ 891405 w 2103393"/>
              <a:gd name="connsiteY12" fmla="*/ 1555840 h 2011795"/>
              <a:gd name="connsiteX13" fmla="*/ 89201 w 2103393"/>
              <a:gd name="connsiteY13" fmla="*/ 1999016 h 2011795"/>
              <a:gd name="connsiteX14" fmla="*/ 577255 w 2103393"/>
              <a:gd name="connsiteY14" fmla="*/ 422658 h 2011795"/>
              <a:gd name="connsiteX15" fmla="*/ 807257 w 2103393"/>
              <a:gd name="connsiteY15" fmla="*/ 658270 h 2011795"/>
              <a:gd name="connsiteX16" fmla="*/ 969942 w 2103393"/>
              <a:gd name="connsiteY16" fmla="*/ 546074 h 2011795"/>
              <a:gd name="connsiteX17" fmla="*/ 930675 w 2103393"/>
              <a:gd name="connsiteY17" fmla="*/ 69239 h 2011795"/>
              <a:gd name="connsiteX0" fmla="*/ 930675 w 2103393"/>
              <a:gd name="connsiteY0" fmla="*/ 63795 h 2006351"/>
              <a:gd name="connsiteX1" fmla="*/ 1183115 w 2103393"/>
              <a:gd name="connsiteY1" fmla="*/ 46966 h 2006351"/>
              <a:gd name="connsiteX2" fmla="*/ 1177505 w 2103393"/>
              <a:gd name="connsiteY2" fmla="*/ 535020 h 2006351"/>
              <a:gd name="connsiteX3" fmla="*/ 1312141 w 2103393"/>
              <a:gd name="connsiteY3" fmla="*/ 613557 h 2006351"/>
              <a:gd name="connsiteX4" fmla="*/ 1508484 w 2103393"/>
              <a:gd name="connsiteY4" fmla="*/ 417214 h 2006351"/>
              <a:gd name="connsiteX5" fmla="*/ 2058246 w 2103393"/>
              <a:gd name="connsiteY5" fmla="*/ 1965523 h 2006351"/>
              <a:gd name="connsiteX6" fmla="*/ 1244822 w 2103393"/>
              <a:gd name="connsiteY6" fmla="*/ 1556005 h 2006351"/>
              <a:gd name="connsiteX7" fmla="*/ 1205554 w 2103393"/>
              <a:gd name="connsiteY7" fmla="*/ 1241858 h 2006351"/>
              <a:gd name="connsiteX8" fmla="*/ 1244823 w 2103393"/>
              <a:gd name="connsiteY8" fmla="*/ 798681 h 2006351"/>
              <a:gd name="connsiteX9" fmla="*/ 1076528 w 2103393"/>
              <a:gd name="connsiteY9" fmla="*/ 652826 h 2006351"/>
              <a:gd name="connsiteX10" fmla="*/ 885795 w 2103393"/>
              <a:gd name="connsiteY10" fmla="*/ 793071 h 2006351"/>
              <a:gd name="connsiteX11" fmla="*/ 919453 w 2103393"/>
              <a:gd name="connsiteY11" fmla="*/ 1230637 h 2006351"/>
              <a:gd name="connsiteX12" fmla="*/ 891405 w 2103393"/>
              <a:gd name="connsiteY12" fmla="*/ 1550396 h 2006351"/>
              <a:gd name="connsiteX13" fmla="*/ 89201 w 2103393"/>
              <a:gd name="connsiteY13" fmla="*/ 1993572 h 2006351"/>
              <a:gd name="connsiteX14" fmla="*/ 577255 w 2103393"/>
              <a:gd name="connsiteY14" fmla="*/ 417214 h 2006351"/>
              <a:gd name="connsiteX15" fmla="*/ 807257 w 2103393"/>
              <a:gd name="connsiteY15" fmla="*/ 652826 h 2006351"/>
              <a:gd name="connsiteX16" fmla="*/ 969942 w 2103393"/>
              <a:gd name="connsiteY16" fmla="*/ 540630 h 2006351"/>
              <a:gd name="connsiteX17" fmla="*/ 930675 w 2103393"/>
              <a:gd name="connsiteY17" fmla="*/ 63795 h 2006351"/>
              <a:gd name="connsiteX0" fmla="*/ 930675 w 2103393"/>
              <a:gd name="connsiteY0" fmla="*/ 51191 h 2016186"/>
              <a:gd name="connsiteX1" fmla="*/ 1183115 w 2103393"/>
              <a:gd name="connsiteY1" fmla="*/ 56801 h 2016186"/>
              <a:gd name="connsiteX2" fmla="*/ 1177505 w 2103393"/>
              <a:gd name="connsiteY2" fmla="*/ 544855 h 2016186"/>
              <a:gd name="connsiteX3" fmla="*/ 1312141 w 2103393"/>
              <a:gd name="connsiteY3" fmla="*/ 623392 h 2016186"/>
              <a:gd name="connsiteX4" fmla="*/ 1508484 w 2103393"/>
              <a:gd name="connsiteY4" fmla="*/ 427049 h 2016186"/>
              <a:gd name="connsiteX5" fmla="*/ 2058246 w 2103393"/>
              <a:gd name="connsiteY5" fmla="*/ 1975358 h 2016186"/>
              <a:gd name="connsiteX6" fmla="*/ 1244822 w 2103393"/>
              <a:gd name="connsiteY6" fmla="*/ 1565840 h 2016186"/>
              <a:gd name="connsiteX7" fmla="*/ 1205554 w 2103393"/>
              <a:gd name="connsiteY7" fmla="*/ 1251693 h 2016186"/>
              <a:gd name="connsiteX8" fmla="*/ 1244823 w 2103393"/>
              <a:gd name="connsiteY8" fmla="*/ 808516 h 2016186"/>
              <a:gd name="connsiteX9" fmla="*/ 1076528 w 2103393"/>
              <a:gd name="connsiteY9" fmla="*/ 662661 h 2016186"/>
              <a:gd name="connsiteX10" fmla="*/ 885795 w 2103393"/>
              <a:gd name="connsiteY10" fmla="*/ 802906 h 2016186"/>
              <a:gd name="connsiteX11" fmla="*/ 919453 w 2103393"/>
              <a:gd name="connsiteY11" fmla="*/ 1240472 h 2016186"/>
              <a:gd name="connsiteX12" fmla="*/ 891405 w 2103393"/>
              <a:gd name="connsiteY12" fmla="*/ 1560231 h 2016186"/>
              <a:gd name="connsiteX13" fmla="*/ 89201 w 2103393"/>
              <a:gd name="connsiteY13" fmla="*/ 2003407 h 2016186"/>
              <a:gd name="connsiteX14" fmla="*/ 577255 w 2103393"/>
              <a:gd name="connsiteY14" fmla="*/ 427049 h 2016186"/>
              <a:gd name="connsiteX15" fmla="*/ 807257 w 2103393"/>
              <a:gd name="connsiteY15" fmla="*/ 662661 h 2016186"/>
              <a:gd name="connsiteX16" fmla="*/ 969942 w 2103393"/>
              <a:gd name="connsiteY16" fmla="*/ 550465 h 2016186"/>
              <a:gd name="connsiteX17" fmla="*/ 930675 w 2103393"/>
              <a:gd name="connsiteY17" fmla="*/ 51191 h 2016186"/>
              <a:gd name="connsiteX0" fmla="*/ 930675 w 2103393"/>
              <a:gd name="connsiteY0" fmla="*/ 47103 h 2012098"/>
              <a:gd name="connsiteX1" fmla="*/ 1183115 w 2103393"/>
              <a:gd name="connsiteY1" fmla="*/ 52713 h 2012098"/>
              <a:gd name="connsiteX2" fmla="*/ 1177505 w 2103393"/>
              <a:gd name="connsiteY2" fmla="*/ 540767 h 2012098"/>
              <a:gd name="connsiteX3" fmla="*/ 1312141 w 2103393"/>
              <a:gd name="connsiteY3" fmla="*/ 619304 h 2012098"/>
              <a:gd name="connsiteX4" fmla="*/ 1508484 w 2103393"/>
              <a:gd name="connsiteY4" fmla="*/ 422961 h 2012098"/>
              <a:gd name="connsiteX5" fmla="*/ 2058246 w 2103393"/>
              <a:gd name="connsiteY5" fmla="*/ 1971270 h 2012098"/>
              <a:gd name="connsiteX6" fmla="*/ 1244822 w 2103393"/>
              <a:gd name="connsiteY6" fmla="*/ 1561752 h 2012098"/>
              <a:gd name="connsiteX7" fmla="*/ 1205554 w 2103393"/>
              <a:gd name="connsiteY7" fmla="*/ 1247605 h 2012098"/>
              <a:gd name="connsiteX8" fmla="*/ 1244823 w 2103393"/>
              <a:gd name="connsiteY8" fmla="*/ 804428 h 2012098"/>
              <a:gd name="connsiteX9" fmla="*/ 1076528 w 2103393"/>
              <a:gd name="connsiteY9" fmla="*/ 658573 h 2012098"/>
              <a:gd name="connsiteX10" fmla="*/ 885795 w 2103393"/>
              <a:gd name="connsiteY10" fmla="*/ 798818 h 2012098"/>
              <a:gd name="connsiteX11" fmla="*/ 919453 w 2103393"/>
              <a:gd name="connsiteY11" fmla="*/ 1236384 h 2012098"/>
              <a:gd name="connsiteX12" fmla="*/ 891405 w 2103393"/>
              <a:gd name="connsiteY12" fmla="*/ 1556143 h 2012098"/>
              <a:gd name="connsiteX13" fmla="*/ 89201 w 2103393"/>
              <a:gd name="connsiteY13" fmla="*/ 1999319 h 2012098"/>
              <a:gd name="connsiteX14" fmla="*/ 577255 w 2103393"/>
              <a:gd name="connsiteY14" fmla="*/ 422961 h 2012098"/>
              <a:gd name="connsiteX15" fmla="*/ 807257 w 2103393"/>
              <a:gd name="connsiteY15" fmla="*/ 658573 h 2012098"/>
              <a:gd name="connsiteX16" fmla="*/ 969942 w 2103393"/>
              <a:gd name="connsiteY16" fmla="*/ 546377 h 2012098"/>
              <a:gd name="connsiteX17" fmla="*/ 930675 w 2103393"/>
              <a:gd name="connsiteY17" fmla="*/ 47103 h 2012098"/>
              <a:gd name="connsiteX0" fmla="*/ 930675 w 2103393"/>
              <a:gd name="connsiteY0" fmla="*/ 47103 h 2012098"/>
              <a:gd name="connsiteX1" fmla="*/ 1183115 w 2103393"/>
              <a:gd name="connsiteY1" fmla="*/ 52713 h 2012098"/>
              <a:gd name="connsiteX2" fmla="*/ 1177505 w 2103393"/>
              <a:gd name="connsiteY2" fmla="*/ 540767 h 2012098"/>
              <a:gd name="connsiteX3" fmla="*/ 1312141 w 2103393"/>
              <a:gd name="connsiteY3" fmla="*/ 619304 h 2012098"/>
              <a:gd name="connsiteX4" fmla="*/ 1508484 w 2103393"/>
              <a:gd name="connsiteY4" fmla="*/ 422961 h 2012098"/>
              <a:gd name="connsiteX5" fmla="*/ 2058246 w 2103393"/>
              <a:gd name="connsiteY5" fmla="*/ 1971270 h 2012098"/>
              <a:gd name="connsiteX6" fmla="*/ 1244822 w 2103393"/>
              <a:gd name="connsiteY6" fmla="*/ 1561752 h 2012098"/>
              <a:gd name="connsiteX7" fmla="*/ 1205554 w 2103393"/>
              <a:gd name="connsiteY7" fmla="*/ 1247605 h 2012098"/>
              <a:gd name="connsiteX8" fmla="*/ 1244823 w 2103393"/>
              <a:gd name="connsiteY8" fmla="*/ 804428 h 2012098"/>
              <a:gd name="connsiteX9" fmla="*/ 1076528 w 2103393"/>
              <a:gd name="connsiteY9" fmla="*/ 658573 h 2012098"/>
              <a:gd name="connsiteX10" fmla="*/ 885795 w 2103393"/>
              <a:gd name="connsiteY10" fmla="*/ 798818 h 2012098"/>
              <a:gd name="connsiteX11" fmla="*/ 919453 w 2103393"/>
              <a:gd name="connsiteY11" fmla="*/ 1236384 h 2012098"/>
              <a:gd name="connsiteX12" fmla="*/ 891405 w 2103393"/>
              <a:gd name="connsiteY12" fmla="*/ 1556143 h 2012098"/>
              <a:gd name="connsiteX13" fmla="*/ 89201 w 2103393"/>
              <a:gd name="connsiteY13" fmla="*/ 1999319 h 2012098"/>
              <a:gd name="connsiteX14" fmla="*/ 577255 w 2103393"/>
              <a:gd name="connsiteY14" fmla="*/ 422961 h 2012098"/>
              <a:gd name="connsiteX15" fmla="*/ 807257 w 2103393"/>
              <a:gd name="connsiteY15" fmla="*/ 658573 h 2012098"/>
              <a:gd name="connsiteX16" fmla="*/ 969942 w 2103393"/>
              <a:gd name="connsiteY16" fmla="*/ 546377 h 2012098"/>
              <a:gd name="connsiteX17" fmla="*/ 930675 w 2103393"/>
              <a:gd name="connsiteY17" fmla="*/ 47103 h 2012098"/>
              <a:gd name="connsiteX0" fmla="*/ 930675 w 2103393"/>
              <a:gd name="connsiteY0" fmla="*/ 24191 h 2051098"/>
              <a:gd name="connsiteX1" fmla="*/ 1183115 w 2103393"/>
              <a:gd name="connsiteY1" fmla="*/ 91713 h 2051098"/>
              <a:gd name="connsiteX2" fmla="*/ 1177505 w 2103393"/>
              <a:gd name="connsiteY2" fmla="*/ 579767 h 2051098"/>
              <a:gd name="connsiteX3" fmla="*/ 1312141 w 2103393"/>
              <a:gd name="connsiteY3" fmla="*/ 658304 h 2051098"/>
              <a:gd name="connsiteX4" fmla="*/ 1508484 w 2103393"/>
              <a:gd name="connsiteY4" fmla="*/ 461961 h 2051098"/>
              <a:gd name="connsiteX5" fmla="*/ 2058246 w 2103393"/>
              <a:gd name="connsiteY5" fmla="*/ 2010270 h 2051098"/>
              <a:gd name="connsiteX6" fmla="*/ 1244822 w 2103393"/>
              <a:gd name="connsiteY6" fmla="*/ 1600752 h 2051098"/>
              <a:gd name="connsiteX7" fmla="*/ 1205554 w 2103393"/>
              <a:gd name="connsiteY7" fmla="*/ 1286605 h 2051098"/>
              <a:gd name="connsiteX8" fmla="*/ 1244823 w 2103393"/>
              <a:gd name="connsiteY8" fmla="*/ 843428 h 2051098"/>
              <a:gd name="connsiteX9" fmla="*/ 1076528 w 2103393"/>
              <a:gd name="connsiteY9" fmla="*/ 697573 h 2051098"/>
              <a:gd name="connsiteX10" fmla="*/ 885795 w 2103393"/>
              <a:gd name="connsiteY10" fmla="*/ 837818 h 2051098"/>
              <a:gd name="connsiteX11" fmla="*/ 919453 w 2103393"/>
              <a:gd name="connsiteY11" fmla="*/ 1275384 h 2051098"/>
              <a:gd name="connsiteX12" fmla="*/ 891405 w 2103393"/>
              <a:gd name="connsiteY12" fmla="*/ 1595143 h 2051098"/>
              <a:gd name="connsiteX13" fmla="*/ 89201 w 2103393"/>
              <a:gd name="connsiteY13" fmla="*/ 2038319 h 2051098"/>
              <a:gd name="connsiteX14" fmla="*/ 577255 w 2103393"/>
              <a:gd name="connsiteY14" fmla="*/ 461961 h 2051098"/>
              <a:gd name="connsiteX15" fmla="*/ 807257 w 2103393"/>
              <a:gd name="connsiteY15" fmla="*/ 697573 h 2051098"/>
              <a:gd name="connsiteX16" fmla="*/ 969942 w 2103393"/>
              <a:gd name="connsiteY16" fmla="*/ 585377 h 2051098"/>
              <a:gd name="connsiteX17" fmla="*/ 930675 w 2103393"/>
              <a:gd name="connsiteY17" fmla="*/ 24191 h 2051098"/>
              <a:gd name="connsiteX0" fmla="*/ 930675 w 2103393"/>
              <a:gd name="connsiteY0" fmla="*/ 51153 h 2078060"/>
              <a:gd name="connsiteX1" fmla="*/ 1190398 w 2103393"/>
              <a:gd name="connsiteY1" fmla="*/ 49480 h 2078060"/>
              <a:gd name="connsiteX2" fmla="*/ 1177505 w 2103393"/>
              <a:gd name="connsiteY2" fmla="*/ 606729 h 2078060"/>
              <a:gd name="connsiteX3" fmla="*/ 1312141 w 2103393"/>
              <a:gd name="connsiteY3" fmla="*/ 685266 h 2078060"/>
              <a:gd name="connsiteX4" fmla="*/ 1508484 w 2103393"/>
              <a:gd name="connsiteY4" fmla="*/ 488923 h 2078060"/>
              <a:gd name="connsiteX5" fmla="*/ 2058246 w 2103393"/>
              <a:gd name="connsiteY5" fmla="*/ 2037232 h 2078060"/>
              <a:gd name="connsiteX6" fmla="*/ 1244822 w 2103393"/>
              <a:gd name="connsiteY6" fmla="*/ 1627714 h 2078060"/>
              <a:gd name="connsiteX7" fmla="*/ 1205554 w 2103393"/>
              <a:gd name="connsiteY7" fmla="*/ 1313567 h 2078060"/>
              <a:gd name="connsiteX8" fmla="*/ 1244823 w 2103393"/>
              <a:gd name="connsiteY8" fmla="*/ 870390 h 2078060"/>
              <a:gd name="connsiteX9" fmla="*/ 1076528 w 2103393"/>
              <a:gd name="connsiteY9" fmla="*/ 724535 h 2078060"/>
              <a:gd name="connsiteX10" fmla="*/ 885795 w 2103393"/>
              <a:gd name="connsiteY10" fmla="*/ 864780 h 2078060"/>
              <a:gd name="connsiteX11" fmla="*/ 919453 w 2103393"/>
              <a:gd name="connsiteY11" fmla="*/ 1302346 h 2078060"/>
              <a:gd name="connsiteX12" fmla="*/ 891405 w 2103393"/>
              <a:gd name="connsiteY12" fmla="*/ 1622105 h 2078060"/>
              <a:gd name="connsiteX13" fmla="*/ 89201 w 2103393"/>
              <a:gd name="connsiteY13" fmla="*/ 2065281 h 2078060"/>
              <a:gd name="connsiteX14" fmla="*/ 577255 w 2103393"/>
              <a:gd name="connsiteY14" fmla="*/ 488923 h 2078060"/>
              <a:gd name="connsiteX15" fmla="*/ 807257 w 2103393"/>
              <a:gd name="connsiteY15" fmla="*/ 724535 h 2078060"/>
              <a:gd name="connsiteX16" fmla="*/ 969942 w 2103393"/>
              <a:gd name="connsiteY16" fmla="*/ 612339 h 2078060"/>
              <a:gd name="connsiteX17" fmla="*/ 930675 w 2103393"/>
              <a:gd name="connsiteY17" fmla="*/ 51153 h 2078060"/>
              <a:gd name="connsiteX0" fmla="*/ 930675 w 2103393"/>
              <a:gd name="connsiteY0" fmla="*/ 57180 h 2084087"/>
              <a:gd name="connsiteX1" fmla="*/ 1190398 w 2103393"/>
              <a:gd name="connsiteY1" fmla="*/ 55507 h 2084087"/>
              <a:gd name="connsiteX2" fmla="*/ 1177505 w 2103393"/>
              <a:gd name="connsiteY2" fmla="*/ 612756 h 2084087"/>
              <a:gd name="connsiteX3" fmla="*/ 1312141 w 2103393"/>
              <a:gd name="connsiteY3" fmla="*/ 691293 h 2084087"/>
              <a:gd name="connsiteX4" fmla="*/ 1508484 w 2103393"/>
              <a:gd name="connsiteY4" fmla="*/ 494950 h 2084087"/>
              <a:gd name="connsiteX5" fmla="*/ 2058246 w 2103393"/>
              <a:gd name="connsiteY5" fmla="*/ 2043259 h 2084087"/>
              <a:gd name="connsiteX6" fmla="*/ 1244822 w 2103393"/>
              <a:gd name="connsiteY6" fmla="*/ 1633741 h 2084087"/>
              <a:gd name="connsiteX7" fmla="*/ 1205554 w 2103393"/>
              <a:gd name="connsiteY7" fmla="*/ 1319594 h 2084087"/>
              <a:gd name="connsiteX8" fmla="*/ 1244823 w 2103393"/>
              <a:gd name="connsiteY8" fmla="*/ 876417 h 2084087"/>
              <a:gd name="connsiteX9" fmla="*/ 1076528 w 2103393"/>
              <a:gd name="connsiteY9" fmla="*/ 730562 h 2084087"/>
              <a:gd name="connsiteX10" fmla="*/ 885795 w 2103393"/>
              <a:gd name="connsiteY10" fmla="*/ 870807 h 2084087"/>
              <a:gd name="connsiteX11" fmla="*/ 919453 w 2103393"/>
              <a:gd name="connsiteY11" fmla="*/ 1308373 h 2084087"/>
              <a:gd name="connsiteX12" fmla="*/ 891405 w 2103393"/>
              <a:gd name="connsiteY12" fmla="*/ 1628132 h 2084087"/>
              <a:gd name="connsiteX13" fmla="*/ 89201 w 2103393"/>
              <a:gd name="connsiteY13" fmla="*/ 2071308 h 2084087"/>
              <a:gd name="connsiteX14" fmla="*/ 577255 w 2103393"/>
              <a:gd name="connsiteY14" fmla="*/ 494950 h 2084087"/>
              <a:gd name="connsiteX15" fmla="*/ 807257 w 2103393"/>
              <a:gd name="connsiteY15" fmla="*/ 730562 h 2084087"/>
              <a:gd name="connsiteX16" fmla="*/ 969942 w 2103393"/>
              <a:gd name="connsiteY16" fmla="*/ 618366 h 2084087"/>
              <a:gd name="connsiteX17" fmla="*/ 930675 w 2103393"/>
              <a:gd name="connsiteY17" fmla="*/ 57180 h 2084087"/>
              <a:gd name="connsiteX0" fmla="*/ 930675 w 2103393"/>
              <a:gd name="connsiteY0" fmla="*/ 65797 h 2092704"/>
              <a:gd name="connsiteX1" fmla="*/ 1190398 w 2103393"/>
              <a:gd name="connsiteY1" fmla="*/ 64124 h 2092704"/>
              <a:gd name="connsiteX2" fmla="*/ 1177505 w 2103393"/>
              <a:gd name="connsiteY2" fmla="*/ 621373 h 2092704"/>
              <a:gd name="connsiteX3" fmla="*/ 1312141 w 2103393"/>
              <a:gd name="connsiteY3" fmla="*/ 699910 h 2092704"/>
              <a:gd name="connsiteX4" fmla="*/ 1508484 w 2103393"/>
              <a:gd name="connsiteY4" fmla="*/ 503567 h 2092704"/>
              <a:gd name="connsiteX5" fmla="*/ 2058246 w 2103393"/>
              <a:gd name="connsiteY5" fmla="*/ 2051876 h 2092704"/>
              <a:gd name="connsiteX6" fmla="*/ 1244822 w 2103393"/>
              <a:gd name="connsiteY6" fmla="*/ 1642358 h 2092704"/>
              <a:gd name="connsiteX7" fmla="*/ 1205554 w 2103393"/>
              <a:gd name="connsiteY7" fmla="*/ 1328211 h 2092704"/>
              <a:gd name="connsiteX8" fmla="*/ 1244823 w 2103393"/>
              <a:gd name="connsiteY8" fmla="*/ 885034 h 2092704"/>
              <a:gd name="connsiteX9" fmla="*/ 1076528 w 2103393"/>
              <a:gd name="connsiteY9" fmla="*/ 739179 h 2092704"/>
              <a:gd name="connsiteX10" fmla="*/ 885795 w 2103393"/>
              <a:gd name="connsiteY10" fmla="*/ 879424 h 2092704"/>
              <a:gd name="connsiteX11" fmla="*/ 919453 w 2103393"/>
              <a:gd name="connsiteY11" fmla="*/ 1316990 h 2092704"/>
              <a:gd name="connsiteX12" fmla="*/ 891405 w 2103393"/>
              <a:gd name="connsiteY12" fmla="*/ 1636749 h 2092704"/>
              <a:gd name="connsiteX13" fmla="*/ 89201 w 2103393"/>
              <a:gd name="connsiteY13" fmla="*/ 2079925 h 2092704"/>
              <a:gd name="connsiteX14" fmla="*/ 577255 w 2103393"/>
              <a:gd name="connsiteY14" fmla="*/ 503567 h 2092704"/>
              <a:gd name="connsiteX15" fmla="*/ 807257 w 2103393"/>
              <a:gd name="connsiteY15" fmla="*/ 739179 h 2092704"/>
              <a:gd name="connsiteX16" fmla="*/ 969942 w 2103393"/>
              <a:gd name="connsiteY16" fmla="*/ 626983 h 2092704"/>
              <a:gd name="connsiteX17" fmla="*/ 930675 w 2103393"/>
              <a:gd name="connsiteY17" fmla="*/ 65797 h 2092704"/>
              <a:gd name="connsiteX0" fmla="*/ 930675 w 2103393"/>
              <a:gd name="connsiteY0" fmla="*/ 65797 h 2092704"/>
              <a:gd name="connsiteX1" fmla="*/ 1190398 w 2103393"/>
              <a:gd name="connsiteY1" fmla="*/ 64124 h 2092704"/>
              <a:gd name="connsiteX2" fmla="*/ 1177505 w 2103393"/>
              <a:gd name="connsiteY2" fmla="*/ 621373 h 2092704"/>
              <a:gd name="connsiteX3" fmla="*/ 1312141 w 2103393"/>
              <a:gd name="connsiteY3" fmla="*/ 699910 h 2092704"/>
              <a:gd name="connsiteX4" fmla="*/ 1508484 w 2103393"/>
              <a:gd name="connsiteY4" fmla="*/ 503567 h 2092704"/>
              <a:gd name="connsiteX5" fmla="*/ 2058246 w 2103393"/>
              <a:gd name="connsiteY5" fmla="*/ 2051876 h 2092704"/>
              <a:gd name="connsiteX6" fmla="*/ 1244822 w 2103393"/>
              <a:gd name="connsiteY6" fmla="*/ 1642358 h 2092704"/>
              <a:gd name="connsiteX7" fmla="*/ 1205554 w 2103393"/>
              <a:gd name="connsiteY7" fmla="*/ 1328211 h 2092704"/>
              <a:gd name="connsiteX8" fmla="*/ 1244823 w 2103393"/>
              <a:gd name="connsiteY8" fmla="*/ 885034 h 2092704"/>
              <a:gd name="connsiteX9" fmla="*/ 1076528 w 2103393"/>
              <a:gd name="connsiteY9" fmla="*/ 739179 h 2092704"/>
              <a:gd name="connsiteX10" fmla="*/ 885795 w 2103393"/>
              <a:gd name="connsiteY10" fmla="*/ 879424 h 2092704"/>
              <a:gd name="connsiteX11" fmla="*/ 919453 w 2103393"/>
              <a:gd name="connsiteY11" fmla="*/ 1316990 h 2092704"/>
              <a:gd name="connsiteX12" fmla="*/ 891405 w 2103393"/>
              <a:gd name="connsiteY12" fmla="*/ 1636749 h 2092704"/>
              <a:gd name="connsiteX13" fmla="*/ 89201 w 2103393"/>
              <a:gd name="connsiteY13" fmla="*/ 2079925 h 2092704"/>
              <a:gd name="connsiteX14" fmla="*/ 577255 w 2103393"/>
              <a:gd name="connsiteY14" fmla="*/ 503567 h 2092704"/>
              <a:gd name="connsiteX15" fmla="*/ 807257 w 2103393"/>
              <a:gd name="connsiteY15" fmla="*/ 739179 h 2092704"/>
              <a:gd name="connsiteX16" fmla="*/ 969942 w 2103393"/>
              <a:gd name="connsiteY16" fmla="*/ 626983 h 2092704"/>
              <a:gd name="connsiteX17" fmla="*/ 930675 w 2103393"/>
              <a:gd name="connsiteY17" fmla="*/ 65797 h 2092704"/>
              <a:gd name="connsiteX0" fmla="*/ 930675 w 2103393"/>
              <a:gd name="connsiteY0" fmla="*/ 73853 h 2100760"/>
              <a:gd name="connsiteX1" fmla="*/ 1190398 w 2103393"/>
              <a:gd name="connsiteY1" fmla="*/ 72180 h 2100760"/>
              <a:gd name="connsiteX2" fmla="*/ 1177505 w 2103393"/>
              <a:gd name="connsiteY2" fmla="*/ 629429 h 2100760"/>
              <a:gd name="connsiteX3" fmla="*/ 1312141 w 2103393"/>
              <a:gd name="connsiteY3" fmla="*/ 707966 h 2100760"/>
              <a:gd name="connsiteX4" fmla="*/ 1508484 w 2103393"/>
              <a:gd name="connsiteY4" fmla="*/ 511623 h 2100760"/>
              <a:gd name="connsiteX5" fmla="*/ 2058246 w 2103393"/>
              <a:gd name="connsiteY5" fmla="*/ 2059932 h 2100760"/>
              <a:gd name="connsiteX6" fmla="*/ 1244822 w 2103393"/>
              <a:gd name="connsiteY6" fmla="*/ 1650414 h 2100760"/>
              <a:gd name="connsiteX7" fmla="*/ 1205554 w 2103393"/>
              <a:gd name="connsiteY7" fmla="*/ 1336267 h 2100760"/>
              <a:gd name="connsiteX8" fmla="*/ 1244823 w 2103393"/>
              <a:gd name="connsiteY8" fmla="*/ 893090 h 2100760"/>
              <a:gd name="connsiteX9" fmla="*/ 1076528 w 2103393"/>
              <a:gd name="connsiteY9" fmla="*/ 747235 h 2100760"/>
              <a:gd name="connsiteX10" fmla="*/ 885795 w 2103393"/>
              <a:gd name="connsiteY10" fmla="*/ 887480 h 2100760"/>
              <a:gd name="connsiteX11" fmla="*/ 919453 w 2103393"/>
              <a:gd name="connsiteY11" fmla="*/ 1325046 h 2100760"/>
              <a:gd name="connsiteX12" fmla="*/ 891405 w 2103393"/>
              <a:gd name="connsiteY12" fmla="*/ 1644805 h 2100760"/>
              <a:gd name="connsiteX13" fmla="*/ 89201 w 2103393"/>
              <a:gd name="connsiteY13" fmla="*/ 2087981 h 2100760"/>
              <a:gd name="connsiteX14" fmla="*/ 577255 w 2103393"/>
              <a:gd name="connsiteY14" fmla="*/ 511623 h 2100760"/>
              <a:gd name="connsiteX15" fmla="*/ 807257 w 2103393"/>
              <a:gd name="connsiteY15" fmla="*/ 747235 h 2100760"/>
              <a:gd name="connsiteX16" fmla="*/ 969942 w 2103393"/>
              <a:gd name="connsiteY16" fmla="*/ 635039 h 2100760"/>
              <a:gd name="connsiteX17" fmla="*/ 930675 w 2103393"/>
              <a:gd name="connsiteY17" fmla="*/ 73853 h 2100760"/>
              <a:gd name="connsiteX0" fmla="*/ 930675 w 2103393"/>
              <a:gd name="connsiteY0" fmla="*/ 77953 h 2104860"/>
              <a:gd name="connsiteX1" fmla="*/ 1190398 w 2103393"/>
              <a:gd name="connsiteY1" fmla="*/ 76280 h 2104860"/>
              <a:gd name="connsiteX2" fmla="*/ 1177505 w 2103393"/>
              <a:gd name="connsiteY2" fmla="*/ 633529 h 2104860"/>
              <a:gd name="connsiteX3" fmla="*/ 1312141 w 2103393"/>
              <a:gd name="connsiteY3" fmla="*/ 712066 h 2104860"/>
              <a:gd name="connsiteX4" fmla="*/ 1508484 w 2103393"/>
              <a:gd name="connsiteY4" fmla="*/ 515723 h 2104860"/>
              <a:gd name="connsiteX5" fmla="*/ 2058246 w 2103393"/>
              <a:gd name="connsiteY5" fmla="*/ 2064032 h 2104860"/>
              <a:gd name="connsiteX6" fmla="*/ 1244822 w 2103393"/>
              <a:gd name="connsiteY6" fmla="*/ 1654514 h 2104860"/>
              <a:gd name="connsiteX7" fmla="*/ 1205554 w 2103393"/>
              <a:gd name="connsiteY7" fmla="*/ 1340367 h 2104860"/>
              <a:gd name="connsiteX8" fmla="*/ 1244823 w 2103393"/>
              <a:gd name="connsiteY8" fmla="*/ 897190 h 2104860"/>
              <a:gd name="connsiteX9" fmla="*/ 1076528 w 2103393"/>
              <a:gd name="connsiteY9" fmla="*/ 751335 h 2104860"/>
              <a:gd name="connsiteX10" fmla="*/ 885795 w 2103393"/>
              <a:gd name="connsiteY10" fmla="*/ 891580 h 2104860"/>
              <a:gd name="connsiteX11" fmla="*/ 919453 w 2103393"/>
              <a:gd name="connsiteY11" fmla="*/ 1329146 h 2104860"/>
              <a:gd name="connsiteX12" fmla="*/ 891405 w 2103393"/>
              <a:gd name="connsiteY12" fmla="*/ 1648905 h 2104860"/>
              <a:gd name="connsiteX13" fmla="*/ 89201 w 2103393"/>
              <a:gd name="connsiteY13" fmla="*/ 2092081 h 2104860"/>
              <a:gd name="connsiteX14" fmla="*/ 577255 w 2103393"/>
              <a:gd name="connsiteY14" fmla="*/ 515723 h 2104860"/>
              <a:gd name="connsiteX15" fmla="*/ 807257 w 2103393"/>
              <a:gd name="connsiteY15" fmla="*/ 751335 h 2104860"/>
              <a:gd name="connsiteX16" fmla="*/ 969942 w 2103393"/>
              <a:gd name="connsiteY16" fmla="*/ 639139 h 2104860"/>
              <a:gd name="connsiteX17" fmla="*/ 930675 w 2103393"/>
              <a:gd name="connsiteY17" fmla="*/ 77953 h 2104860"/>
              <a:gd name="connsiteX0" fmla="*/ 930675 w 2103393"/>
              <a:gd name="connsiteY0" fmla="*/ 71187 h 2098094"/>
              <a:gd name="connsiteX1" fmla="*/ 1190398 w 2103393"/>
              <a:gd name="connsiteY1" fmla="*/ 69514 h 2098094"/>
              <a:gd name="connsiteX2" fmla="*/ 1177505 w 2103393"/>
              <a:gd name="connsiteY2" fmla="*/ 626763 h 2098094"/>
              <a:gd name="connsiteX3" fmla="*/ 1312141 w 2103393"/>
              <a:gd name="connsiteY3" fmla="*/ 705300 h 2098094"/>
              <a:gd name="connsiteX4" fmla="*/ 1508484 w 2103393"/>
              <a:gd name="connsiteY4" fmla="*/ 508957 h 2098094"/>
              <a:gd name="connsiteX5" fmla="*/ 2058246 w 2103393"/>
              <a:gd name="connsiteY5" fmla="*/ 2057266 h 2098094"/>
              <a:gd name="connsiteX6" fmla="*/ 1244822 w 2103393"/>
              <a:gd name="connsiteY6" fmla="*/ 1647748 h 2098094"/>
              <a:gd name="connsiteX7" fmla="*/ 1205554 w 2103393"/>
              <a:gd name="connsiteY7" fmla="*/ 1333601 h 2098094"/>
              <a:gd name="connsiteX8" fmla="*/ 1244823 w 2103393"/>
              <a:gd name="connsiteY8" fmla="*/ 890424 h 2098094"/>
              <a:gd name="connsiteX9" fmla="*/ 1076528 w 2103393"/>
              <a:gd name="connsiteY9" fmla="*/ 744569 h 2098094"/>
              <a:gd name="connsiteX10" fmla="*/ 885795 w 2103393"/>
              <a:gd name="connsiteY10" fmla="*/ 884814 h 2098094"/>
              <a:gd name="connsiteX11" fmla="*/ 919453 w 2103393"/>
              <a:gd name="connsiteY11" fmla="*/ 1322380 h 2098094"/>
              <a:gd name="connsiteX12" fmla="*/ 891405 w 2103393"/>
              <a:gd name="connsiteY12" fmla="*/ 1642139 h 2098094"/>
              <a:gd name="connsiteX13" fmla="*/ 89201 w 2103393"/>
              <a:gd name="connsiteY13" fmla="*/ 2085315 h 2098094"/>
              <a:gd name="connsiteX14" fmla="*/ 577255 w 2103393"/>
              <a:gd name="connsiteY14" fmla="*/ 508957 h 2098094"/>
              <a:gd name="connsiteX15" fmla="*/ 807257 w 2103393"/>
              <a:gd name="connsiteY15" fmla="*/ 744569 h 2098094"/>
              <a:gd name="connsiteX16" fmla="*/ 969942 w 2103393"/>
              <a:gd name="connsiteY16" fmla="*/ 632373 h 2098094"/>
              <a:gd name="connsiteX17" fmla="*/ 930675 w 2103393"/>
              <a:gd name="connsiteY17" fmla="*/ 71187 h 2098094"/>
              <a:gd name="connsiteX0" fmla="*/ 930675 w 2103393"/>
              <a:gd name="connsiteY0" fmla="*/ 75207 h 2102114"/>
              <a:gd name="connsiteX1" fmla="*/ 1190398 w 2103393"/>
              <a:gd name="connsiteY1" fmla="*/ 73534 h 2102114"/>
              <a:gd name="connsiteX2" fmla="*/ 1177505 w 2103393"/>
              <a:gd name="connsiteY2" fmla="*/ 630783 h 2102114"/>
              <a:gd name="connsiteX3" fmla="*/ 1312141 w 2103393"/>
              <a:gd name="connsiteY3" fmla="*/ 709320 h 2102114"/>
              <a:gd name="connsiteX4" fmla="*/ 1508484 w 2103393"/>
              <a:gd name="connsiteY4" fmla="*/ 512977 h 2102114"/>
              <a:gd name="connsiteX5" fmla="*/ 2058246 w 2103393"/>
              <a:gd name="connsiteY5" fmla="*/ 2061286 h 2102114"/>
              <a:gd name="connsiteX6" fmla="*/ 1244822 w 2103393"/>
              <a:gd name="connsiteY6" fmla="*/ 1651768 h 2102114"/>
              <a:gd name="connsiteX7" fmla="*/ 1205554 w 2103393"/>
              <a:gd name="connsiteY7" fmla="*/ 1337621 h 2102114"/>
              <a:gd name="connsiteX8" fmla="*/ 1244823 w 2103393"/>
              <a:gd name="connsiteY8" fmla="*/ 894444 h 2102114"/>
              <a:gd name="connsiteX9" fmla="*/ 1076528 w 2103393"/>
              <a:gd name="connsiteY9" fmla="*/ 748589 h 2102114"/>
              <a:gd name="connsiteX10" fmla="*/ 885795 w 2103393"/>
              <a:gd name="connsiteY10" fmla="*/ 888834 h 2102114"/>
              <a:gd name="connsiteX11" fmla="*/ 919453 w 2103393"/>
              <a:gd name="connsiteY11" fmla="*/ 1326400 h 2102114"/>
              <a:gd name="connsiteX12" fmla="*/ 891405 w 2103393"/>
              <a:gd name="connsiteY12" fmla="*/ 1646159 h 2102114"/>
              <a:gd name="connsiteX13" fmla="*/ 89201 w 2103393"/>
              <a:gd name="connsiteY13" fmla="*/ 2089335 h 2102114"/>
              <a:gd name="connsiteX14" fmla="*/ 577255 w 2103393"/>
              <a:gd name="connsiteY14" fmla="*/ 512977 h 2102114"/>
              <a:gd name="connsiteX15" fmla="*/ 807257 w 2103393"/>
              <a:gd name="connsiteY15" fmla="*/ 748589 h 2102114"/>
              <a:gd name="connsiteX16" fmla="*/ 969942 w 2103393"/>
              <a:gd name="connsiteY16" fmla="*/ 636393 h 2102114"/>
              <a:gd name="connsiteX17" fmla="*/ 930675 w 2103393"/>
              <a:gd name="connsiteY17" fmla="*/ 75207 h 2102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103393" h="2102114">
                <a:moveTo>
                  <a:pt x="930675" y="75207"/>
                </a:moveTo>
                <a:cubicBezTo>
                  <a:pt x="914336" y="-26367"/>
                  <a:pt x="1202803" y="-23213"/>
                  <a:pt x="1190398" y="73534"/>
                </a:cubicBezTo>
                <a:lnTo>
                  <a:pt x="1177505" y="630783"/>
                </a:lnTo>
                <a:lnTo>
                  <a:pt x="1312141" y="709320"/>
                </a:lnTo>
                <a:cubicBezTo>
                  <a:pt x="1349539" y="621433"/>
                  <a:pt x="1403768" y="466228"/>
                  <a:pt x="1508484" y="512977"/>
                </a:cubicBezTo>
                <a:cubicBezTo>
                  <a:pt x="1961009" y="692492"/>
                  <a:pt x="2211581" y="1696648"/>
                  <a:pt x="2058246" y="2061286"/>
                </a:cubicBezTo>
                <a:cubicBezTo>
                  <a:pt x="1912391" y="2233320"/>
                  <a:pt x="1542142" y="1816322"/>
                  <a:pt x="1244822" y="1651768"/>
                </a:cubicBezTo>
                <a:cubicBezTo>
                  <a:pt x="1113927" y="1590061"/>
                  <a:pt x="1184984" y="1466646"/>
                  <a:pt x="1205554" y="1337621"/>
                </a:cubicBezTo>
                <a:cubicBezTo>
                  <a:pt x="1233603" y="1238514"/>
                  <a:pt x="1127017" y="1161846"/>
                  <a:pt x="1244823" y="894444"/>
                </a:cubicBezTo>
                <a:cubicBezTo>
                  <a:pt x="1188725" y="845826"/>
                  <a:pt x="1155065" y="802817"/>
                  <a:pt x="1076528" y="748589"/>
                </a:cubicBezTo>
                <a:cubicBezTo>
                  <a:pt x="973682" y="789728"/>
                  <a:pt x="949373" y="842086"/>
                  <a:pt x="885795" y="888834"/>
                </a:cubicBezTo>
                <a:cubicBezTo>
                  <a:pt x="951243" y="1053389"/>
                  <a:pt x="898883" y="1240382"/>
                  <a:pt x="919453" y="1326400"/>
                </a:cubicBezTo>
                <a:cubicBezTo>
                  <a:pt x="930673" y="1432986"/>
                  <a:pt x="1003602" y="1595671"/>
                  <a:pt x="891405" y="1646159"/>
                </a:cubicBezTo>
                <a:cubicBezTo>
                  <a:pt x="685711" y="1737785"/>
                  <a:pt x="311722" y="2121123"/>
                  <a:pt x="89201" y="2089335"/>
                </a:cubicBezTo>
                <a:cubicBezTo>
                  <a:pt x="-118362" y="2035107"/>
                  <a:pt x="33103" y="774768"/>
                  <a:pt x="577255" y="512977"/>
                </a:cubicBezTo>
                <a:cubicBezTo>
                  <a:pt x="704411" y="464359"/>
                  <a:pt x="736199" y="673791"/>
                  <a:pt x="807257" y="748589"/>
                </a:cubicBezTo>
                <a:lnTo>
                  <a:pt x="969942" y="636393"/>
                </a:lnTo>
                <a:cubicBezTo>
                  <a:pt x="968072" y="483058"/>
                  <a:pt x="947112" y="235825"/>
                  <a:pt x="930675" y="7520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55" name="Freeform 48">
            <a:extLst>
              <a:ext uri="{FF2B5EF4-FFF2-40B4-BE49-F238E27FC236}">
                <a16:creationId xmlns:a16="http://schemas.microsoft.com/office/drawing/2014/main" id="{67772B45-BD3F-44C4-8C3C-0A45A7F5D7AA}"/>
              </a:ext>
            </a:extLst>
          </p:cNvPr>
          <p:cNvSpPr>
            <a:spLocks noChangeAspect="1"/>
          </p:cNvSpPr>
          <p:nvPr/>
        </p:nvSpPr>
        <p:spPr>
          <a:xfrm>
            <a:off x="5278002" y="1454850"/>
            <a:ext cx="529812" cy="441236"/>
          </a:xfrm>
          <a:custGeom>
            <a:avLst/>
            <a:gdLst/>
            <a:ahLst/>
            <a:cxnLst/>
            <a:rect l="l" t="t" r="r" b="b"/>
            <a:pathLst>
              <a:path w="3240001" h="2698329">
                <a:moveTo>
                  <a:pt x="2548075" y="5025"/>
                </a:moveTo>
                <a:cubicBezTo>
                  <a:pt x="2888705" y="21427"/>
                  <a:pt x="3205543" y="144443"/>
                  <a:pt x="3236875" y="324866"/>
                </a:cubicBezTo>
                <a:cubicBezTo>
                  <a:pt x="3272384" y="584869"/>
                  <a:pt x="3000845" y="793843"/>
                  <a:pt x="2654112" y="922630"/>
                </a:cubicBezTo>
                <a:cubicBezTo>
                  <a:pt x="2512076" y="1002818"/>
                  <a:pt x="2288579" y="1396468"/>
                  <a:pt x="2077615" y="1155904"/>
                </a:cubicBezTo>
                <a:cubicBezTo>
                  <a:pt x="1902159" y="985808"/>
                  <a:pt x="1914692" y="662627"/>
                  <a:pt x="1946024" y="426923"/>
                </a:cubicBezTo>
                <a:cubicBezTo>
                  <a:pt x="1958557" y="234957"/>
                  <a:pt x="1977355" y="79442"/>
                  <a:pt x="2209208" y="25983"/>
                </a:cubicBezTo>
                <a:cubicBezTo>
                  <a:pt x="2318345" y="5936"/>
                  <a:pt x="2434532" y="-443"/>
                  <a:pt x="2548075" y="5025"/>
                </a:cubicBezTo>
                <a:close/>
                <a:moveTo>
                  <a:pt x="1184195" y="86"/>
                </a:moveTo>
                <a:cubicBezTo>
                  <a:pt x="1412849" y="2955"/>
                  <a:pt x="1621488" y="77771"/>
                  <a:pt x="1732975" y="244677"/>
                </a:cubicBezTo>
                <a:cubicBezTo>
                  <a:pt x="1866656" y="436642"/>
                  <a:pt x="1793548" y="672347"/>
                  <a:pt x="1801904" y="871602"/>
                </a:cubicBezTo>
                <a:cubicBezTo>
                  <a:pt x="1820702" y="1041698"/>
                  <a:pt x="1996160" y="1255532"/>
                  <a:pt x="1889631" y="1396469"/>
                </a:cubicBezTo>
                <a:cubicBezTo>
                  <a:pt x="1714174" y="1644320"/>
                  <a:pt x="1482324" y="1717219"/>
                  <a:pt x="1300601" y="1906754"/>
                </a:cubicBezTo>
                <a:cubicBezTo>
                  <a:pt x="1068750" y="2152178"/>
                  <a:pt x="736639" y="2754803"/>
                  <a:pt x="442124" y="2694054"/>
                </a:cubicBezTo>
                <a:cubicBezTo>
                  <a:pt x="189385" y="2609005"/>
                  <a:pt x="149697" y="2276103"/>
                  <a:pt x="78680" y="2016101"/>
                </a:cubicBezTo>
                <a:cubicBezTo>
                  <a:pt x="-50823" y="1442635"/>
                  <a:pt x="-61268" y="759824"/>
                  <a:pt x="366928" y="302996"/>
                </a:cubicBezTo>
                <a:cubicBezTo>
                  <a:pt x="563141" y="111638"/>
                  <a:pt x="890211" y="-3604"/>
                  <a:pt x="1184195" y="8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56" name="Freeform 49">
            <a:extLst>
              <a:ext uri="{FF2B5EF4-FFF2-40B4-BE49-F238E27FC236}">
                <a16:creationId xmlns:a16="http://schemas.microsoft.com/office/drawing/2014/main" id="{7993CC28-260D-4BB5-BA6E-195B880D9905}"/>
              </a:ext>
            </a:extLst>
          </p:cNvPr>
          <p:cNvSpPr>
            <a:spLocks noChangeAspect="1"/>
          </p:cNvSpPr>
          <p:nvPr/>
        </p:nvSpPr>
        <p:spPr>
          <a:xfrm>
            <a:off x="6995432" y="1440016"/>
            <a:ext cx="470907" cy="470907"/>
          </a:xfrm>
          <a:custGeom>
            <a:avLst/>
            <a:gdLst>
              <a:gd name="connsiteX0" fmla="*/ 1054645 w 3259303"/>
              <a:gd name="connsiteY0" fmla="*/ 0 h 3248084"/>
              <a:gd name="connsiteX1" fmla="*/ 1469772 w 3259303"/>
              <a:gd name="connsiteY1" fmla="*/ 28049 h 3248084"/>
              <a:gd name="connsiteX2" fmla="*/ 1682945 w 3259303"/>
              <a:gd name="connsiteY2" fmla="*/ 740496 h 3248084"/>
              <a:gd name="connsiteX3" fmla="*/ 2417830 w 3259303"/>
              <a:gd name="connsiteY3" fmla="*/ 566592 h 3248084"/>
              <a:gd name="connsiteX4" fmla="*/ 3259303 w 3259303"/>
              <a:gd name="connsiteY4" fmla="*/ 1834410 h 3248084"/>
              <a:gd name="connsiteX5" fmla="*/ 2311244 w 3259303"/>
              <a:gd name="connsiteY5" fmla="*/ 3113448 h 3248084"/>
              <a:gd name="connsiteX6" fmla="*/ 622689 w 3259303"/>
              <a:gd name="connsiteY6" fmla="*/ 2670273 h 3248084"/>
              <a:gd name="connsiteX7" fmla="*/ 398297 w 3259303"/>
              <a:gd name="connsiteY7" fmla="*/ 3248084 h 3248084"/>
              <a:gd name="connsiteX8" fmla="*/ 0 w 3259303"/>
              <a:gd name="connsiteY8" fmla="*/ 3242474 h 3248084"/>
              <a:gd name="connsiteX9" fmla="*/ 218783 w 3259303"/>
              <a:gd name="connsiteY9" fmla="*/ 2333684 h 3248084"/>
              <a:gd name="connsiteX10" fmla="*/ 1593187 w 3259303"/>
              <a:gd name="connsiteY10" fmla="*/ 1997095 h 3248084"/>
              <a:gd name="connsiteX11" fmla="*/ 1250989 w 3259303"/>
              <a:gd name="connsiteY11" fmla="*/ 964889 h 3248084"/>
              <a:gd name="connsiteX12" fmla="*/ 1054645 w 3259303"/>
              <a:gd name="connsiteY12" fmla="*/ 0 h 3248084"/>
              <a:gd name="connsiteX0" fmla="*/ 1054645 w 3259303"/>
              <a:gd name="connsiteY0" fmla="*/ 0 h 3225645"/>
              <a:gd name="connsiteX1" fmla="*/ 1469772 w 3259303"/>
              <a:gd name="connsiteY1" fmla="*/ 5610 h 3225645"/>
              <a:gd name="connsiteX2" fmla="*/ 1682945 w 3259303"/>
              <a:gd name="connsiteY2" fmla="*/ 718057 h 3225645"/>
              <a:gd name="connsiteX3" fmla="*/ 2417830 w 3259303"/>
              <a:gd name="connsiteY3" fmla="*/ 544153 h 3225645"/>
              <a:gd name="connsiteX4" fmla="*/ 3259303 w 3259303"/>
              <a:gd name="connsiteY4" fmla="*/ 1811971 h 3225645"/>
              <a:gd name="connsiteX5" fmla="*/ 2311244 w 3259303"/>
              <a:gd name="connsiteY5" fmla="*/ 3091009 h 3225645"/>
              <a:gd name="connsiteX6" fmla="*/ 622689 w 3259303"/>
              <a:gd name="connsiteY6" fmla="*/ 2647834 h 3225645"/>
              <a:gd name="connsiteX7" fmla="*/ 398297 w 3259303"/>
              <a:gd name="connsiteY7" fmla="*/ 3225645 h 3225645"/>
              <a:gd name="connsiteX8" fmla="*/ 0 w 3259303"/>
              <a:gd name="connsiteY8" fmla="*/ 3220035 h 3225645"/>
              <a:gd name="connsiteX9" fmla="*/ 218783 w 3259303"/>
              <a:gd name="connsiteY9" fmla="*/ 2311245 h 3225645"/>
              <a:gd name="connsiteX10" fmla="*/ 1593187 w 3259303"/>
              <a:gd name="connsiteY10" fmla="*/ 1974656 h 3225645"/>
              <a:gd name="connsiteX11" fmla="*/ 1250989 w 3259303"/>
              <a:gd name="connsiteY11" fmla="*/ 942450 h 3225645"/>
              <a:gd name="connsiteX12" fmla="*/ 1054645 w 3259303"/>
              <a:gd name="connsiteY12" fmla="*/ 0 h 3225645"/>
              <a:gd name="connsiteX0" fmla="*/ 1054645 w 3259303"/>
              <a:gd name="connsiteY0" fmla="*/ 0 h 3242475"/>
              <a:gd name="connsiteX1" fmla="*/ 1469772 w 3259303"/>
              <a:gd name="connsiteY1" fmla="*/ 22440 h 3242475"/>
              <a:gd name="connsiteX2" fmla="*/ 1682945 w 3259303"/>
              <a:gd name="connsiteY2" fmla="*/ 734887 h 3242475"/>
              <a:gd name="connsiteX3" fmla="*/ 2417830 w 3259303"/>
              <a:gd name="connsiteY3" fmla="*/ 560983 h 3242475"/>
              <a:gd name="connsiteX4" fmla="*/ 3259303 w 3259303"/>
              <a:gd name="connsiteY4" fmla="*/ 1828801 h 3242475"/>
              <a:gd name="connsiteX5" fmla="*/ 2311244 w 3259303"/>
              <a:gd name="connsiteY5" fmla="*/ 3107839 h 3242475"/>
              <a:gd name="connsiteX6" fmla="*/ 622689 w 3259303"/>
              <a:gd name="connsiteY6" fmla="*/ 2664664 h 3242475"/>
              <a:gd name="connsiteX7" fmla="*/ 398297 w 3259303"/>
              <a:gd name="connsiteY7" fmla="*/ 3242475 h 3242475"/>
              <a:gd name="connsiteX8" fmla="*/ 0 w 3259303"/>
              <a:gd name="connsiteY8" fmla="*/ 3236865 h 3242475"/>
              <a:gd name="connsiteX9" fmla="*/ 218783 w 3259303"/>
              <a:gd name="connsiteY9" fmla="*/ 2328075 h 3242475"/>
              <a:gd name="connsiteX10" fmla="*/ 1593187 w 3259303"/>
              <a:gd name="connsiteY10" fmla="*/ 1991486 h 3242475"/>
              <a:gd name="connsiteX11" fmla="*/ 1250989 w 3259303"/>
              <a:gd name="connsiteY11" fmla="*/ 959280 h 3242475"/>
              <a:gd name="connsiteX12" fmla="*/ 1054645 w 3259303"/>
              <a:gd name="connsiteY12" fmla="*/ 0 h 3242475"/>
              <a:gd name="connsiteX0" fmla="*/ 1054645 w 3259303"/>
              <a:gd name="connsiteY0" fmla="*/ 0 h 3242475"/>
              <a:gd name="connsiteX1" fmla="*/ 1464162 w 3259303"/>
              <a:gd name="connsiteY1" fmla="*/ 1 h 3242475"/>
              <a:gd name="connsiteX2" fmla="*/ 1682945 w 3259303"/>
              <a:gd name="connsiteY2" fmla="*/ 734887 h 3242475"/>
              <a:gd name="connsiteX3" fmla="*/ 2417830 w 3259303"/>
              <a:gd name="connsiteY3" fmla="*/ 560983 h 3242475"/>
              <a:gd name="connsiteX4" fmla="*/ 3259303 w 3259303"/>
              <a:gd name="connsiteY4" fmla="*/ 1828801 h 3242475"/>
              <a:gd name="connsiteX5" fmla="*/ 2311244 w 3259303"/>
              <a:gd name="connsiteY5" fmla="*/ 3107839 h 3242475"/>
              <a:gd name="connsiteX6" fmla="*/ 622689 w 3259303"/>
              <a:gd name="connsiteY6" fmla="*/ 2664664 h 3242475"/>
              <a:gd name="connsiteX7" fmla="*/ 398297 w 3259303"/>
              <a:gd name="connsiteY7" fmla="*/ 3242475 h 3242475"/>
              <a:gd name="connsiteX8" fmla="*/ 0 w 3259303"/>
              <a:gd name="connsiteY8" fmla="*/ 3236865 h 3242475"/>
              <a:gd name="connsiteX9" fmla="*/ 218783 w 3259303"/>
              <a:gd name="connsiteY9" fmla="*/ 2328075 h 3242475"/>
              <a:gd name="connsiteX10" fmla="*/ 1593187 w 3259303"/>
              <a:gd name="connsiteY10" fmla="*/ 1991486 h 3242475"/>
              <a:gd name="connsiteX11" fmla="*/ 1250989 w 3259303"/>
              <a:gd name="connsiteY11" fmla="*/ 959280 h 3242475"/>
              <a:gd name="connsiteX12" fmla="*/ 1054645 w 3259303"/>
              <a:gd name="connsiteY12" fmla="*/ 0 h 3242475"/>
              <a:gd name="connsiteX0" fmla="*/ 1065864 w 3259303"/>
              <a:gd name="connsiteY0" fmla="*/ 5609 h 3242474"/>
              <a:gd name="connsiteX1" fmla="*/ 1464162 w 3259303"/>
              <a:gd name="connsiteY1" fmla="*/ 0 h 3242474"/>
              <a:gd name="connsiteX2" fmla="*/ 1682945 w 3259303"/>
              <a:gd name="connsiteY2" fmla="*/ 734886 h 3242474"/>
              <a:gd name="connsiteX3" fmla="*/ 2417830 w 3259303"/>
              <a:gd name="connsiteY3" fmla="*/ 560982 h 3242474"/>
              <a:gd name="connsiteX4" fmla="*/ 3259303 w 3259303"/>
              <a:gd name="connsiteY4" fmla="*/ 1828800 h 3242474"/>
              <a:gd name="connsiteX5" fmla="*/ 2311244 w 3259303"/>
              <a:gd name="connsiteY5" fmla="*/ 3107838 h 3242474"/>
              <a:gd name="connsiteX6" fmla="*/ 622689 w 3259303"/>
              <a:gd name="connsiteY6" fmla="*/ 2664663 h 3242474"/>
              <a:gd name="connsiteX7" fmla="*/ 398297 w 3259303"/>
              <a:gd name="connsiteY7" fmla="*/ 3242474 h 3242474"/>
              <a:gd name="connsiteX8" fmla="*/ 0 w 3259303"/>
              <a:gd name="connsiteY8" fmla="*/ 3236864 h 3242474"/>
              <a:gd name="connsiteX9" fmla="*/ 218783 w 3259303"/>
              <a:gd name="connsiteY9" fmla="*/ 2328074 h 3242474"/>
              <a:gd name="connsiteX10" fmla="*/ 1593187 w 3259303"/>
              <a:gd name="connsiteY10" fmla="*/ 1991485 h 3242474"/>
              <a:gd name="connsiteX11" fmla="*/ 1250989 w 3259303"/>
              <a:gd name="connsiteY11" fmla="*/ 959279 h 3242474"/>
              <a:gd name="connsiteX12" fmla="*/ 1065864 w 3259303"/>
              <a:gd name="connsiteY12" fmla="*/ 5609 h 3242474"/>
              <a:gd name="connsiteX0" fmla="*/ 1065864 w 3259303"/>
              <a:gd name="connsiteY0" fmla="*/ 16828 h 3242474"/>
              <a:gd name="connsiteX1" fmla="*/ 1464162 w 3259303"/>
              <a:gd name="connsiteY1" fmla="*/ 0 h 3242474"/>
              <a:gd name="connsiteX2" fmla="*/ 1682945 w 3259303"/>
              <a:gd name="connsiteY2" fmla="*/ 734886 h 3242474"/>
              <a:gd name="connsiteX3" fmla="*/ 2417830 w 3259303"/>
              <a:gd name="connsiteY3" fmla="*/ 560982 h 3242474"/>
              <a:gd name="connsiteX4" fmla="*/ 3259303 w 3259303"/>
              <a:gd name="connsiteY4" fmla="*/ 1828800 h 3242474"/>
              <a:gd name="connsiteX5" fmla="*/ 2311244 w 3259303"/>
              <a:gd name="connsiteY5" fmla="*/ 3107838 h 3242474"/>
              <a:gd name="connsiteX6" fmla="*/ 622689 w 3259303"/>
              <a:gd name="connsiteY6" fmla="*/ 2664663 h 3242474"/>
              <a:gd name="connsiteX7" fmla="*/ 398297 w 3259303"/>
              <a:gd name="connsiteY7" fmla="*/ 3242474 h 3242474"/>
              <a:gd name="connsiteX8" fmla="*/ 0 w 3259303"/>
              <a:gd name="connsiteY8" fmla="*/ 3236864 h 3242474"/>
              <a:gd name="connsiteX9" fmla="*/ 218783 w 3259303"/>
              <a:gd name="connsiteY9" fmla="*/ 2328074 h 3242474"/>
              <a:gd name="connsiteX10" fmla="*/ 1593187 w 3259303"/>
              <a:gd name="connsiteY10" fmla="*/ 1991485 h 3242474"/>
              <a:gd name="connsiteX11" fmla="*/ 1250989 w 3259303"/>
              <a:gd name="connsiteY11" fmla="*/ 959279 h 3242474"/>
              <a:gd name="connsiteX12" fmla="*/ 1065864 w 3259303"/>
              <a:gd name="connsiteY12" fmla="*/ 16828 h 3242474"/>
              <a:gd name="connsiteX0" fmla="*/ 1065864 w 3259303"/>
              <a:gd name="connsiteY0" fmla="*/ 16828 h 3242474"/>
              <a:gd name="connsiteX1" fmla="*/ 1464162 w 3259303"/>
              <a:gd name="connsiteY1" fmla="*/ 0 h 3242474"/>
              <a:gd name="connsiteX2" fmla="*/ 1682945 w 3259303"/>
              <a:gd name="connsiteY2" fmla="*/ 734886 h 3242474"/>
              <a:gd name="connsiteX3" fmla="*/ 2417830 w 3259303"/>
              <a:gd name="connsiteY3" fmla="*/ 560982 h 3242474"/>
              <a:gd name="connsiteX4" fmla="*/ 3259303 w 3259303"/>
              <a:gd name="connsiteY4" fmla="*/ 1828800 h 3242474"/>
              <a:gd name="connsiteX5" fmla="*/ 2311244 w 3259303"/>
              <a:gd name="connsiteY5" fmla="*/ 3107838 h 3242474"/>
              <a:gd name="connsiteX6" fmla="*/ 622689 w 3259303"/>
              <a:gd name="connsiteY6" fmla="*/ 2664663 h 3242474"/>
              <a:gd name="connsiteX7" fmla="*/ 398297 w 3259303"/>
              <a:gd name="connsiteY7" fmla="*/ 3242474 h 3242474"/>
              <a:gd name="connsiteX8" fmla="*/ 0 w 3259303"/>
              <a:gd name="connsiteY8" fmla="*/ 3236864 h 3242474"/>
              <a:gd name="connsiteX9" fmla="*/ 218783 w 3259303"/>
              <a:gd name="connsiteY9" fmla="*/ 2328074 h 3242474"/>
              <a:gd name="connsiteX10" fmla="*/ 1593187 w 3259303"/>
              <a:gd name="connsiteY10" fmla="*/ 1991485 h 3242474"/>
              <a:gd name="connsiteX11" fmla="*/ 1250989 w 3259303"/>
              <a:gd name="connsiteY11" fmla="*/ 959279 h 3242474"/>
              <a:gd name="connsiteX12" fmla="*/ 1065864 w 3259303"/>
              <a:gd name="connsiteY12" fmla="*/ 16828 h 3242474"/>
              <a:gd name="connsiteX0" fmla="*/ 1065864 w 3259303"/>
              <a:gd name="connsiteY0" fmla="*/ 16828 h 3242474"/>
              <a:gd name="connsiteX1" fmla="*/ 1464162 w 3259303"/>
              <a:gd name="connsiteY1" fmla="*/ 0 h 3242474"/>
              <a:gd name="connsiteX2" fmla="*/ 1682945 w 3259303"/>
              <a:gd name="connsiteY2" fmla="*/ 734886 h 3242474"/>
              <a:gd name="connsiteX3" fmla="*/ 2417830 w 3259303"/>
              <a:gd name="connsiteY3" fmla="*/ 560982 h 3242474"/>
              <a:gd name="connsiteX4" fmla="*/ 3259303 w 3259303"/>
              <a:gd name="connsiteY4" fmla="*/ 1828800 h 3242474"/>
              <a:gd name="connsiteX5" fmla="*/ 2311244 w 3259303"/>
              <a:gd name="connsiteY5" fmla="*/ 3107838 h 3242474"/>
              <a:gd name="connsiteX6" fmla="*/ 622689 w 3259303"/>
              <a:gd name="connsiteY6" fmla="*/ 2664663 h 3242474"/>
              <a:gd name="connsiteX7" fmla="*/ 398297 w 3259303"/>
              <a:gd name="connsiteY7" fmla="*/ 3242474 h 3242474"/>
              <a:gd name="connsiteX8" fmla="*/ 0 w 3259303"/>
              <a:gd name="connsiteY8" fmla="*/ 3236864 h 3242474"/>
              <a:gd name="connsiteX9" fmla="*/ 218783 w 3259303"/>
              <a:gd name="connsiteY9" fmla="*/ 2328074 h 3242474"/>
              <a:gd name="connsiteX10" fmla="*/ 1593187 w 3259303"/>
              <a:gd name="connsiteY10" fmla="*/ 1991485 h 3242474"/>
              <a:gd name="connsiteX11" fmla="*/ 1250989 w 3259303"/>
              <a:gd name="connsiteY11" fmla="*/ 959279 h 3242474"/>
              <a:gd name="connsiteX12" fmla="*/ 1065864 w 3259303"/>
              <a:gd name="connsiteY12" fmla="*/ 16828 h 3242474"/>
              <a:gd name="connsiteX0" fmla="*/ 1065864 w 3259303"/>
              <a:gd name="connsiteY0" fmla="*/ 16828 h 3242474"/>
              <a:gd name="connsiteX1" fmla="*/ 1464162 w 3259303"/>
              <a:gd name="connsiteY1" fmla="*/ 0 h 3242474"/>
              <a:gd name="connsiteX2" fmla="*/ 1682945 w 3259303"/>
              <a:gd name="connsiteY2" fmla="*/ 734886 h 3242474"/>
              <a:gd name="connsiteX3" fmla="*/ 2417830 w 3259303"/>
              <a:gd name="connsiteY3" fmla="*/ 560982 h 3242474"/>
              <a:gd name="connsiteX4" fmla="*/ 3259303 w 3259303"/>
              <a:gd name="connsiteY4" fmla="*/ 1828800 h 3242474"/>
              <a:gd name="connsiteX5" fmla="*/ 2311244 w 3259303"/>
              <a:gd name="connsiteY5" fmla="*/ 3107838 h 3242474"/>
              <a:gd name="connsiteX6" fmla="*/ 622689 w 3259303"/>
              <a:gd name="connsiteY6" fmla="*/ 2664663 h 3242474"/>
              <a:gd name="connsiteX7" fmla="*/ 398297 w 3259303"/>
              <a:gd name="connsiteY7" fmla="*/ 3242474 h 3242474"/>
              <a:gd name="connsiteX8" fmla="*/ 0 w 3259303"/>
              <a:gd name="connsiteY8" fmla="*/ 3236864 h 3242474"/>
              <a:gd name="connsiteX9" fmla="*/ 218783 w 3259303"/>
              <a:gd name="connsiteY9" fmla="*/ 2328074 h 3242474"/>
              <a:gd name="connsiteX10" fmla="*/ 1593187 w 3259303"/>
              <a:gd name="connsiteY10" fmla="*/ 1991485 h 3242474"/>
              <a:gd name="connsiteX11" fmla="*/ 1250989 w 3259303"/>
              <a:gd name="connsiteY11" fmla="*/ 959279 h 3242474"/>
              <a:gd name="connsiteX12" fmla="*/ 1065864 w 3259303"/>
              <a:gd name="connsiteY12" fmla="*/ 16828 h 3242474"/>
              <a:gd name="connsiteX0" fmla="*/ 1065864 w 3259303"/>
              <a:gd name="connsiteY0" fmla="*/ 16828 h 3242474"/>
              <a:gd name="connsiteX1" fmla="*/ 1464162 w 3259303"/>
              <a:gd name="connsiteY1" fmla="*/ 0 h 3242474"/>
              <a:gd name="connsiteX2" fmla="*/ 1682945 w 3259303"/>
              <a:gd name="connsiteY2" fmla="*/ 734886 h 3242474"/>
              <a:gd name="connsiteX3" fmla="*/ 2417830 w 3259303"/>
              <a:gd name="connsiteY3" fmla="*/ 560982 h 3242474"/>
              <a:gd name="connsiteX4" fmla="*/ 3259303 w 3259303"/>
              <a:gd name="connsiteY4" fmla="*/ 1828800 h 3242474"/>
              <a:gd name="connsiteX5" fmla="*/ 2311244 w 3259303"/>
              <a:gd name="connsiteY5" fmla="*/ 3107838 h 3242474"/>
              <a:gd name="connsiteX6" fmla="*/ 622689 w 3259303"/>
              <a:gd name="connsiteY6" fmla="*/ 2664663 h 3242474"/>
              <a:gd name="connsiteX7" fmla="*/ 398297 w 3259303"/>
              <a:gd name="connsiteY7" fmla="*/ 3242474 h 3242474"/>
              <a:gd name="connsiteX8" fmla="*/ 0 w 3259303"/>
              <a:gd name="connsiteY8" fmla="*/ 3236864 h 3242474"/>
              <a:gd name="connsiteX9" fmla="*/ 218783 w 3259303"/>
              <a:gd name="connsiteY9" fmla="*/ 2328074 h 3242474"/>
              <a:gd name="connsiteX10" fmla="*/ 1593187 w 3259303"/>
              <a:gd name="connsiteY10" fmla="*/ 1991485 h 3242474"/>
              <a:gd name="connsiteX11" fmla="*/ 1250989 w 3259303"/>
              <a:gd name="connsiteY11" fmla="*/ 959279 h 3242474"/>
              <a:gd name="connsiteX12" fmla="*/ 1065864 w 3259303"/>
              <a:gd name="connsiteY12" fmla="*/ 16828 h 3242474"/>
              <a:gd name="connsiteX0" fmla="*/ 1065864 w 3259303"/>
              <a:gd name="connsiteY0" fmla="*/ 16828 h 3242474"/>
              <a:gd name="connsiteX1" fmla="*/ 1464162 w 3259303"/>
              <a:gd name="connsiteY1" fmla="*/ 0 h 3242474"/>
              <a:gd name="connsiteX2" fmla="*/ 1682945 w 3259303"/>
              <a:gd name="connsiteY2" fmla="*/ 734886 h 3242474"/>
              <a:gd name="connsiteX3" fmla="*/ 2417830 w 3259303"/>
              <a:gd name="connsiteY3" fmla="*/ 560982 h 3242474"/>
              <a:gd name="connsiteX4" fmla="*/ 3259303 w 3259303"/>
              <a:gd name="connsiteY4" fmla="*/ 1828800 h 3242474"/>
              <a:gd name="connsiteX5" fmla="*/ 2311244 w 3259303"/>
              <a:gd name="connsiteY5" fmla="*/ 3107838 h 3242474"/>
              <a:gd name="connsiteX6" fmla="*/ 622689 w 3259303"/>
              <a:gd name="connsiteY6" fmla="*/ 2664663 h 3242474"/>
              <a:gd name="connsiteX7" fmla="*/ 398297 w 3259303"/>
              <a:gd name="connsiteY7" fmla="*/ 3242474 h 3242474"/>
              <a:gd name="connsiteX8" fmla="*/ 0 w 3259303"/>
              <a:gd name="connsiteY8" fmla="*/ 3236864 h 3242474"/>
              <a:gd name="connsiteX9" fmla="*/ 218783 w 3259303"/>
              <a:gd name="connsiteY9" fmla="*/ 2328074 h 3242474"/>
              <a:gd name="connsiteX10" fmla="*/ 1593187 w 3259303"/>
              <a:gd name="connsiteY10" fmla="*/ 1991485 h 3242474"/>
              <a:gd name="connsiteX11" fmla="*/ 1250989 w 3259303"/>
              <a:gd name="connsiteY11" fmla="*/ 959279 h 3242474"/>
              <a:gd name="connsiteX12" fmla="*/ 1065864 w 3259303"/>
              <a:gd name="connsiteY12" fmla="*/ 16828 h 3242474"/>
              <a:gd name="connsiteX0" fmla="*/ 1065864 w 3259303"/>
              <a:gd name="connsiteY0" fmla="*/ 16828 h 3242474"/>
              <a:gd name="connsiteX1" fmla="*/ 1464162 w 3259303"/>
              <a:gd name="connsiteY1" fmla="*/ 0 h 3242474"/>
              <a:gd name="connsiteX2" fmla="*/ 1682945 w 3259303"/>
              <a:gd name="connsiteY2" fmla="*/ 734886 h 3242474"/>
              <a:gd name="connsiteX3" fmla="*/ 2417830 w 3259303"/>
              <a:gd name="connsiteY3" fmla="*/ 560982 h 3242474"/>
              <a:gd name="connsiteX4" fmla="*/ 3259303 w 3259303"/>
              <a:gd name="connsiteY4" fmla="*/ 1828800 h 3242474"/>
              <a:gd name="connsiteX5" fmla="*/ 2311244 w 3259303"/>
              <a:gd name="connsiteY5" fmla="*/ 3107838 h 3242474"/>
              <a:gd name="connsiteX6" fmla="*/ 622689 w 3259303"/>
              <a:gd name="connsiteY6" fmla="*/ 2664663 h 3242474"/>
              <a:gd name="connsiteX7" fmla="*/ 398297 w 3259303"/>
              <a:gd name="connsiteY7" fmla="*/ 3242474 h 3242474"/>
              <a:gd name="connsiteX8" fmla="*/ 0 w 3259303"/>
              <a:gd name="connsiteY8" fmla="*/ 3236864 h 3242474"/>
              <a:gd name="connsiteX9" fmla="*/ 218783 w 3259303"/>
              <a:gd name="connsiteY9" fmla="*/ 2328074 h 3242474"/>
              <a:gd name="connsiteX10" fmla="*/ 1593187 w 3259303"/>
              <a:gd name="connsiteY10" fmla="*/ 1991485 h 3242474"/>
              <a:gd name="connsiteX11" fmla="*/ 1250989 w 3259303"/>
              <a:gd name="connsiteY11" fmla="*/ 959279 h 3242474"/>
              <a:gd name="connsiteX12" fmla="*/ 1065864 w 3259303"/>
              <a:gd name="connsiteY12" fmla="*/ 16828 h 3242474"/>
              <a:gd name="connsiteX0" fmla="*/ 1065864 w 3259303"/>
              <a:gd name="connsiteY0" fmla="*/ 16828 h 3242474"/>
              <a:gd name="connsiteX1" fmla="*/ 1464162 w 3259303"/>
              <a:gd name="connsiteY1" fmla="*/ 0 h 3242474"/>
              <a:gd name="connsiteX2" fmla="*/ 1682945 w 3259303"/>
              <a:gd name="connsiteY2" fmla="*/ 734886 h 3242474"/>
              <a:gd name="connsiteX3" fmla="*/ 2417830 w 3259303"/>
              <a:gd name="connsiteY3" fmla="*/ 560982 h 3242474"/>
              <a:gd name="connsiteX4" fmla="*/ 3259303 w 3259303"/>
              <a:gd name="connsiteY4" fmla="*/ 1828800 h 3242474"/>
              <a:gd name="connsiteX5" fmla="*/ 2311244 w 3259303"/>
              <a:gd name="connsiteY5" fmla="*/ 3107838 h 3242474"/>
              <a:gd name="connsiteX6" fmla="*/ 622689 w 3259303"/>
              <a:gd name="connsiteY6" fmla="*/ 2664663 h 3242474"/>
              <a:gd name="connsiteX7" fmla="*/ 398297 w 3259303"/>
              <a:gd name="connsiteY7" fmla="*/ 3242474 h 3242474"/>
              <a:gd name="connsiteX8" fmla="*/ 0 w 3259303"/>
              <a:gd name="connsiteY8" fmla="*/ 3236864 h 3242474"/>
              <a:gd name="connsiteX9" fmla="*/ 218783 w 3259303"/>
              <a:gd name="connsiteY9" fmla="*/ 2328074 h 3242474"/>
              <a:gd name="connsiteX10" fmla="*/ 1593187 w 3259303"/>
              <a:gd name="connsiteY10" fmla="*/ 1991485 h 3242474"/>
              <a:gd name="connsiteX11" fmla="*/ 1250989 w 3259303"/>
              <a:gd name="connsiteY11" fmla="*/ 959279 h 3242474"/>
              <a:gd name="connsiteX12" fmla="*/ 1065864 w 3259303"/>
              <a:gd name="connsiteY12" fmla="*/ 16828 h 3242474"/>
              <a:gd name="connsiteX0" fmla="*/ 1065864 w 3259303"/>
              <a:gd name="connsiteY0" fmla="*/ 16828 h 3242474"/>
              <a:gd name="connsiteX1" fmla="*/ 1464162 w 3259303"/>
              <a:gd name="connsiteY1" fmla="*/ 0 h 3242474"/>
              <a:gd name="connsiteX2" fmla="*/ 1682945 w 3259303"/>
              <a:gd name="connsiteY2" fmla="*/ 734886 h 3242474"/>
              <a:gd name="connsiteX3" fmla="*/ 2417830 w 3259303"/>
              <a:gd name="connsiteY3" fmla="*/ 560982 h 3242474"/>
              <a:gd name="connsiteX4" fmla="*/ 3259303 w 3259303"/>
              <a:gd name="connsiteY4" fmla="*/ 1828800 h 3242474"/>
              <a:gd name="connsiteX5" fmla="*/ 2311244 w 3259303"/>
              <a:gd name="connsiteY5" fmla="*/ 3107838 h 3242474"/>
              <a:gd name="connsiteX6" fmla="*/ 622689 w 3259303"/>
              <a:gd name="connsiteY6" fmla="*/ 2664663 h 3242474"/>
              <a:gd name="connsiteX7" fmla="*/ 398297 w 3259303"/>
              <a:gd name="connsiteY7" fmla="*/ 3242474 h 3242474"/>
              <a:gd name="connsiteX8" fmla="*/ 0 w 3259303"/>
              <a:gd name="connsiteY8" fmla="*/ 3236864 h 3242474"/>
              <a:gd name="connsiteX9" fmla="*/ 218783 w 3259303"/>
              <a:gd name="connsiteY9" fmla="*/ 2328074 h 3242474"/>
              <a:gd name="connsiteX10" fmla="*/ 1593187 w 3259303"/>
              <a:gd name="connsiteY10" fmla="*/ 1991485 h 3242474"/>
              <a:gd name="connsiteX11" fmla="*/ 1250989 w 3259303"/>
              <a:gd name="connsiteY11" fmla="*/ 959279 h 3242474"/>
              <a:gd name="connsiteX12" fmla="*/ 1065864 w 3259303"/>
              <a:gd name="connsiteY12" fmla="*/ 16828 h 3242474"/>
              <a:gd name="connsiteX0" fmla="*/ 1065864 w 3259303"/>
              <a:gd name="connsiteY0" fmla="*/ 16828 h 3242474"/>
              <a:gd name="connsiteX1" fmla="*/ 1464162 w 3259303"/>
              <a:gd name="connsiteY1" fmla="*/ 0 h 3242474"/>
              <a:gd name="connsiteX2" fmla="*/ 1682945 w 3259303"/>
              <a:gd name="connsiteY2" fmla="*/ 734886 h 3242474"/>
              <a:gd name="connsiteX3" fmla="*/ 2417830 w 3259303"/>
              <a:gd name="connsiteY3" fmla="*/ 560982 h 3242474"/>
              <a:gd name="connsiteX4" fmla="*/ 3259303 w 3259303"/>
              <a:gd name="connsiteY4" fmla="*/ 1828800 h 3242474"/>
              <a:gd name="connsiteX5" fmla="*/ 2311244 w 3259303"/>
              <a:gd name="connsiteY5" fmla="*/ 3107838 h 3242474"/>
              <a:gd name="connsiteX6" fmla="*/ 622689 w 3259303"/>
              <a:gd name="connsiteY6" fmla="*/ 2664663 h 3242474"/>
              <a:gd name="connsiteX7" fmla="*/ 398297 w 3259303"/>
              <a:gd name="connsiteY7" fmla="*/ 3242474 h 3242474"/>
              <a:gd name="connsiteX8" fmla="*/ 0 w 3259303"/>
              <a:gd name="connsiteY8" fmla="*/ 3236864 h 3242474"/>
              <a:gd name="connsiteX9" fmla="*/ 218783 w 3259303"/>
              <a:gd name="connsiteY9" fmla="*/ 2328074 h 3242474"/>
              <a:gd name="connsiteX10" fmla="*/ 1593187 w 3259303"/>
              <a:gd name="connsiteY10" fmla="*/ 1991485 h 3242474"/>
              <a:gd name="connsiteX11" fmla="*/ 1250989 w 3259303"/>
              <a:gd name="connsiteY11" fmla="*/ 959279 h 3242474"/>
              <a:gd name="connsiteX12" fmla="*/ 1065864 w 3259303"/>
              <a:gd name="connsiteY12" fmla="*/ 16828 h 3242474"/>
              <a:gd name="connsiteX0" fmla="*/ 1065864 w 3259303"/>
              <a:gd name="connsiteY0" fmla="*/ 16828 h 3242474"/>
              <a:gd name="connsiteX1" fmla="*/ 1464162 w 3259303"/>
              <a:gd name="connsiteY1" fmla="*/ 0 h 3242474"/>
              <a:gd name="connsiteX2" fmla="*/ 1682945 w 3259303"/>
              <a:gd name="connsiteY2" fmla="*/ 734886 h 3242474"/>
              <a:gd name="connsiteX3" fmla="*/ 2417830 w 3259303"/>
              <a:gd name="connsiteY3" fmla="*/ 560982 h 3242474"/>
              <a:gd name="connsiteX4" fmla="*/ 3259303 w 3259303"/>
              <a:gd name="connsiteY4" fmla="*/ 1828800 h 3242474"/>
              <a:gd name="connsiteX5" fmla="*/ 2311244 w 3259303"/>
              <a:gd name="connsiteY5" fmla="*/ 3107838 h 3242474"/>
              <a:gd name="connsiteX6" fmla="*/ 622689 w 3259303"/>
              <a:gd name="connsiteY6" fmla="*/ 2664663 h 3242474"/>
              <a:gd name="connsiteX7" fmla="*/ 398297 w 3259303"/>
              <a:gd name="connsiteY7" fmla="*/ 3242474 h 3242474"/>
              <a:gd name="connsiteX8" fmla="*/ 0 w 3259303"/>
              <a:gd name="connsiteY8" fmla="*/ 3236864 h 3242474"/>
              <a:gd name="connsiteX9" fmla="*/ 218783 w 3259303"/>
              <a:gd name="connsiteY9" fmla="*/ 2328074 h 3242474"/>
              <a:gd name="connsiteX10" fmla="*/ 1593187 w 3259303"/>
              <a:gd name="connsiteY10" fmla="*/ 1991485 h 3242474"/>
              <a:gd name="connsiteX11" fmla="*/ 1250989 w 3259303"/>
              <a:gd name="connsiteY11" fmla="*/ 959279 h 3242474"/>
              <a:gd name="connsiteX12" fmla="*/ 1065864 w 3259303"/>
              <a:gd name="connsiteY12" fmla="*/ 16828 h 3242474"/>
              <a:gd name="connsiteX0" fmla="*/ 1065864 w 3259303"/>
              <a:gd name="connsiteY0" fmla="*/ 16828 h 3242474"/>
              <a:gd name="connsiteX1" fmla="*/ 1464162 w 3259303"/>
              <a:gd name="connsiteY1" fmla="*/ 0 h 3242474"/>
              <a:gd name="connsiteX2" fmla="*/ 1682945 w 3259303"/>
              <a:gd name="connsiteY2" fmla="*/ 734886 h 3242474"/>
              <a:gd name="connsiteX3" fmla="*/ 2417830 w 3259303"/>
              <a:gd name="connsiteY3" fmla="*/ 560982 h 3242474"/>
              <a:gd name="connsiteX4" fmla="*/ 3259303 w 3259303"/>
              <a:gd name="connsiteY4" fmla="*/ 1828800 h 3242474"/>
              <a:gd name="connsiteX5" fmla="*/ 2311244 w 3259303"/>
              <a:gd name="connsiteY5" fmla="*/ 3107838 h 3242474"/>
              <a:gd name="connsiteX6" fmla="*/ 622689 w 3259303"/>
              <a:gd name="connsiteY6" fmla="*/ 2664663 h 3242474"/>
              <a:gd name="connsiteX7" fmla="*/ 398297 w 3259303"/>
              <a:gd name="connsiteY7" fmla="*/ 3242474 h 3242474"/>
              <a:gd name="connsiteX8" fmla="*/ 0 w 3259303"/>
              <a:gd name="connsiteY8" fmla="*/ 3236864 h 3242474"/>
              <a:gd name="connsiteX9" fmla="*/ 437566 w 3259303"/>
              <a:gd name="connsiteY9" fmla="*/ 2260757 h 3242474"/>
              <a:gd name="connsiteX10" fmla="*/ 1593187 w 3259303"/>
              <a:gd name="connsiteY10" fmla="*/ 1991485 h 3242474"/>
              <a:gd name="connsiteX11" fmla="*/ 1250989 w 3259303"/>
              <a:gd name="connsiteY11" fmla="*/ 959279 h 3242474"/>
              <a:gd name="connsiteX12" fmla="*/ 1065864 w 3259303"/>
              <a:gd name="connsiteY12" fmla="*/ 16828 h 3242474"/>
              <a:gd name="connsiteX0" fmla="*/ 1065864 w 3259303"/>
              <a:gd name="connsiteY0" fmla="*/ 16828 h 3242474"/>
              <a:gd name="connsiteX1" fmla="*/ 1464162 w 3259303"/>
              <a:gd name="connsiteY1" fmla="*/ 0 h 3242474"/>
              <a:gd name="connsiteX2" fmla="*/ 1682945 w 3259303"/>
              <a:gd name="connsiteY2" fmla="*/ 734886 h 3242474"/>
              <a:gd name="connsiteX3" fmla="*/ 2417830 w 3259303"/>
              <a:gd name="connsiteY3" fmla="*/ 560982 h 3242474"/>
              <a:gd name="connsiteX4" fmla="*/ 3259303 w 3259303"/>
              <a:gd name="connsiteY4" fmla="*/ 1828800 h 3242474"/>
              <a:gd name="connsiteX5" fmla="*/ 2311244 w 3259303"/>
              <a:gd name="connsiteY5" fmla="*/ 3107838 h 3242474"/>
              <a:gd name="connsiteX6" fmla="*/ 622689 w 3259303"/>
              <a:gd name="connsiteY6" fmla="*/ 2664663 h 3242474"/>
              <a:gd name="connsiteX7" fmla="*/ 398297 w 3259303"/>
              <a:gd name="connsiteY7" fmla="*/ 3242474 h 3242474"/>
              <a:gd name="connsiteX8" fmla="*/ 0 w 3259303"/>
              <a:gd name="connsiteY8" fmla="*/ 3236864 h 3242474"/>
              <a:gd name="connsiteX9" fmla="*/ 437566 w 3259303"/>
              <a:gd name="connsiteY9" fmla="*/ 2260757 h 3242474"/>
              <a:gd name="connsiteX10" fmla="*/ 1593187 w 3259303"/>
              <a:gd name="connsiteY10" fmla="*/ 1991485 h 3242474"/>
              <a:gd name="connsiteX11" fmla="*/ 1250989 w 3259303"/>
              <a:gd name="connsiteY11" fmla="*/ 959279 h 3242474"/>
              <a:gd name="connsiteX12" fmla="*/ 1065864 w 3259303"/>
              <a:gd name="connsiteY12" fmla="*/ 16828 h 3242474"/>
              <a:gd name="connsiteX0" fmla="*/ 1065864 w 3259303"/>
              <a:gd name="connsiteY0" fmla="*/ 16828 h 3242474"/>
              <a:gd name="connsiteX1" fmla="*/ 1464162 w 3259303"/>
              <a:gd name="connsiteY1" fmla="*/ 0 h 3242474"/>
              <a:gd name="connsiteX2" fmla="*/ 1682945 w 3259303"/>
              <a:gd name="connsiteY2" fmla="*/ 734886 h 3242474"/>
              <a:gd name="connsiteX3" fmla="*/ 2417830 w 3259303"/>
              <a:gd name="connsiteY3" fmla="*/ 560982 h 3242474"/>
              <a:gd name="connsiteX4" fmla="*/ 3259303 w 3259303"/>
              <a:gd name="connsiteY4" fmla="*/ 1828800 h 3242474"/>
              <a:gd name="connsiteX5" fmla="*/ 2311244 w 3259303"/>
              <a:gd name="connsiteY5" fmla="*/ 3107838 h 3242474"/>
              <a:gd name="connsiteX6" fmla="*/ 622689 w 3259303"/>
              <a:gd name="connsiteY6" fmla="*/ 2664663 h 3242474"/>
              <a:gd name="connsiteX7" fmla="*/ 398297 w 3259303"/>
              <a:gd name="connsiteY7" fmla="*/ 3242474 h 3242474"/>
              <a:gd name="connsiteX8" fmla="*/ 0 w 3259303"/>
              <a:gd name="connsiteY8" fmla="*/ 3236864 h 3242474"/>
              <a:gd name="connsiteX9" fmla="*/ 448785 w 3259303"/>
              <a:gd name="connsiteY9" fmla="*/ 2232708 h 3242474"/>
              <a:gd name="connsiteX10" fmla="*/ 1593187 w 3259303"/>
              <a:gd name="connsiteY10" fmla="*/ 1991485 h 3242474"/>
              <a:gd name="connsiteX11" fmla="*/ 1250989 w 3259303"/>
              <a:gd name="connsiteY11" fmla="*/ 959279 h 3242474"/>
              <a:gd name="connsiteX12" fmla="*/ 1065864 w 3259303"/>
              <a:gd name="connsiteY12" fmla="*/ 16828 h 3242474"/>
              <a:gd name="connsiteX0" fmla="*/ 1065864 w 3259303"/>
              <a:gd name="connsiteY0" fmla="*/ 16828 h 3242474"/>
              <a:gd name="connsiteX1" fmla="*/ 1464162 w 3259303"/>
              <a:gd name="connsiteY1" fmla="*/ 0 h 3242474"/>
              <a:gd name="connsiteX2" fmla="*/ 1682945 w 3259303"/>
              <a:gd name="connsiteY2" fmla="*/ 734886 h 3242474"/>
              <a:gd name="connsiteX3" fmla="*/ 2417830 w 3259303"/>
              <a:gd name="connsiteY3" fmla="*/ 560982 h 3242474"/>
              <a:gd name="connsiteX4" fmla="*/ 3259303 w 3259303"/>
              <a:gd name="connsiteY4" fmla="*/ 1828800 h 3242474"/>
              <a:gd name="connsiteX5" fmla="*/ 2311244 w 3259303"/>
              <a:gd name="connsiteY5" fmla="*/ 3107838 h 3242474"/>
              <a:gd name="connsiteX6" fmla="*/ 622689 w 3259303"/>
              <a:gd name="connsiteY6" fmla="*/ 2664663 h 3242474"/>
              <a:gd name="connsiteX7" fmla="*/ 398297 w 3259303"/>
              <a:gd name="connsiteY7" fmla="*/ 3242474 h 3242474"/>
              <a:gd name="connsiteX8" fmla="*/ 0 w 3259303"/>
              <a:gd name="connsiteY8" fmla="*/ 3236864 h 3242474"/>
              <a:gd name="connsiteX9" fmla="*/ 448785 w 3259303"/>
              <a:gd name="connsiteY9" fmla="*/ 2232708 h 3242474"/>
              <a:gd name="connsiteX10" fmla="*/ 1593187 w 3259303"/>
              <a:gd name="connsiteY10" fmla="*/ 1991485 h 3242474"/>
              <a:gd name="connsiteX11" fmla="*/ 1250989 w 3259303"/>
              <a:gd name="connsiteY11" fmla="*/ 959279 h 3242474"/>
              <a:gd name="connsiteX12" fmla="*/ 1065864 w 3259303"/>
              <a:gd name="connsiteY12" fmla="*/ 16828 h 3242474"/>
              <a:gd name="connsiteX0" fmla="*/ 1065864 w 3259303"/>
              <a:gd name="connsiteY0" fmla="*/ 16828 h 3242474"/>
              <a:gd name="connsiteX1" fmla="*/ 1464162 w 3259303"/>
              <a:gd name="connsiteY1" fmla="*/ 0 h 3242474"/>
              <a:gd name="connsiteX2" fmla="*/ 1682945 w 3259303"/>
              <a:gd name="connsiteY2" fmla="*/ 734886 h 3242474"/>
              <a:gd name="connsiteX3" fmla="*/ 2417830 w 3259303"/>
              <a:gd name="connsiteY3" fmla="*/ 560982 h 3242474"/>
              <a:gd name="connsiteX4" fmla="*/ 3259303 w 3259303"/>
              <a:gd name="connsiteY4" fmla="*/ 1828800 h 3242474"/>
              <a:gd name="connsiteX5" fmla="*/ 2311244 w 3259303"/>
              <a:gd name="connsiteY5" fmla="*/ 3107838 h 3242474"/>
              <a:gd name="connsiteX6" fmla="*/ 622689 w 3259303"/>
              <a:gd name="connsiteY6" fmla="*/ 2664663 h 3242474"/>
              <a:gd name="connsiteX7" fmla="*/ 398297 w 3259303"/>
              <a:gd name="connsiteY7" fmla="*/ 3242474 h 3242474"/>
              <a:gd name="connsiteX8" fmla="*/ 0 w 3259303"/>
              <a:gd name="connsiteY8" fmla="*/ 3236864 h 3242474"/>
              <a:gd name="connsiteX9" fmla="*/ 448785 w 3259303"/>
              <a:gd name="connsiteY9" fmla="*/ 2232708 h 3242474"/>
              <a:gd name="connsiteX10" fmla="*/ 1593187 w 3259303"/>
              <a:gd name="connsiteY10" fmla="*/ 1991485 h 3242474"/>
              <a:gd name="connsiteX11" fmla="*/ 1250989 w 3259303"/>
              <a:gd name="connsiteY11" fmla="*/ 959279 h 3242474"/>
              <a:gd name="connsiteX12" fmla="*/ 1065864 w 3259303"/>
              <a:gd name="connsiteY12" fmla="*/ 16828 h 3242474"/>
              <a:gd name="connsiteX0" fmla="*/ 1065864 w 3259303"/>
              <a:gd name="connsiteY0" fmla="*/ 16828 h 3242474"/>
              <a:gd name="connsiteX1" fmla="*/ 1464162 w 3259303"/>
              <a:gd name="connsiteY1" fmla="*/ 0 h 3242474"/>
              <a:gd name="connsiteX2" fmla="*/ 1682945 w 3259303"/>
              <a:gd name="connsiteY2" fmla="*/ 734886 h 3242474"/>
              <a:gd name="connsiteX3" fmla="*/ 2417830 w 3259303"/>
              <a:gd name="connsiteY3" fmla="*/ 560982 h 3242474"/>
              <a:gd name="connsiteX4" fmla="*/ 3259303 w 3259303"/>
              <a:gd name="connsiteY4" fmla="*/ 1828800 h 3242474"/>
              <a:gd name="connsiteX5" fmla="*/ 2311244 w 3259303"/>
              <a:gd name="connsiteY5" fmla="*/ 3107838 h 3242474"/>
              <a:gd name="connsiteX6" fmla="*/ 622689 w 3259303"/>
              <a:gd name="connsiteY6" fmla="*/ 2664663 h 3242474"/>
              <a:gd name="connsiteX7" fmla="*/ 398297 w 3259303"/>
              <a:gd name="connsiteY7" fmla="*/ 3242474 h 3242474"/>
              <a:gd name="connsiteX8" fmla="*/ 0 w 3259303"/>
              <a:gd name="connsiteY8" fmla="*/ 3236864 h 3242474"/>
              <a:gd name="connsiteX9" fmla="*/ 448785 w 3259303"/>
              <a:gd name="connsiteY9" fmla="*/ 2232708 h 3242474"/>
              <a:gd name="connsiteX10" fmla="*/ 1593187 w 3259303"/>
              <a:gd name="connsiteY10" fmla="*/ 1991485 h 3242474"/>
              <a:gd name="connsiteX11" fmla="*/ 1250989 w 3259303"/>
              <a:gd name="connsiteY11" fmla="*/ 959279 h 3242474"/>
              <a:gd name="connsiteX12" fmla="*/ 1065864 w 3259303"/>
              <a:gd name="connsiteY12" fmla="*/ 16828 h 3242474"/>
              <a:gd name="connsiteX0" fmla="*/ 1065864 w 3259303"/>
              <a:gd name="connsiteY0" fmla="*/ 16828 h 3242474"/>
              <a:gd name="connsiteX1" fmla="*/ 1464162 w 3259303"/>
              <a:gd name="connsiteY1" fmla="*/ 0 h 3242474"/>
              <a:gd name="connsiteX2" fmla="*/ 1682945 w 3259303"/>
              <a:gd name="connsiteY2" fmla="*/ 734886 h 3242474"/>
              <a:gd name="connsiteX3" fmla="*/ 2417830 w 3259303"/>
              <a:gd name="connsiteY3" fmla="*/ 560982 h 3242474"/>
              <a:gd name="connsiteX4" fmla="*/ 3259303 w 3259303"/>
              <a:gd name="connsiteY4" fmla="*/ 1828800 h 3242474"/>
              <a:gd name="connsiteX5" fmla="*/ 2311244 w 3259303"/>
              <a:gd name="connsiteY5" fmla="*/ 3107838 h 3242474"/>
              <a:gd name="connsiteX6" fmla="*/ 622689 w 3259303"/>
              <a:gd name="connsiteY6" fmla="*/ 2664663 h 3242474"/>
              <a:gd name="connsiteX7" fmla="*/ 398297 w 3259303"/>
              <a:gd name="connsiteY7" fmla="*/ 3242474 h 3242474"/>
              <a:gd name="connsiteX8" fmla="*/ 0 w 3259303"/>
              <a:gd name="connsiteY8" fmla="*/ 3236864 h 3242474"/>
              <a:gd name="connsiteX9" fmla="*/ 448785 w 3259303"/>
              <a:gd name="connsiteY9" fmla="*/ 2232708 h 3242474"/>
              <a:gd name="connsiteX10" fmla="*/ 1593187 w 3259303"/>
              <a:gd name="connsiteY10" fmla="*/ 1991485 h 3242474"/>
              <a:gd name="connsiteX11" fmla="*/ 1250989 w 3259303"/>
              <a:gd name="connsiteY11" fmla="*/ 959279 h 3242474"/>
              <a:gd name="connsiteX12" fmla="*/ 1065864 w 3259303"/>
              <a:gd name="connsiteY12" fmla="*/ 16828 h 3242474"/>
              <a:gd name="connsiteX0" fmla="*/ 1065864 w 3259303"/>
              <a:gd name="connsiteY0" fmla="*/ 16828 h 3242474"/>
              <a:gd name="connsiteX1" fmla="*/ 1464162 w 3259303"/>
              <a:gd name="connsiteY1" fmla="*/ 0 h 3242474"/>
              <a:gd name="connsiteX2" fmla="*/ 1682945 w 3259303"/>
              <a:gd name="connsiteY2" fmla="*/ 734886 h 3242474"/>
              <a:gd name="connsiteX3" fmla="*/ 2417830 w 3259303"/>
              <a:gd name="connsiteY3" fmla="*/ 560982 h 3242474"/>
              <a:gd name="connsiteX4" fmla="*/ 3259303 w 3259303"/>
              <a:gd name="connsiteY4" fmla="*/ 1828800 h 3242474"/>
              <a:gd name="connsiteX5" fmla="*/ 2311244 w 3259303"/>
              <a:gd name="connsiteY5" fmla="*/ 3107838 h 3242474"/>
              <a:gd name="connsiteX6" fmla="*/ 622689 w 3259303"/>
              <a:gd name="connsiteY6" fmla="*/ 2664663 h 3242474"/>
              <a:gd name="connsiteX7" fmla="*/ 398297 w 3259303"/>
              <a:gd name="connsiteY7" fmla="*/ 3242474 h 3242474"/>
              <a:gd name="connsiteX8" fmla="*/ 0 w 3259303"/>
              <a:gd name="connsiteY8" fmla="*/ 3236864 h 3242474"/>
              <a:gd name="connsiteX9" fmla="*/ 448785 w 3259303"/>
              <a:gd name="connsiteY9" fmla="*/ 2232708 h 3242474"/>
              <a:gd name="connsiteX10" fmla="*/ 1593187 w 3259303"/>
              <a:gd name="connsiteY10" fmla="*/ 1991485 h 3242474"/>
              <a:gd name="connsiteX11" fmla="*/ 1250989 w 3259303"/>
              <a:gd name="connsiteY11" fmla="*/ 959279 h 3242474"/>
              <a:gd name="connsiteX12" fmla="*/ 1065864 w 3259303"/>
              <a:gd name="connsiteY12" fmla="*/ 16828 h 3242474"/>
              <a:gd name="connsiteX0" fmla="*/ 1065864 w 3259303"/>
              <a:gd name="connsiteY0" fmla="*/ 16828 h 3242474"/>
              <a:gd name="connsiteX1" fmla="*/ 1464162 w 3259303"/>
              <a:gd name="connsiteY1" fmla="*/ 0 h 3242474"/>
              <a:gd name="connsiteX2" fmla="*/ 1682945 w 3259303"/>
              <a:gd name="connsiteY2" fmla="*/ 734886 h 3242474"/>
              <a:gd name="connsiteX3" fmla="*/ 2417830 w 3259303"/>
              <a:gd name="connsiteY3" fmla="*/ 560982 h 3242474"/>
              <a:gd name="connsiteX4" fmla="*/ 3259303 w 3259303"/>
              <a:gd name="connsiteY4" fmla="*/ 1828800 h 3242474"/>
              <a:gd name="connsiteX5" fmla="*/ 2311244 w 3259303"/>
              <a:gd name="connsiteY5" fmla="*/ 3107838 h 3242474"/>
              <a:gd name="connsiteX6" fmla="*/ 622689 w 3259303"/>
              <a:gd name="connsiteY6" fmla="*/ 2664663 h 3242474"/>
              <a:gd name="connsiteX7" fmla="*/ 398297 w 3259303"/>
              <a:gd name="connsiteY7" fmla="*/ 3242474 h 3242474"/>
              <a:gd name="connsiteX8" fmla="*/ 0 w 3259303"/>
              <a:gd name="connsiteY8" fmla="*/ 3236864 h 3242474"/>
              <a:gd name="connsiteX9" fmla="*/ 448785 w 3259303"/>
              <a:gd name="connsiteY9" fmla="*/ 2232708 h 3242474"/>
              <a:gd name="connsiteX10" fmla="*/ 1576358 w 3259303"/>
              <a:gd name="connsiteY10" fmla="*/ 1991485 h 3242474"/>
              <a:gd name="connsiteX11" fmla="*/ 1250989 w 3259303"/>
              <a:gd name="connsiteY11" fmla="*/ 959279 h 3242474"/>
              <a:gd name="connsiteX12" fmla="*/ 1065864 w 3259303"/>
              <a:gd name="connsiteY12" fmla="*/ 16828 h 3242474"/>
              <a:gd name="connsiteX0" fmla="*/ 1065864 w 3259303"/>
              <a:gd name="connsiteY0" fmla="*/ 16828 h 3242474"/>
              <a:gd name="connsiteX1" fmla="*/ 1464162 w 3259303"/>
              <a:gd name="connsiteY1" fmla="*/ 0 h 3242474"/>
              <a:gd name="connsiteX2" fmla="*/ 1682945 w 3259303"/>
              <a:gd name="connsiteY2" fmla="*/ 734886 h 3242474"/>
              <a:gd name="connsiteX3" fmla="*/ 2417830 w 3259303"/>
              <a:gd name="connsiteY3" fmla="*/ 560982 h 3242474"/>
              <a:gd name="connsiteX4" fmla="*/ 3259303 w 3259303"/>
              <a:gd name="connsiteY4" fmla="*/ 1828800 h 3242474"/>
              <a:gd name="connsiteX5" fmla="*/ 2311244 w 3259303"/>
              <a:gd name="connsiteY5" fmla="*/ 3107838 h 3242474"/>
              <a:gd name="connsiteX6" fmla="*/ 622689 w 3259303"/>
              <a:gd name="connsiteY6" fmla="*/ 2664663 h 3242474"/>
              <a:gd name="connsiteX7" fmla="*/ 398297 w 3259303"/>
              <a:gd name="connsiteY7" fmla="*/ 3242474 h 3242474"/>
              <a:gd name="connsiteX8" fmla="*/ 0 w 3259303"/>
              <a:gd name="connsiteY8" fmla="*/ 3236864 h 3242474"/>
              <a:gd name="connsiteX9" fmla="*/ 448785 w 3259303"/>
              <a:gd name="connsiteY9" fmla="*/ 2232708 h 3242474"/>
              <a:gd name="connsiteX10" fmla="*/ 1576358 w 3259303"/>
              <a:gd name="connsiteY10" fmla="*/ 1991485 h 3242474"/>
              <a:gd name="connsiteX11" fmla="*/ 1250989 w 3259303"/>
              <a:gd name="connsiteY11" fmla="*/ 959279 h 3242474"/>
              <a:gd name="connsiteX12" fmla="*/ 1065864 w 3259303"/>
              <a:gd name="connsiteY12" fmla="*/ 16828 h 3242474"/>
              <a:gd name="connsiteX0" fmla="*/ 1004156 w 3197595"/>
              <a:gd name="connsiteY0" fmla="*/ 16828 h 3242474"/>
              <a:gd name="connsiteX1" fmla="*/ 1402454 w 3197595"/>
              <a:gd name="connsiteY1" fmla="*/ 0 h 3242474"/>
              <a:gd name="connsiteX2" fmla="*/ 1621237 w 3197595"/>
              <a:gd name="connsiteY2" fmla="*/ 734886 h 3242474"/>
              <a:gd name="connsiteX3" fmla="*/ 2356122 w 3197595"/>
              <a:gd name="connsiteY3" fmla="*/ 560982 h 3242474"/>
              <a:gd name="connsiteX4" fmla="*/ 3197595 w 3197595"/>
              <a:gd name="connsiteY4" fmla="*/ 1828800 h 3242474"/>
              <a:gd name="connsiteX5" fmla="*/ 2249536 w 3197595"/>
              <a:gd name="connsiteY5" fmla="*/ 3107838 h 3242474"/>
              <a:gd name="connsiteX6" fmla="*/ 560981 w 3197595"/>
              <a:gd name="connsiteY6" fmla="*/ 2664663 h 3242474"/>
              <a:gd name="connsiteX7" fmla="*/ 336589 w 3197595"/>
              <a:gd name="connsiteY7" fmla="*/ 3242474 h 3242474"/>
              <a:gd name="connsiteX8" fmla="*/ 0 w 3197595"/>
              <a:gd name="connsiteY8" fmla="*/ 3236864 h 3242474"/>
              <a:gd name="connsiteX9" fmla="*/ 387077 w 3197595"/>
              <a:gd name="connsiteY9" fmla="*/ 2232708 h 3242474"/>
              <a:gd name="connsiteX10" fmla="*/ 1514650 w 3197595"/>
              <a:gd name="connsiteY10" fmla="*/ 1991485 h 3242474"/>
              <a:gd name="connsiteX11" fmla="*/ 1189281 w 3197595"/>
              <a:gd name="connsiteY11" fmla="*/ 959279 h 3242474"/>
              <a:gd name="connsiteX12" fmla="*/ 1004156 w 3197595"/>
              <a:gd name="connsiteY12" fmla="*/ 16828 h 3242474"/>
              <a:gd name="connsiteX0" fmla="*/ 1011476 w 3204915"/>
              <a:gd name="connsiteY0" fmla="*/ 16828 h 3242474"/>
              <a:gd name="connsiteX1" fmla="*/ 1409774 w 3204915"/>
              <a:gd name="connsiteY1" fmla="*/ 0 h 3242474"/>
              <a:gd name="connsiteX2" fmla="*/ 1628557 w 3204915"/>
              <a:gd name="connsiteY2" fmla="*/ 734886 h 3242474"/>
              <a:gd name="connsiteX3" fmla="*/ 2363442 w 3204915"/>
              <a:gd name="connsiteY3" fmla="*/ 560982 h 3242474"/>
              <a:gd name="connsiteX4" fmla="*/ 3204915 w 3204915"/>
              <a:gd name="connsiteY4" fmla="*/ 1828800 h 3242474"/>
              <a:gd name="connsiteX5" fmla="*/ 2256856 w 3204915"/>
              <a:gd name="connsiteY5" fmla="*/ 3107838 h 3242474"/>
              <a:gd name="connsiteX6" fmla="*/ 568301 w 3204915"/>
              <a:gd name="connsiteY6" fmla="*/ 2664663 h 3242474"/>
              <a:gd name="connsiteX7" fmla="*/ 343909 w 3204915"/>
              <a:gd name="connsiteY7" fmla="*/ 3242474 h 3242474"/>
              <a:gd name="connsiteX8" fmla="*/ 7320 w 3204915"/>
              <a:gd name="connsiteY8" fmla="*/ 3236864 h 3242474"/>
              <a:gd name="connsiteX9" fmla="*/ 394397 w 3204915"/>
              <a:gd name="connsiteY9" fmla="*/ 2232708 h 3242474"/>
              <a:gd name="connsiteX10" fmla="*/ 1521970 w 3204915"/>
              <a:gd name="connsiteY10" fmla="*/ 1991485 h 3242474"/>
              <a:gd name="connsiteX11" fmla="*/ 1196601 w 3204915"/>
              <a:gd name="connsiteY11" fmla="*/ 959279 h 3242474"/>
              <a:gd name="connsiteX12" fmla="*/ 1011476 w 3204915"/>
              <a:gd name="connsiteY12" fmla="*/ 16828 h 3242474"/>
              <a:gd name="connsiteX0" fmla="*/ 1007292 w 3200731"/>
              <a:gd name="connsiteY0" fmla="*/ 16828 h 3242474"/>
              <a:gd name="connsiteX1" fmla="*/ 1405590 w 3200731"/>
              <a:gd name="connsiteY1" fmla="*/ 0 h 3242474"/>
              <a:gd name="connsiteX2" fmla="*/ 1624373 w 3200731"/>
              <a:gd name="connsiteY2" fmla="*/ 734886 h 3242474"/>
              <a:gd name="connsiteX3" fmla="*/ 2359258 w 3200731"/>
              <a:gd name="connsiteY3" fmla="*/ 560982 h 3242474"/>
              <a:gd name="connsiteX4" fmla="*/ 3200731 w 3200731"/>
              <a:gd name="connsiteY4" fmla="*/ 1828800 h 3242474"/>
              <a:gd name="connsiteX5" fmla="*/ 2252672 w 3200731"/>
              <a:gd name="connsiteY5" fmla="*/ 3107838 h 3242474"/>
              <a:gd name="connsiteX6" fmla="*/ 564117 w 3200731"/>
              <a:gd name="connsiteY6" fmla="*/ 2664663 h 3242474"/>
              <a:gd name="connsiteX7" fmla="*/ 339725 w 3200731"/>
              <a:gd name="connsiteY7" fmla="*/ 3242474 h 3242474"/>
              <a:gd name="connsiteX8" fmla="*/ 3136 w 3200731"/>
              <a:gd name="connsiteY8" fmla="*/ 3236864 h 3242474"/>
              <a:gd name="connsiteX9" fmla="*/ 390213 w 3200731"/>
              <a:gd name="connsiteY9" fmla="*/ 2232708 h 3242474"/>
              <a:gd name="connsiteX10" fmla="*/ 1517786 w 3200731"/>
              <a:gd name="connsiteY10" fmla="*/ 1991485 h 3242474"/>
              <a:gd name="connsiteX11" fmla="*/ 1192417 w 3200731"/>
              <a:gd name="connsiteY11" fmla="*/ 959279 h 3242474"/>
              <a:gd name="connsiteX12" fmla="*/ 1007292 w 3200731"/>
              <a:gd name="connsiteY12" fmla="*/ 16828 h 3242474"/>
              <a:gd name="connsiteX0" fmla="*/ 1051443 w 3244882"/>
              <a:gd name="connsiteY0" fmla="*/ 16828 h 3242474"/>
              <a:gd name="connsiteX1" fmla="*/ 1449741 w 3244882"/>
              <a:gd name="connsiteY1" fmla="*/ 0 h 3242474"/>
              <a:gd name="connsiteX2" fmla="*/ 1668524 w 3244882"/>
              <a:gd name="connsiteY2" fmla="*/ 734886 h 3242474"/>
              <a:gd name="connsiteX3" fmla="*/ 2403409 w 3244882"/>
              <a:gd name="connsiteY3" fmla="*/ 560982 h 3242474"/>
              <a:gd name="connsiteX4" fmla="*/ 3244882 w 3244882"/>
              <a:gd name="connsiteY4" fmla="*/ 1828800 h 3242474"/>
              <a:gd name="connsiteX5" fmla="*/ 2296823 w 3244882"/>
              <a:gd name="connsiteY5" fmla="*/ 3107838 h 3242474"/>
              <a:gd name="connsiteX6" fmla="*/ 608268 w 3244882"/>
              <a:gd name="connsiteY6" fmla="*/ 2664663 h 3242474"/>
              <a:gd name="connsiteX7" fmla="*/ 383876 w 3244882"/>
              <a:gd name="connsiteY7" fmla="*/ 3242474 h 3242474"/>
              <a:gd name="connsiteX8" fmla="*/ 2408 w 3244882"/>
              <a:gd name="connsiteY8" fmla="*/ 3236864 h 3242474"/>
              <a:gd name="connsiteX9" fmla="*/ 434364 w 3244882"/>
              <a:gd name="connsiteY9" fmla="*/ 2232708 h 3242474"/>
              <a:gd name="connsiteX10" fmla="*/ 1561937 w 3244882"/>
              <a:gd name="connsiteY10" fmla="*/ 1991485 h 3242474"/>
              <a:gd name="connsiteX11" fmla="*/ 1236568 w 3244882"/>
              <a:gd name="connsiteY11" fmla="*/ 959279 h 3242474"/>
              <a:gd name="connsiteX12" fmla="*/ 1051443 w 3244882"/>
              <a:gd name="connsiteY12" fmla="*/ 16828 h 3242474"/>
              <a:gd name="connsiteX0" fmla="*/ 1049313 w 3242752"/>
              <a:gd name="connsiteY0" fmla="*/ 16828 h 3242474"/>
              <a:gd name="connsiteX1" fmla="*/ 1447611 w 3242752"/>
              <a:gd name="connsiteY1" fmla="*/ 0 h 3242474"/>
              <a:gd name="connsiteX2" fmla="*/ 1666394 w 3242752"/>
              <a:gd name="connsiteY2" fmla="*/ 734886 h 3242474"/>
              <a:gd name="connsiteX3" fmla="*/ 2401279 w 3242752"/>
              <a:gd name="connsiteY3" fmla="*/ 560982 h 3242474"/>
              <a:gd name="connsiteX4" fmla="*/ 3242752 w 3242752"/>
              <a:gd name="connsiteY4" fmla="*/ 1828800 h 3242474"/>
              <a:gd name="connsiteX5" fmla="*/ 2294693 w 3242752"/>
              <a:gd name="connsiteY5" fmla="*/ 3107838 h 3242474"/>
              <a:gd name="connsiteX6" fmla="*/ 606138 w 3242752"/>
              <a:gd name="connsiteY6" fmla="*/ 2664663 h 3242474"/>
              <a:gd name="connsiteX7" fmla="*/ 381746 w 3242752"/>
              <a:gd name="connsiteY7" fmla="*/ 3242474 h 3242474"/>
              <a:gd name="connsiteX8" fmla="*/ 278 w 3242752"/>
              <a:gd name="connsiteY8" fmla="*/ 3236864 h 3242474"/>
              <a:gd name="connsiteX9" fmla="*/ 432234 w 3242752"/>
              <a:gd name="connsiteY9" fmla="*/ 2232708 h 3242474"/>
              <a:gd name="connsiteX10" fmla="*/ 1559807 w 3242752"/>
              <a:gd name="connsiteY10" fmla="*/ 1991485 h 3242474"/>
              <a:gd name="connsiteX11" fmla="*/ 1234438 w 3242752"/>
              <a:gd name="connsiteY11" fmla="*/ 959279 h 3242474"/>
              <a:gd name="connsiteX12" fmla="*/ 1049313 w 3242752"/>
              <a:gd name="connsiteY12" fmla="*/ 16828 h 3242474"/>
              <a:gd name="connsiteX0" fmla="*/ 1049035 w 3242474"/>
              <a:gd name="connsiteY0" fmla="*/ 16828 h 3242474"/>
              <a:gd name="connsiteX1" fmla="*/ 1447333 w 3242474"/>
              <a:gd name="connsiteY1" fmla="*/ 0 h 3242474"/>
              <a:gd name="connsiteX2" fmla="*/ 1666116 w 3242474"/>
              <a:gd name="connsiteY2" fmla="*/ 734886 h 3242474"/>
              <a:gd name="connsiteX3" fmla="*/ 2401001 w 3242474"/>
              <a:gd name="connsiteY3" fmla="*/ 560982 h 3242474"/>
              <a:gd name="connsiteX4" fmla="*/ 3242474 w 3242474"/>
              <a:gd name="connsiteY4" fmla="*/ 1828800 h 3242474"/>
              <a:gd name="connsiteX5" fmla="*/ 2294415 w 3242474"/>
              <a:gd name="connsiteY5" fmla="*/ 3107838 h 3242474"/>
              <a:gd name="connsiteX6" fmla="*/ 605860 w 3242474"/>
              <a:gd name="connsiteY6" fmla="*/ 2664663 h 3242474"/>
              <a:gd name="connsiteX7" fmla="*/ 381468 w 3242474"/>
              <a:gd name="connsiteY7" fmla="*/ 3242474 h 3242474"/>
              <a:gd name="connsiteX8" fmla="*/ 0 w 3242474"/>
              <a:gd name="connsiteY8" fmla="*/ 3236864 h 3242474"/>
              <a:gd name="connsiteX9" fmla="*/ 431956 w 3242474"/>
              <a:gd name="connsiteY9" fmla="*/ 2232708 h 3242474"/>
              <a:gd name="connsiteX10" fmla="*/ 1559529 w 3242474"/>
              <a:gd name="connsiteY10" fmla="*/ 1991485 h 3242474"/>
              <a:gd name="connsiteX11" fmla="*/ 1234160 w 3242474"/>
              <a:gd name="connsiteY11" fmla="*/ 959279 h 3242474"/>
              <a:gd name="connsiteX12" fmla="*/ 1049035 w 3242474"/>
              <a:gd name="connsiteY12" fmla="*/ 16828 h 3242474"/>
              <a:gd name="connsiteX0" fmla="*/ 1049035 w 3242474"/>
              <a:gd name="connsiteY0" fmla="*/ 16828 h 3242474"/>
              <a:gd name="connsiteX1" fmla="*/ 1447333 w 3242474"/>
              <a:gd name="connsiteY1" fmla="*/ 0 h 3242474"/>
              <a:gd name="connsiteX2" fmla="*/ 1666116 w 3242474"/>
              <a:gd name="connsiteY2" fmla="*/ 734886 h 3242474"/>
              <a:gd name="connsiteX3" fmla="*/ 2401001 w 3242474"/>
              <a:gd name="connsiteY3" fmla="*/ 560982 h 3242474"/>
              <a:gd name="connsiteX4" fmla="*/ 3242474 w 3242474"/>
              <a:gd name="connsiteY4" fmla="*/ 1828800 h 3242474"/>
              <a:gd name="connsiteX5" fmla="*/ 2294415 w 3242474"/>
              <a:gd name="connsiteY5" fmla="*/ 3107838 h 3242474"/>
              <a:gd name="connsiteX6" fmla="*/ 605860 w 3242474"/>
              <a:gd name="connsiteY6" fmla="*/ 2664663 h 3242474"/>
              <a:gd name="connsiteX7" fmla="*/ 381468 w 3242474"/>
              <a:gd name="connsiteY7" fmla="*/ 3242474 h 3242474"/>
              <a:gd name="connsiteX8" fmla="*/ 0 w 3242474"/>
              <a:gd name="connsiteY8" fmla="*/ 3236864 h 3242474"/>
              <a:gd name="connsiteX9" fmla="*/ 431956 w 3242474"/>
              <a:gd name="connsiteY9" fmla="*/ 2232708 h 3242474"/>
              <a:gd name="connsiteX10" fmla="*/ 1559529 w 3242474"/>
              <a:gd name="connsiteY10" fmla="*/ 1991485 h 3242474"/>
              <a:gd name="connsiteX11" fmla="*/ 1234160 w 3242474"/>
              <a:gd name="connsiteY11" fmla="*/ 959279 h 3242474"/>
              <a:gd name="connsiteX12" fmla="*/ 1049035 w 3242474"/>
              <a:gd name="connsiteY12" fmla="*/ 16828 h 3242474"/>
              <a:gd name="connsiteX0" fmla="*/ 1049035 w 3242474"/>
              <a:gd name="connsiteY0" fmla="*/ 16828 h 3242474"/>
              <a:gd name="connsiteX1" fmla="*/ 1447333 w 3242474"/>
              <a:gd name="connsiteY1" fmla="*/ 0 h 3242474"/>
              <a:gd name="connsiteX2" fmla="*/ 1666116 w 3242474"/>
              <a:gd name="connsiteY2" fmla="*/ 734886 h 3242474"/>
              <a:gd name="connsiteX3" fmla="*/ 2401001 w 3242474"/>
              <a:gd name="connsiteY3" fmla="*/ 560982 h 3242474"/>
              <a:gd name="connsiteX4" fmla="*/ 3242474 w 3242474"/>
              <a:gd name="connsiteY4" fmla="*/ 1828800 h 3242474"/>
              <a:gd name="connsiteX5" fmla="*/ 2294415 w 3242474"/>
              <a:gd name="connsiteY5" fmla="*/ 3107838 h 3242474"/>
              <a:gd name="connsiteX6" fmla="*/ 605860 w 3242474"/>
              <a:gd name="connsiteY6" fmla="*/ 2664663 h 3242474"/>
              <a:gd name="connsiteX7" fmla="*/ 381468 w 3242474"/>
              <a:gd name="connsiteY7" fmla="*/ 3242474 h 3242474"/>
              <a:gd name="connsiteX8" fmla="*/ 0 w 3242474"/>
              <a:gd name="connsiteY8" fmla="*/ 3236864 h 3242474"/>
              <a:gd name="connsiteX9" fmla="*/ 431956 w 3242474"/>
              <a:gd name="connsiteY9" fmla="*/ 2232708 h 3242474"/>
              <a:gd name="connsiteX10" fmla="*/ 1559529 w 3242474"/>
              <a:gd name="connsiteY10" fmla="*/ 1991485 h 3242474"/>
              <a:gd name="connsiteX11" fmla="*/ 1234160 w 3242474"/>
              <a:gd name="connsiteY11" fmla="*/ 959279 h 3242474"/>
              <a:gd name="connsiteX12" fmla="*/ 1049035 w 3242474"/>
              <a:gd name="connsiteY12" fmla="*/ 16828 h 3242474"/>
              <a:gd name="connsiteX0" fmla="*/ 1049035 w 3242474"/>
              <a:gd name="connsiteY0" fmla="*/ 16828 h 3242474"/>
              <a:gd name="connsiteX1" fmla="*/ 1447333 w 3242474"/>
              <a:gd name="connsiteY1" fmla="*/ 0 h 3242474"/>
              <a:gd name="connsiteX2" fmla="*/ 1666116 w 3242474"/>
              <a:gd name="connsiteY2" fmla="*/ 734886 h 3242474"/>
              <a:gd name="connsiteX3" fmla="*/ 2401001 w 3242474"/>
              <a:gd name="connsiteY3" fmla="*/ 560982 h 3242474"/>
              <a:gd name="connsiteX4" fmla="*/ 3242474 w 3242474"/>
              <a:gd name="connsiteY4" fmla="*/ 1828800 h 3242474"/>
              <a:gd name="connsiteX5" fmla="*/ 2294415 w 3242474"/>
              <a:gd name="connsiteY5" fmla="*/ 3107838 h 3242474"/>
              <a:gd name="connsiteX6" fmla="*/ 605860 w 3242474"/>
              <a:gd name="connsiteY6" fmla="*/ 2664663 h 3242474"/>
              <a:gd name="connsiteX7" fmla="*/ 381468 w 3242474"/>
              <a:gd name="connsiteY7" fmla="*/ 3242474 h 3242474"/>
              <a:gd name="connsiteX8" fmla="*/ 0 w 3242474"/>
              <a:gd name="connsiteY8" fmla="*/ 3236864 h 3242474"/>
              <a:gd name="connsiteX9" fmla="*/ 431956 w 3242474"/>
              <a:gd name="connsiteY9" fmla="*/ 2232708 h 3242474"/>
              <a:gd name="connsiteX10" fmla="*/ 1559529 w 3242474"/>
              <a:gd name="connsiteY10" fmla="*/ 1991485 h 3242474"/>
              <a:gd name="connsiteX11" fmla="*/ 1234160 w 3242474"/>
              <a:gd name="connsiteY11" fmla="*/ 959279 h 3242474"/>
              <a:gd name="connsiteX12" fmla="*/ 1049035 w 3242474"/>
              <a:gd name="connsiteY12" fmla="*/ 16828 h 3242474"/>
              <a:gd name="connsiteX0" fmla="*/ 1049035 w 3242474"/>
              <a:gd name="connsiteY0" fmla="*/ 16828 h 3242474"/>
              <a:gd name="connsiteX1" fmla="*/ 1447333 w 3242474"/>
              <a:gd name="connsiteY1" fmla="*/ 0 h 3242474"/>
              <a:gd name="connsiteX2" fmla="*/ 1666116 w 3242474"/>
              <a:gd name="connsiteY2" fmla="*/ 734886 h 3242474"/>
              <a:gd name="connsiteX3" fmla="*/ 2401001 w 3242474"/>
              <a:gd name="connsiteY3" fmla="*/ 560982 h 3242474"/>
              <a:gd name="connsiteX4" fmla="*/ 3242474 w 3242474"/>
              <a:gd name="connsiteY4" fmla="*/ 1828800 h 3242474"/>
              <a:gd name="connsiteX5" fmla="*/ 2300025 w 3242474"/>
              <a:gd name="connsiteY5" fmla="*/ 3046130 h 3242474"/>
              <a:gd name="connsiteX6" fmla="*/ 605860 w 3242474"/>
              <a:gd name="connsiteY6" fmla="*/ 2664663 h 3242474"/>
              <a:gd name="connsiteX7" fmla="*/ 381468 w 3242474"/>
              <a:gd name="connsiteY7" fmla="*/ 3242474 h 3242474"/>
              <a:gd name="connsiteX8" fmla="*/ 0 w 3242474"/>
              <a:gd name="connsiteY8" fmla="*/ 3236864 h 3242474"/>
              <a:gd name="connsiteX9" fmla="*/ 431956 w 3242474"/>
              <a:gd name="connsiteY9" fmla="*/ 2232708 h 3242474"/>
              <a:gd name="connsiteX10" fmla="*/ 1559529 w 3242474"/>
              <a:gd name="connsiteY10" fmla="*/ 1991485 h 3242474"/>
              <a:gd name="connsiteX11" fmla="*/ 1234160 w 3242474"/>
              <a:gd name="connsiteY11" fmla="*/ 959279 h 3242474"/>
              <a:gd name="connsiteX12" fmla="*/ 1049035 w 3242474"/>
              <a:gd name="connsiteY12" fmla="*/ 16828 h 3242474"/>
              <a:gd name="connsiteX0" fmla="*/ 1049035 w 3242474"/>
              <a:gd name="connsiteY0" fmla="*/ 16828 h 3242474"/>
              <a:gd name="connsiteX1" fmla="*/ 1447333 w 3242474"/>
              <a:gd name="connsiteY1" fmla="*/ 0 h 3242474"/>
              <a:gd name="connsiteX2" fmla="*/ 1666116 w 3242474"/>
              <a:gd name="connsiteY2" fmla="*/ 734886 h 3242474"/>
              <a:gd name="connsiteX3" fmla="*/ 2401001 w 3242474"/>
              <a:gd name="connsiteY3" fmla="*/ 560982 h 3242474"/>
              <a:gd name="connsiteX4" fmla="*/ 3242474 w 3242474"/>
              <a:gd name="connsiteY4" fmla="*/ 1828800 h 3242474"/>
              <a:gd name="connsiteX5" fmla="*/ 2300025 w 3242474"/>
              <a:gd name="connsiteY5" fmla="*/ 3046130 h 3242474"/>
              <a:gd name="connsiteX6" fmla="*/ 605860 w 3242474"/>
              <a:gd name="connsiteY6" fmla="*/ 2664663 h 3242474"/>
              <a:gd name="connsiteX7" fmla="*/ 381468 w 3242474"/>
              <a:gd name="connsiteY7" fmla="*/ 3242474 h 3242474"/>
              <a:gd name="connsiteX8" fmla="*/ 0 w 3242474"/>
              <a:gd name="connsiteY8" fmla="*/ 3236864 h 3242474"/>
              <a:gd name="connsiteX9" fmla="*/ 431956 w 3242474"/>
              <a:gd name="connsiteY9" fmla="*/ 2232708 h 3242474"/>
              <a:gd name="connsiteX10" fmla="*/ 1559529 w 3242474"/>
              <a:gd name="connsiteY10" fmla="*/ 1991485 h 3242474"/>
              <a:gd name="connsiteX11" fmla="*/ 1234160 w 3242474"/>
              <a:gd name="connsiteY11" fmla="*/ 959279 h 3242474"/>
              <a:gd name="connsiteX12" fmla="*/ 1049035 w 3242474"/>
              <a:gd name="connsiteY12" fmla="*/ 16828 h 3242474"/>
              <a:gd name="connsiteX0" fmla="*/ 1049035 w 3242474"/>
              <a:gd name="connsiteY0" fmla="*/ 16828 h 3242474"/>
              <a:gd name="connsiteX1" fmla="*/ 1447333 w 3242474"/>
              <a:gd name="connsiteY1" fmla="*/ 0 h 3242474"/>
              <a:gd name="connsiteX2" fmla="*/ 1666116 w 3242474"/>
              <a:gd name="connsiteY2" fmla="*/ 734886 h 3242474"/>
              <a:gd name="connsiteX3" fmla="*/ 2401001 w 3242474"/>
              <a:gd name="connsiteY3" fmla="*/ 560982 h 3242474"/>
              <a:gd name="connsiteX4" fmla="*/ 3242474 w 3242474"/>
              <a:gd name="connsiteY4" fmla="*/ 1828800 h 3242474"/>
              <a:gd name="connsiteX5" fmla="*/ 2300025 w 3242474"/>
              <a:gd name="connsiteY5" fmla="*/ 3046130 h 3242474"/>
              <a:gd name="connsiteX6" fmla="*/ 605860 w 3242474"/>
              <a:gd name="connsiteY6" fmla="*/ 2664663 h 3242474"/>
              <a:gd name="connsiteX7" fmla="*/ 381468 w 3242474"/>
              <a:gd name="connsiteY7" fmla="*/ 3242474 h 3242474"/>
              <a:gd name="connsiteX8" fmla="*/ 0 w 3242474"/>
              <a:gd name="connsiteY8" fmla="*/ 3236864 h 3242474"/>
              <a:gd name="connsiteX9" fmla="*/ 431956 w 3242474"/>
              <a:gd name="connsiteY9" fmla="*/ 2232708 h 3242474"/>
              <a:gd name="connsiteX10" fmla="*/ 1559529 w 3242474"/>
              <a:gd name="connsiteY10" fmla="*/ 1991485 h 3242474"/>
              <a:gd name="connsiteX11" fmla="*/ 1234160 w 3242474"/>
              <a:gd name="connsiteY11" fmla="*/ 959279 h 3242474"/>
              <a:gd name="connsiteX12" fmla="*/ 1049035 w 3242474"/>
              <a:gd name="connsiteY12" fmla="*/ 16828 h 3242474"/>
              <a:gd name="connsiteX0" fmla="*/ 1049035 w 3242474"/>
              <a:gd name="connsiteY0" fmla="*/ 16828 h 3242474"/>
              <a:gd name="connsiteX1" fmla="*/ 1447333 w 3242474"/>
              <a:gd name="connsiteY1" fmla="*/ 0 h 3242474"/>
              <a:gd name="connsiteX2" fmla="*/ 1666116 w 3242474"/>
              <a:gd name="connsiteY2" fmla="*/ 734886 h 3242474"/>
              <a:gd name="connsiteX3" fmla="*/ 2401001 w 3242474"/>
              <a:gd name="connsiteY3" fmla="*/ 560982 h 3242474"/>
              <a:gd name="connsiteX4" fmla="*/ 3242474 w 3242474"/>
              <a:gd name="connsiteY4" fmla="*/ 1828800 h 3242474"/>
              <a:gd name="connsiteX5" fmla="*/ 2300025 w 3242474"/>
              <a:gd name="connsiteY5" fmla="*/ 3046130 h 3242474"/>
              <a:gd name="connsiteX6" fmla="*/ 605860 w 3242474"/>
              <a:gd name="connsiteY6" fmla="*/ 2664663 h 3242474"/>
              <a:gd name="connsiteX7" fmla="*/ 381468 w 3242474"/>
              <a:gd name="connsiteY7" fmla="*/ 3242474 h 3242474"/>
              <a:gd name="connsiteX8" fmla="*/ 0 w 3242474"/>
              <a:gd name="connsiteY8" fmla="*/ 3236864 h 3242474"/>
              <a:gd name="connsiteX9" fmla="*/ 431956 w 3242474"/>
              <a:gd name="connsiteY9" fmla="*/ 2232708 h 3242474"/>
              <a:gd name="connsiteX10" fmla="*/ 1559529 w 3242474"/>
              <a:gd name="connsiteY10" fmla="*/ 1991485 h 3242474"/>
              <a:gd name="connsiteX11" fmla="*/ 1234160 w 3242474"/>
              <a:gd name="connsiteY11" fmla="*/ 959279 h 3242474"/>
              <a:gd name="connsiteX12" fmla="*/ 1049035 w 3242474"/>
              <a:gd name="connsiteY12" fmla="*/ 16828 h 3242474"/>
              <a:gd name="connsiteX0" fmla="*/ 1049035 w 3186376"/>
              <a:gd name="connsiteY0" fmla="*/ 16828 h 3242474"/>
              <a:gd name="connsiteX1" fmla="*/ 1447333 w 3186376"/>
              <a:gd name="connsiteY1" fmla="*/ 0 h 3242474"/>
              <a:gd name="connsiteX2" fmla="*/ 1666116 w 3186376"/>
              <a:gd name="connsiteY2" fmla="*/ 734886 h 3242474"/>
              <a:gd name="connsiteX3" fmla="*/ 2401001 w 3186376"/>
              <a:gd name="connsiteY3" fmla="*/ 560982 h 3242474"/>
              <a:gd name="connsiteX4" fmla="*/ 3186376 w 3186376"/>
              <a:gd name="connsiteY4" fmla="*/ 1828800 h 3242474"/>
              <a:gd name="connsiteX5" fmla="*/ 2300025 w 3186376"/>
              <a:gd name="connsiteY5" fmla="*/ 3046130 h 3242474"/>
              <a:gd name="connsiteX6" fmla="*/ 605860 w 3186376"/>
              <a:gd name="connsiteY6" fmla="*/ 2664663 h 3242474"/>
              <a:gd name="connsiteX7" fmla="*/ 381468 w 3186376"/>
              <a:gd name="connsiteY7" fmla="*/ 3242474 h 3242474"/>
              <a:gd name="connsiteX8" fmla="*/ 0 w 3186376"/>
              <a:gd name="connsiteY8" fmla="*/ 3236864 h 3242474"/>
              <a:gd name="connsiteX9" fmla="*/ 431956 w 3186376"/>
              <a:gd name="connsiteY9" fmla="*/ 2232708 h 3242474"/>
              <a:gd name="connsiteX10" fmla="*/ 1559529 w 3186376"/>
              <a:gd name="connsiteY10" fmla="*/ 1991485 h 3242474"/>
              <a:gd name="connsiteX11" fmla="*/ 1234160 w 3186376"/>
              <a:gd name="connsiteY11" fmla="*/ 959279 h 3242474"/>
              <a:gd name="connsiteX12" fmla="*/ 1049035 w 3186376"/>
              <a:gd name="connsiteY12" fmla="*/ 16828 h 3242474"/>
              <a:gd name="connsiteX0" fmla="*/ 1049035 w 3186376"/>
              <a:gd name="connsiteY0" fmla="*/ 16828 h 3242474"/>
              <a:gd name="connsiteX1" fmla="*/ 1447333 w 3186376"/>
              <a:gd name="connsiteY1" fmla="*/ 0 h 3242474"/>
              <a:gd name="connsiteX2" fmla="*/ 1666116 w 3186376"/>
              <a:gd name="connsiteY2" fmla="*/ 734886 h 3242474"/>
              <a:gd name="connsiteX3" fmla="*/ 2401001 w 3186376"/>
              <a:gd name="connsiteY3" fmla="*/ 560982 h 3242474"/>
              <a:gd name="connsiteX4" fmla="*/ 3186376 w 3186376"/>
              <a:gd name="connsiteY4" fmla="*/ 1828800 h 3242474"/>
              <a:gd name="connsiteX5" fmla="*/ 2300025 w 3186376"/>
              <a:gd name="connsiteY5" fmla="*/ 3046130 h 3242474"/>
              <a:gd name="connsiteX6" fmla="*/ 605860 w 3186376"/>
              <a:gd name="connsiteY6" fmla="*/ 2664663 h 3242474"/>
              <a:gd name="connsiteX7" fmla="*/ 381468 w 3186376"/>
              <a:gd name="connsiteY7" fmla="*/ 3242474 h 3242474"/>
              <a:gd name="connsiteX8" fmla="*/ 0 w 3186376"/>
              <a:gd name="connsiteY8" fmla="*/ 3236864 h 3242474"/>
              <a:gd name="connsiteX9" fmla="*/ 431956 w 3186376"/>
              <a:gd name="connsiteY9" fmla="*/ 2232708 h 3242474"/>
              <a:gd name="connsiteX10" fmla="*/ 1559529 w 3186376"/>
              <a:gd name="connsiteY10" fmla="*/ 1991485 h 3242474"/>
              <a:gd name="connsiteX11" fmla="*/ 1234160 w 3186376"/>
              <a:gd name="connsiteY11" fmla="*/ 959279 h 3242474"/>
              <a:gd name="connsiteX12" fmla="*/ 1049035 w 3186376"/>
              <a:gd name="connsiteY12" fmla="*/ 16828 h 3242474"/>
              <a:gd name="connsiteX0" fmla="*/ 1049035 w 3186376"/>
              <a:gd name="connsiteY0" fmla="*/ 16828 h 3242474"/>
              <a:gd name="connsiteX1" fmla="*/ 1447333 w 3186376"/>
              <a:gd name="connsiteY1" fmla="*/ 0 h 3242474"/>
              <a:gd name="connsiteX2" fmla="*/ 1666116 w 3186376"/>
              <a:gd name="connsiteY2" fmla="*/ 734886 h 3242474"/>
              <a:gd name="connsiteX3" fmla="*/ 2401001 w 3186376"/>
              <a:gd name="connsiteY3" fmla="*/ 560982 h 3242474"/>
              <a:gd name="connsiteX4" fmla="*/ 3186376 w 3186376"/>
              <a:gd name="connsiteY4" fmla="*/ 1828800 h 3242474"/>
              <a:gd name="connsiteX5" fmla="*/ 2300025 w 3186376"/>
              <a:gd name="connsiteY5" fmla="*/ 3046130 h 3242474"/>
              <a:gd name="connsiteX6" fmla="*/ 605860 w 3186376"/>
              <a:gd name="connsiteY6" fmla="*/ 2664663 h 3242474"/>
              <a:gd name="connsiteX7" fmla="*/ 381468 w 3186376"/>
              <a:gd name="connsiteY7" fmla="*/ 3242474 h 3242474"/>
              <a:gd name="connsiteX8" fmla="*/ 0 w 3186376"/>
              <a:gd name="connsiteY8" fmla="*/ 3236864 h 3242474"/>
              <a:gd name="connsiteX9" fmla="*/ 431956 w 3186376"/>
              <a:gd name="connsiteY9" fmla="*/ 2232708 h 3242474"/>
              <a:gd name="connsiteX10" fmla="*/ 1559529 w 3186376"/>
              <a:gd name="connsiteY10" fmla="*/ 1991485 h 3242474"/>
              <a:gd name="connsiteX11" fmla="*/ 1234160 w 3186376"/>
              <a:gd name="connsiteY11" fmla="*/ 959279 h 3242474"/>
              <a:gd name="connsiteX12" fmla="*/ 1049035 w 3186376"/>
              <a:gd name="connsiteY12" fmla="*/ 16828 h 3242474"/>
              <a:gd name="connsiteX0" fmla="*/ 1049035 w 3203206"/>
              <a:gd name="connsiteY0" fmla="*/ 16828 h 3242474"/>
              <a:gd name="connsiteX1" fmla="*/ 1447333 w 3203206"/>
              <a:gd name="connsiteY1" fmla="*/ 0 h 3242474"/>
              <a:gd name="connsiteX2" fmla="*/ 1666116 w 3203206"/>
              <a:gd name="connsiteY2" fmla="*/ 734886 h 3242474"/>
              <a:gd name="connsiteX3" fmla="*/ 2401001 w 3203206"/>
              <a:gd name="connsiteY3" fmla="*/ 560982 h 3242474"/>
              <a:gd name="connsiteX4" fmla="*/ 3203206 w 3203206"/>
              <a:gd name="connsiteY4" fmla="*/ 1823190 h 3242474"/>
              <a:gd name="connsiteX5" fmla="*/ 2300025 w 3203206"/>
              <a:gd name="connsiteY5" fmla="*/ 3046130 h 3242474"/>
              <a:gd name="connsiteX6" fmla="*/ 605860 w 3203206"/>
              <a:gd name="connsiteY6" fmla="*/ 2664663 h 3242474"/>
              <a:gd name="connsiteX7" fmla="*/ 381468 w 3203206"/>
              <a:gd name="connsiteY7" fmla="*/ 3242474 h 3242474"/>
              <a:gd name="connsiteX8" fmla="*/ 0 w 3203206"/>
              <a:gd name="connsiteY8" fmla="*/ 3236864 h 3242474"/>
              <a:gd name="connsiteX9" fmla="*/ 431956 w 3203206"/>
              <a:gd name="connsiteY9" fmla="*/ 2232708 h 3242474"/>
              <a:gd name="connsiteX10" fmla="*/ 1559529 w 3203206"/>
              <a:gd name="connsiteY10" fmla="*/ 1991485 h 3242474"/>
              <a:gd name="connsiteX11" fmla="*/ 1234160 w 3203206"/>
              <a:gd name="connsiteY11" fmla="*/ 959279 h 3242474"/>
              <a:gd name="connsiteX12" fmla="*/ 1049035 w 3203206"/>
              <a:gd name="connsiteY12" fmla="*/ 16828 h 3242474"/>
              <a:gd name="connsiteX0" fmla="*/ 1049035 w 3203206"/>
              <a:gd name="connsiteY0" fmla="*/ 16828 h 3242474"/>
              <a:gd name="connsiteX1" fmla="*/ 1447333 w 3203206"/>
              <a:gd name="connsiteY1" fmla="*/ 0 h 3242474"/>
              <a:gd name="connsiteX2" fmla="*/ 1666116 w 3203206"/>
              <a:gd name="connsiteY2" fmla="*/ 734886 h 3242474"/>
              <a:gd name="connsiteX3" fmla="*/ 2401001 w 3203206"/>
              <a:gd name="connsiteY3" fmla="*/ 560982 h 3242474"/>
              <a:gd name="connsiteX4" fmla="*/ 3203206 w 3203206"/>
              <a:gd name="connsiteY4" fmla="*/ 1823190 h 3242474"/>
              <a:gd name="connsiteX5" fmla="*/ 2300025 w 3203206"/>
              <a:gd name="connsiteY5" fmla="*/ 3046130 h 3242474"/>
              <a:gd name="connsiteX6" fmla="*/ 605860 w 3203206"/>
              <a:gd name="connsiteY6" fmla="*/ 2664663 h 3242474"/>
              <a:gd name="connsiteX7" fmla="*/ 381468 w 3203206"/>
              <a:gd name="connsiteY7" fmla="*/ 3242474 h 3242474"/>
              <a:gd name="connsiteX8" fmla="*/ 0 w 3203206"/>
              <a:gd name="connsiteY8" fmla="*/ 3236864 h 3242474"/>
              <a:gd name="connsiteX9" fmla="*/ 431956 w 3203206"/>
              <a:gd name="connsiteY9" fmla="*/ 2232708 h 3242474"/>
              <a:gd name="connsiteX10" fmla="*/ 1559529 w 3203206"/>
              <a:gd name="connsiteY10" fmla="*/ 1991485 h 3242474"/>
              <a:gd name="connsiteX11" fmla="*/ 1234160 w 3203206"/>
              <a:gd name="connsiteY11" fmla="*/ 959279 h 3242474"/>
              <a:gd name="connsiteX12" fmla="*/ 1049035 w 3203206"/>
              <a:gd name="connsiteY12" fmla="*/ 16828 h 3242474"/>
              <a:gd name="connsiteX0" fmla="*/ 1049035 w 3203206"/>
              <a:gd name="connsiteY0" fmla="*/ 16828 h 3242474"/>
              <a:gd name="connsiteX1" fmla="*/ 1447333 w 3203206"/>
              <a:gd name="connsiteY1" fmla="*/ 0 h 3242474"/>
              <a:gd name="connsiteX2" fmla="*/ 1666116 w 3203206"/>
              <a:gd name="connsiteY2" fmla="*/ 734886 h 3242474"/>
              <a:gd name="connsiteX3" fmla="*/ 2401001 w 3203206"/>
              <a:gd name="connsiteY3" fmla="*/ 560982 h 3242474"/>
              <a:gd name="connsiteX4" fmla="*/ 3203206 w 3203206"/>
              <a:gd name="connsiteY4" fmla="*/ 1823190 h 3242474"/>
              <a:gd name="connsiteX5" fmla="*/ 2300025 w 3203206"/>
              <a:gd name="connsiteY5" fmla="*/ 3046130 h 3242474"/>
              <a:gd name="connsiteX6" fmla="*/ 605860 w 3203206"/>
              <a:gd name="connsiteY6" fmla="*/ 2664663 h 3242474"/>
              <a:gd name="connsiteX7" fmla="*/ 381468 w 3203206"/>
              <a:gd name="connsiteY7" fmla="*/ 3242474 h 3242474"/>
              <a:gd name="connsiteX8" fmla="*/ 0 w 3203206"/>
              <a:gd name="connsiteY8" fmla="*/ 3236864 h 3242474"/>
              <a:gd name="connsiteX9" fmla="*/ 431956 w 3203206"/>
              <a:gd name="connsiteY9" fmla="*/ 2232708 h 3242474"/>
              <a:gd name="connsiteX10" fmla="*/ 1559529 w 3203206"/>
              <a:gd name="connsiteY10" fmla="*/ 1991485 h 3242474"/>
              <a:gd name="connsiteX11" fmla="*/ 1234160 w 3203206"/>
              <a:gd name="connsiteY11" fmla="*/ 959279 h 3242474"/>
              <a:gd name="connsiteX12" fmla="*/ 1049035 w 3203206"/>
              <a:gd name="connsiteY12" fmla="*/ 16828 h 3242474"/>
              <a:gd name="connsiteX0" fmla="*/ 1049035 w 3175157"/>
              <a:gd name="connsiteY0" fmla="*/ 16828 h 3242474"/>
              <a:gd name="connsiteX1" fmla="*/ 1447333 w 3175157"/>
              <a:gd name="connsiteY1" fmla="*/ 0 h 3242474"/>
              <a:gd name="connsiteX2" fmla="*/ 1666116 w 3175157"/>
              <a:gd name="connsiteY2" fmla="*/ 734886 h 3242474"/>
              <a:gd name="connsiteX3" fmla="*/ 2401001 w 3175157"/>
              <a:gd name="connsiteY3" fmla="*/ 560982 h 3242474"/>
              <a:gd name="connsiteX4" fmla="*/ 3175157 w 3175157"/>
              <a:gd name="connsiteY4" fmla="*/ 1834409 h 3242474"/>
              <a:gd name="connsiteX5" fmla="*/ 2300025 w 3175157"/>
              <a:gd name="connsiteY5" fmla="*/ 3046130 h 3242474"/>
              <a:gd name="connsiteX6" fmla="*/ 605860 w 3175157"/>
              <a:gd name="connsiteY6" fmla="*/ 2664663 h 3242474"/>
              <a:gd name="connsiteX7" fmla="*/ 381468 w 3175157"/>
              <a:gd name="connsiteY7" fmla="*/ 3242474 h 3242474"/>
              <a:gd name="connsiteX8" fmla="*/ 0 w 3175157"/>
              <a:gd name="connsiteY8" fmla="*/ 3236864 h 3242474"/>
              <a:gd name="connsiteX9" fmla="*/ 431956 w 3175157"/>
              <a:gd name="connsiteY9" fmla="*/ 2232708 h 3242474"/>
              <a:gd name="connsiteX10" fmla="*/ 1559529 w 3175157"/>
              <a:gd name="connsiteY10" fmla="*/ 1991485 h 3242474"/>
              <a:gd name="connsiteX11" fmla="*/ 1234160 w 3175157"/>
              <a:gd name="connsiteY11" fmla="*/ 959279 h 3242474"/>
              <a:gd name="connsiteX12" fmla="*/ 1049035 w 3175157"/>
              <a:gd name="connsiteY12" fmla="*/ 16828 h 3242474"/>
              <a:gd name="connsiteX0" fmla="*/ 1049035 w 3175157"/>
              <a:gd name="connsiteY0" fmla="*/ 16828 h 3242474"/>
              <a:gd name="connsiteX1" fmla="*/ 1447333 w 3175157"/>
              <a:gd name="connsiteY1" fmla="*/ 0 h 3242474"/>
              <a:gd name="connsiteX2" fmla="*/ 1666116 w 3175157"/>
              <a:gd name="connsiteY2" fmla="*/ 734886 h 3242474"/>
              <a:gd name="connsiteX3" fmla="*/ 2401001 w 3175157"/>
              <a:gd name="connsiteY3" fmla="*/ 560982 h 3242474"/>
              <a:gd name="connsiteX4" fmla="*/ 3175157 w 3175157"/>
              <a:gd name="connsiteY4" fmla="*/ 1834409 h 3242474"/>
              <a:gd name="connsiteX5" fmla="*/ 2300025 w 3175157"/>
              <a:gd name="connsiteY5" fmla="*/ 3046130 h 3242474"/>
              <a:gd name="connsiteX6" fmla="*/ 605860 w 3175157"/>
              <a:gd name="connsiteY6" fmla="*/ 2664663 h 3242474"/>
              <a:gd name="connsiteX7" fmla="*/ 381468 w 3175157"/>
              <a:gd name="connsiteY7" fmla="*/ 3242474 h 3242474"/>
              <a:gd name="connsiteX8" fmla="*/ 0 w 3175157"/>
              <a:gd name="connsiteY8" fmla="*/ 3236864 h 3242474"/>
              <a:gd name="connsiteX9" fmla="*/ 431956 w 3175157"/>
              <a:gd name="connsiteY9" fmla="*/ 2232708 h 3242474"/>
              <a:gd name="connsiteX10" fmla="*/ 1559529 w 3175157"/>
              <a:gd name="connsiteY10" fmla="*/ 1991485 h 3242474"/>
              <a:gd name="connsiteX11" fmla="*/ 1234160 w 3175157"/>
              <a:gd name="connsiteY11" fmla="*/ 959279 h 3242474"/>
              <a:gd name="connsiteX12" fmla="*/ 1049035 w 3175157"/>
              <a:gd name="connsiteY12" fmla="*/ 16828 h 3242474"/>
              <a:gd name="connsiteX0" fmla="*/ 1049035 w 3175157"/>
              <a:gd name="connsiteY0" fmla="*/ 16828 h 3242474"/>
              <a:gd name="connsiteX1" fmla="*/ 1447333 w 3175157"/>
              <a:gd name="connsiteY1" fmla="*/ 0 h 3242474"/>
              <a:gd name="connsiteX2" fmla="*/ 1666116 w 3175157"/>
              <a:gd name="connsiteY2" fmla="*/ 734886 h 3242474"/>
              <a:gd name="connsiteX3" fmla="*/ 2401001 w 3175157"/>
              <a:gd name="connsiteY3" fmla="*/ 560982 h 3242474"/>
              <a:gd name="connsiteX4" fmla="*/ 3175157 w 3175157"/>
              <a:gd name="connsiteY4" fmla="*/ 1834409 h 3242474"/>
              <a:gd name="connsiteX5" fmla="*/ 2300025 w 3175157"/>
              <a:gd name="connsiteY5" fmla="*/ 3046130 h 3242474"/>
              <a:gd name="connsiteX6" fmla="*/ 605860 w 3175157"/>
              <a:gd name="connsiteY6" fmla="*/ 2664663 h 3242474"/>
              <a:gd name="connsiteX7" fmla="*/ 381468 w 3175157"/>
              <a:gd name="connsiteY7" fmla="*/ 3242474 h 3242474"/>
              <a:gd name="connsiteX8" fmla="*/ 0 w 3175157"/>
              <a:gd name="connsiteY8" fmla="*/ 3236864 h 3242474"/>
              <a:gd name="connsiteX9" fmla="*/ 431956 w 3175157"/>
              <a:gd name="connsiteY9" fmla="*/ 2232708 h 3242474"/>
              <a:gd name="connsiteX10" fmla="*/ 1559529 w 3175157"/>
              <a:gd name="connsiteY10" fmla="*/ 1991485 h 3242474"/>
              <a:gd name="connsiteX11" fmla="*/ 1234160 w 3175157"/>
              <a:gd name="connsiteY11" fmla="*/ 959279 h 3242474"/>
              <a:gd name="connsiteX12" fmla="*/ 1049035 w 3175157"/>
              <a:gd name="connsiteY12" fmla="*/ 16828 h 3242474"/>
              <a:gd name="connsiteX0" fmla="*/ 1049035 w 3175157"/>
              <a:gd name="connsiteY0" fmla="*/ 16828 h 3242474"/>
              <a:gd name="connsiteX1" fmla="*/ 1447333 w 3175157"/>
              <a:gd name="connsiteY1" fmla="*/ 0 h 3242474"/>
              <a:gd name="connsiteX2" fmla="*/ 1666116 w 3175157"/>
              <a:gd name="connsiteY2" fmla="*/ 734886 h 3242474"/>
              <a:gd name="connsiteX3" fmla="*/ 2401001 w 3175157"/>
              <a:gd name="connsiteY3" fmla="*/ 560982 h 3242474"/>
              <a:gd name="connsiteX4" fmla="*/ 3175157 w 3175157"/>
              <a:gd name="connsiteY4" fmla="*/ 1834409 h 3242474"/>
              <a:gd name="connsiteX5" fmla="*/ 2300025 w 3175157"/>
              <a:gd name="connsiteY5" fmla="*/ 3046130 h 3242474"/>
              <a:gd name="connsiteX6" fmla="*/ 605860 w 3175157"/>
              <a:gd name="connsiteY6" fmla="*/ 2664663 h 3242474"/>
              <a:gd name="connsiteX7" fmla="*/ 381468 w 3175157"/>
              <a:gd name="connsiteY7" fmla="*/ 3242474 h 3242474"/>
              <a:gd name="connsiteX8" fmla="*/ 0 w 3175157"/>
              <a:gd name="connsiteY8" fmla="*/ 3236864 h 3242474"/>
              <a:gd name="connsiteX9" fmla="*/ 431956 w 3175157"/>
              <a:gd name="connsiteY9" fmla="*/ 2232708 h 3242474"/>
              <a:gd name="connsiteX10" fmla="*/ 1559529 w 3175157"/>
              <a:gd name="connsiteY10" fmla="*/ 1991485 h 3242474"/>
              <a:gd name="connsiteX11" fmla="*/ 1234160 w 3175157"/>
              <a:gd name="connsiteY11" fmla="*/ 959279 h 3242474"/>
              <a:gd name="connsiteX12" fmla="*/ 1049035 w 3175157"/>
              <a:gd name="connsiteY12" fmla="*/ 16828 h 3242474"/>
              <a:gd name="connsiteX0" fmla="*/ 1049035 w 3175157"/>
              <a:gd name="connsiteY0" fmla="*/ 16828 h 3242474"/>
              <a:gd name="connsiteX1" fmla="*/ 1447333 w 3175157"/>
              <a:gd name="connsiteY1" fmla="*/ 0 h 3242474"/>
              <a:gd name="connsiteX2" fmla="*/ 1666116 w 3175157"/>
              <a:gd name="connsiteY2" fmla="*/ 734886 h 3242474"/>
              <a:gd name="connsiteX3" fmla="*/ 2401001 w 3175157"/>
              <a:gd name="connsiteY3" fmla="*/ 560982 h 3242474"/>
              <a:gd name="connsiteX4" fmla="*/ 3175157 w 3175157"/>
              <a:gd name="connsiteY4" fmla="*/ 1834409 h 3242474"/>
              <a:gd name="connsiteX5" fmla="*/ 2300025 w 3175157"/>
              <a:gd name="connsiteY5" fmla="*/ 3046130 h 3242474"/>
              <a:gd name="connsiteX6" fmla="*/ 605860 w 3175157"/>
              <a:gd name="connsiteY6" fmla="*/ 2664663 h 3242474"/>
              <a:gd name="connsiteX7" fmla="*/ 381468 w 3175157"/>
              <a:gd name="connsiteY7" fmla="*/ 3242474 h 3242474"/>
              <a:gd name="connsiteX8" fmla="*/ 0 w 3175157"/>
              <a:gd name="connsiteY8" fmla="*/ 3236864 h 3242474"/>
              <a:gd name="connsiteX9" fmla="*/ 431956 w 3175157"/>
              <a:gd name="connsiteY9" fmla="*/ 2232708 h 3242474"/>
              <a:gd name="connsiteX10" fmla="*/ 1559529 w 3175157"/>
              <a:gd name="connsiteY10" fmla="*/ 1991485 h 3242474"/>
              <a:gd name="connsiteX11" fmla="*/ 1234160 w 3175157"/>
              <a:gd name="connsiteY11" fmla="*/ 959279 h 3242474"/>
              <a:gd name="connsiteX12" fmla="*/ 1049035 w 3175157"/>
              <a:gd name="connsiteY12" fmla="*/ 16828 h 3242474"/>
              <a:gd name="connsiteX0" fmla="*/ 1049035 w 3175157"/>
              <a:gd name="connsiteY0" fmla="*/ 16828 h 3242474"/>
              <a:gd name="connsiteX1" fmla="*/ 1447333 w 3175157"/>
              <a:gd name="connsiteY1" fmla="*/ 0 h 3242474"/>
              <a:gd name="connsiteX2" fmla="*/ 1666116 w 3175157"/>
              <a:gd name="connsiteY2" fmla="*/ 734886 h 3242474"/>
              <a:gd name="connsiteX3" fmla="*/ 2401001 w 3175157"/>
              <a:gd name="connsiteY3" fmla="*/ 560982 h 3242474"/>
              <a:gd name="connsiteX4" fmla="*/ 3175157 w 3175157"/>
              <a:gd name="connsiteY4" fmla="*/ 1834409 h 3242474"/>
              <a:gd name="connsiteX5" fmla="*/ 2300025 w 3175157"/>
              <a:gd name="connsiteY5" fmla="*/ 3046130 h 3242474"/>
              <a:gd name="connsiteX6" fmla="*/ 605860 w 3175157"/>
              <a:gd name="connsiteY6" fmla="*/ 2664663 h 3242474"/>
              <a:gd name="connsiteX7" fmla="*/ 381468 w 3175157"/>
              <a:gd name="connsiteY7" fmla="*/ 3242474 h 3242474"/>
              <a:gd name="connsiteX8" fmla="*/ 0 w 3175157"/>
              <a:gd name="connsiteY8" fmla="*/ 3236864 h 3242474"/>
              <a:gd name="connsiteX9" fmla="*/ 431956 w 3175157"/>
              <a:gd name="connsiteY9" fmla="*/ 2232708 h 3242474"/>
              <a:gd name="connsiteX10" fmla="*/ 1559529 w 3175157"/>
              <a:gd name="connsiteY10" fmla="*/ 1991485 h 3242474"/>
              <a:gd name="connsiteX11" fmla="*/ 1234160 w 3175157"/>
              <a:gd name="connsiteY11" fmla="*/ 959279 h 3242474"/>
              <a:gd name="connsiteX12" fmla="*/ 1049035 w 3175157"/>
              <a:gd name="connsiteY12" fmla="*/ 16828 h 3242474"/>
              <a:gd name="connsiteX0" fmla="*/ 1049035 w 3175157"/>
              <a:gd name="connsiteY0" fmla="*/ 16828 h 3242474"/>
              <a:gd name="connsiteX1" fmla="*/ 1447333 w 3175157"/>
              <a:gd name="connsiteY1" fmla="*/ 0 h 3242474"/>
              <a:gd name="connsiteX2" fmla="*/ 1666116 w 3175157"/>
              <a:gd name="connsiteY2" fmla="*/ 734886 h 3242474"/>
              <a:gd name="connsiteX3" fmla="*/ 2401001 w 3175157"/>
              <a:gd name="connsiteY3" fmla="*/ 560982 h 3242474"/>
              <a:gd name="connsiteX4" fmla="*/ 3175157 w 3175157"/>
              <a:gd name="connsiteY4" fmla="*/ 1834409 h 3242474"/>
              <a:gd name="connsiteX5" fmla="*/ 2300025 w 3175157"/>
              <a:gd name="connsiteY5" fmla="*/ 3046130 h 3242474"/>
              <a:gd name="connsiteX6" fmla="*/ 605860 w 3175157"/>
              <a:gd name="connsiteY6" fmla="*/ 2664663 h 3242474"/>
              <a:gd name="connsiteX7" fmla="*/ 381468 w 3175157"/>
              <a:gd name="connsiteY7" fmla="*/ 3242474 h 3242474"/>
              <a:gd name="connsiteX8" fmla="*/ 0 w 3175157"/>
              <a:gd name="connsiteY8" fmla="*/ 3236864 h 3242474"/>
              <a:gd name="connsiteX9" fmla="*/ 431956 w 3175157"/>
              <a:gd name="connsiteY9" fmla="*/ 2232708 h 3242474"/>
              <a:gd name="connsiteX10" fmla="*/ 1559529 w 3175157"/>
              <a:gd name="connsiteY10" fmla="*/ 1991485 h 3242474"/>
              <a:gd name="connsiteX11" fmla="*/ 1234160 w 3175157"/>
              <a:gd name="connsiteY11" fmla="*/ 959279 h 3242474"/>
              <a:gd name="connsiteX12" fmla="*/ 1049035 w 3175157"/>
              <a:gd name="connsiteY12" fmla="*/ 16828 h 3242474"/>
              <a:gd name="connsiteX0" fmla="*/ 1049035 w 3175157"/>
              <a:gd name="connsiteY0" fmla="*/ 16828 h 3242474"/>
              <a:gd name="connsiteX1" fmla="*/ 1447333 w 3175157"/>
              <a:gd name="connsiteY1" fmla="*/ 0 h 3242474"/>
              <a:gd name="connsiteX2" fmla="*/ 1666116 w 3175157"/>
              <a:gd name="connsiteY2" fmla="*/ 734886 h 3242474"/>
              <a:gd name="connsiteX3" fmla="*/ 2401001 w 3175157"/>
              <a:gd name="connsiteY3" fmla="*/ 560982 h 3242474"/>
              <a:gd name="connsiteX4" fmla="*/ 3175157 w 3175157"/>
              <a:gd name="connsiteY4" fmla="*/ 1834409 h 3242474"/>
              <a:gd name="connsiteX5" fmla="*/ 2300025 w 3175157"/>
              <a:gd name="connsiteY5" fmla="*/ 3046130 h 3242474"/>
              <a:gd name="connsiteX6" fmla="*/ 605860 w 3175157"/>
              <a:gd name="connsiteY6" fmla="*/ 2664663 h 3242474"/>
              <a:gd name="connsiteX7" fmla="*/ 381468 w 3175157"/>
              <a:gd name="connsiteY7" fmla="*/ 3242474 h 3242474"/>
              <a:gd name="connsiteX8" fmla="*/ 0 w 3175157"/>
              <a:gd name="connsiteY8" fmla="*/ 3236864 h 3242474"/>
              <a:gd name="connsiteX9" fmla="*/ 431956 w 3175157"/>
              <a:gd name="connsiteY9" fmla="*/ 2232708 h 3242474"/>
              <a:gd name="connsiteX10" fmla="*/ 1559529 w 3175157"/>
              <a:gd name="connsiteY10" fmla="*/ 1991485 h 3242474"/>
              <a:gd name="connsiteX11" fmla="*/ 1234160 w 3175157"/>
              <a:gd name="connsiteY11" fmla="*/ 959279 h 3242474"/>
              <a:gd name="connsiteX12" fmla="*/ 1049035 w 3175157"/>
              <a:gd name="connsiteY12" fmla="*/ 16828 h 3242474"/>
              <a:gd name="connsiteX0" fmla="*/ 1049035 w 3175157"/>
              <a:gd name="connsiteY0" fmla="*/ 16828 h 3242474"/>
              <a:gd name="connsiteX1" fmla="*/ 1447333 w 3175157"/>
              <a:gd name="connsiteY1" fmla="*/ 0 h 3242474"/>
              <a:gd name="connsiteX2" fmla="*/ 1666116 w 3175157"/>
              <a:gd name="connsiteY2" fmla="*/ 734886 h 3242474"/>
              <a:gd name="connsiteX3" fmla="*/ 2401001 w 3175157"/>
              <a:gd name="connsiteY3" fmla="*/ 560982 h 3242474"/>
              <a:gd name="connsiteX4" fmla="*/ 3175157 w 3175157"/>
              <a:gd name="connsiteY4" fmla="*/ 1834409 h 3242474"/>
              <a:gd name="connsiteX5" fmla="*/ 2300025 w 3175157"/>
              <a:gd name="connsiteY5" fmla="*/ 3046130 h 3242474"/>
              <a:gd name="connsiteX6" fmla="*/ 605860 w 3175157"/>
              <a:gd name="connsiteY6" fmla="*/ 2664663 h 3242474"/>
              <a:gd name="connsiteX7" fmla="*/ 381468 w 3175157"/>
              <a:gd name="connsiteY7" fmla="*/ 3242474 h 3242474"/>
              <a:gd name="connsiteX8" fmla="*/ 0 w 3175157"/>
              <a:gd name="connsiteY8" fmla="*/ 3236864 h 3242474"/>
              <a:gd name="connsiteX9" fmla="*/ 431956 w 3175157"/>
              <a:gd name="connsiteY9" fmla="*/ 2232708 h 3242474"/>
              <a:gd name="connsiteX10" fmla="*/ 1559529 w 3175157"/>
              <a:gd name="connsiteY10" fmla="*/ 1991485 h 3242474"/>
              <a:gd name="connsiteX11" fmla="*/ 1234160 w 3175157"/>
              <a:gd name="connsiteY11" fmla="*/ 959279 h 3242474"/>
              <a:gd name="connsiteX12" fmla="*/ 1049035 w 3175157"/>
              <a:gd name="connsiteY12" fmla="*/ 16828 h 3242474"/>
              <a:gd name="connsiteX0" fmla="*/ 1049035 w 3175157"/>
              <a:gd name="connsiteY0" fmla="*/ 16828 h 3242474"/>
              <a:gd name="connsiteX1" fmla="*/ 1447333 w 3175157"/>
              <a:gd name="connsiteY1" fmla="*/ 0 h 3242474"/>
              <a:gd name="connsiteX2" fmla="*/ 1666116 w 3175157"/>
              <a:gd name="connsiteY2" fmla="*/ 734886 h 3242474"/>
              <a:gd name="connsiteX3" fmla="*/ 2401001 w 3175157"/>
              <a:gd name="connsiteY3" fmla="*/ 560982 h 3242474"/>
              <a:gd name="connsiteX4" fmla="*/ 3175157 w 3175157"/>
              <a:gd name="connsiteY4" fmla="*/ 1834409 h 3242474"/>
              <a:gd name="connsiteX5" fmla="*/ 2300025 w 3175157"/>
              <a:gd name="connsiteY5" fmla="*/ 3046130 h 3242474"/>
              <a:gd name="connsiteX6" fmla="*/ 605860 w 3175157"/>
              <a:gd name="connsiteY6" fmla="*/ 2664663 h 3242474"/>
              <a:gd name="connsiteX7" fmla="*/ 381468 w 3175157"/>
              <a:gd name="connsiteY7" fmla="*/ 3242474 h 3242474"/>
              <a:gd name="connsiteX8" fmla="*/ 0 w 3175157"/>
              <a:gd name="connsiteY8" fmla="*/ 3236864 h 3242474"/>
              <a:gd name="connsiteX9" fmla="*/ 431956 w 3175157"/>
              <a:gd name="connsiteY9" fmla="*/ 2232708 h 3242474"/>
              <a:gd name="connsiteX10" fmla="*/ 1559529 w 3175157"/>
              <a:gd name="connsiteY10" fmla="*/ 1991485 h 3242474"/>
              <a:gd name="connsiteX11" fmla="*/ 1234160 w 3175157"/>
              <a:gd name="connsiteY11" fmla="*/ 959279 h 3242474"/>
              <a:gd name="connsiteX12" fmla="*/ 1049035 w 3175157"/>
              <a:gd name="connsiteY12" fmla="*/ 16828 h 3242474"/>
              <a:gd name="connsiteX0" fmla="*/ 1049035 w 3175157"/>
              <a:gd name="connsiteY0" fmla="*/ 16828 h 3242474"/>
              <a:gd name="connsiteX1" fmla="*/ 1447333 w 3175157"/>
              <a:gd name="connsiteY1" fmla="*/ 0 h 3242474"/>
              <a:gd name="connsiteX2" fmla="*/ 1666116 w 3175157"/>
              <a:gd name="connsiteY2" fmla="*/ 734886 h 3242474"/>
              <a:gd name="connsiteX3" fmla="*/ 2401001 w 3175157"/>
              <a:gd name="connsiteY3" fmla="*/ 560982 h 3242474"/>
              <a:gd name="connsiteX4" fmla="*/ 3175157 w 3175157"/>
              <a:gd name="connsiteY4" fmla="*/ 1834409 h 3242474"/>
              <a:gd name="connsiteX5" fmla="*/ 2300025 w 3175157"/>
              <a:gd name="connsiteY5" fmla="*/ 3046130 h 3242474"/>
              <a:gd name="connsiteX6" fmla="*/ 605860 w 3175157"/>
              <a:gd name="connsiteY6" fmla="*/ 2664663 h 3242474"/>
              <a:gd name="connsiteX7" fmla="*/ 381468 w 3175157"/>
              <a:gd name="connsiteY7" fmla="*/ 3242474 h 3242474"/>
              <a:gd name="connsiteX8" fmla="*/ 0 w 3175157"/>
              <a:gd name="connsiteY8" fmla="*/ 3236864 h 3242474"/>
              <a:gd name="connsiteX9" fmla="*/ 431956 w 3175157"/>
              <a:gd name="connsiteY9" fmla="*/ 2232708 h 3242474"/>
              <a:gd name="connsiteX10" fmla="*/ 1559529 w 3175157"/>
              <a:gd name="connsiteY10" fmla="*/ 1991485 h 3242474"/>
              <a:gd name="connsiteX11" fmla="*/ 1234160 w 3175157"/>
              <a:gd name="connsiteY11" fmla="*/ 959279 h 3242474"/>
              <a:gd name="connsiteX12" fmla="*/ 1049035 w 3175157"/>
              <a:gd name="connsiteY12" fmla="*/ 16828 h 3242474"/>
              <a:gd name="connsiteX0" fmla="*/ 1049035 w 3175157"/>
              <a:gd name="connsiteY0" fmla="*/ 16828 h 3242474"/>
              <a:gd name="connsiteX1" fmla="*/ 1447333 w 3175157"/>
              <a:gd name="connsiteY1" fmla="*/ 0 h 3242474"/>
              <a:gd name="connsiteX2" fmla="*/ 1666116 w 3175157"/>
              <a:gd name="connsiteY2" fmla="*/ 734886 h 3242474"/>
              <a:gd name="connsiteX3" fmla="*/ 2401001 w 3175157"/>
              <a:gd name="connsiteY3" fmla="*/ 560982 h 3242474"/>
              <a:gd name="connsiteX4" fmla="*/ 3175157 w 3175157"/>
              <a:gd name="connsiteY4" fmla="*/ 1834409 h 3242474"/>
              <a:gd name="connsiteX5" fmla="*/ 2300025 w 3175157"/>
              <a:gd name="connsiteY5" fmla="*/ 3046130 h 3242474"/>
              <a:gd name="connsiteX6" fmla="*/ 605860 w 3175157"/>
              <a:gd name="connsiteY6" fmla="*/ 2664663 h 3242474"/>
              <a:gd name="connsiteX7" fmla="*/ 381468 w 3175157"/>
              <a:gd name="connsiteY7" fmla="*/ 3242474 h 3242474"/>
              <a:gd name="connsiteX8" fmla="*/ 0 w 3175157"/>
              <a:gd name="connsiteY8" fmla="*/ 3236864 h 3242474"/>
              <a:gd name="connsiteX9" fmla="*/ 516103 w 3175157"/>
              <a:gd name="connsiteY9" fmla="*/ 2249538 h 3242474"/>
              <a:gd name="connsiteX10" fmla="*/ 1559529 w 3175157"/>
              <a:gd name="connsiteY10" fmla="*/ 1991485 h 3242474"/>
              <a:gd name="connsiteX11" fmla="*/ 1234160 w 3175157"/>
              <a:gd name="connsiteY11" fmla="*/ 959279 h 3242474"/>
              <a:gd name="connsiteX12" fmla="*/ 1049035 w 3175157"/>
              <a:gd name="connsiteY12" fmla="*/ 16828 h 3242474"/>
              <a:gd name="connsiteX0" fmla="*/ 1049035 w 3175157"/>
              <a:gd name="connsiteY0" fmla="*/ 16828 h 3242474"/>
              <a:gd name="connsiteX1" fmla="*/ 1447333 w 3175157"/>
              <a:gd name="connsiteY1" fmla="*/ 0 h 3242474"/>
              <a:gd name="connsiteX2" fmla="*/ 1666116 w 3175157"/>
              <a:gd name="connsiteY2" fmla="*/ 734886 h 3242474"/>
              <a:gd name="connsiteX3" fmla="*/ 2401001 w 3175157"/>
              <a:gd name="connsiteY3" fmla="*/ 560982 h 3242474"/>
              <a:gd name="connsiteX4" fmla="*/ 3175157 w 3175157"/>
              <a:gd name="connsiteY4" fmla="*/ 1834409 h 3242474"/>
              <a:gd name="connsiteX5" fmla="*/ 2300025 w 3175157"/>
              <a:gd name="connsiteY5" fmla="*/ 3046130 h 3242474"/>
              <a:gd name="connsiteX6" fmla="*/ 605860 w 3175157"/>
              <a:gd name="connsiteY6" fmla="*/ 2664663 h 3242474"/>
              <a:gd name="connsiteX7" fmla="*/ 381468 w 3175157"/>
              <a:gd name="connsiteY7" fmla="*/ 3242474 h 3242474"/>
              <a:gd name="connsiteX8" fmla="*/ 0 w 3175157"/>
              <a:gd name="connsiteY8" fmla="*/ 3236864 h 3242474"/>
              <a:gd name="connsiteX9" fmla="*/ 516103 w 3175157"/>
              <a:gd name="connsiteY9" fmla="*/ 2249538 h 3242474"/>
              <a:gd name="connsiteX10" fmla="*/ 1559529 w 3175157"/>
              <a:gd name="connsiteY10" fmla="*/ 1991485 h 3242474"/>
              <a:gd name="connsiteX11" fmla="*/ 1234160 w 3175157"/>
              <a:gd name="connsiteY11" fmla="*/ 959279 h 3242474"/>
              <a:gd name="connsiteX12" fmla="*/ 1049035 w 3175157"/>
              <a:gd name="connsiteY12" fmla="*/ 16828 h 3242474"/>
              <a:gd name="connsiteX0" fmla="*/ 1049035 w 3175157"/>
              <a:gd name="connsiteY0" fmla="*/ 16828 h 3242474"/>
              <a:gd name="connsiteX1" fmla="*/ 1447333 w 3175157"/>
              <a:gd name="connsiteY1" fmla="*/ 0 h 3242474"/>
              <a:gd name="connsiteX2" fmla="*/ 1666116 w 3175157"/>
              <a:gd name="connsiteY2" fmla="*/ 734886 h 3242474"/>
              <a:gd name="connsiteX3" fmla="*/ 2401001 w 3175157"/>
              <a:gd name="connsiteY3" fmla="*/ 560982 h 3242474"/>
              <a:gd name="connsiteX4" fmla="*/ 3175157 w 3175157"/>
              <a:gd name="connsiteY4" fmla="*/ 1834409 h 3242474"/>
              <a:gd name="connsiteX5" fmla="*/ 2300025 w 3175157"/>
              <a:gd name="connsiteY5" fmla="*/ 3046130 h 3242474"/>
              <a:gd name="connsiteX6" fmla="*/ 605860 w 3175157"/>
              <a:gd name="connsiteY6" fmla="*/ 2664663 h 3242474"/>
              <a:gd name="connsiteX7" fmla="*/ 381468 w 3175157"/>
              <a:gd name="connsiteY7" fmla="*/ 3242474 h 3242474"/>
              <a:gd name="connsiteX8" fmla="*/ 0 w 3175157"/>
              <a:gd name="connsiteY8" fmla="*/ 3236864 h 3242474"/>
              <a:gd name="connsiteX9" fmla="*/ 516103 w 3175157"/>
              <a:gd name="connsiteY9" fmla="*/ 2249538 h 3242474"/>
              <a:gd name="connsiteX10" fmla="*/ 1559529 w 3175157"/>
              <a:gd name="connsiteY10" fmla="*/ 1991485 h 3242474"/>
              <a:gd name="connsiteX11" fmla="*/ 1234160 w 3175157"/>
              <a:gd name="connsiteY11" fmla="*/ 959279 h 3242474"/>
              <a:gd name="connsiteX12" fmla="*/ 1049035 w 3175157"/>
              <a:gd name="connsiteY12" fmla="*/ 16828 h 3242474"/>
              <a:gd name="connsiteX0" fmla="*/ 1049035 w 3175157"/>
              <a:gd name="connsiteY0" fmla="*/ 16828 h 3242474"/>
              <a:gd name="connsiteX1" fmla="*/ 1447333 w 3175157"/>
              <a:gd name="connsiteY1" fmla="*/ 0 h 3242474"/>
              <a:gd name="connsiteX2" fmla="*/ 1666116 w 3175157"/>
              <a:gd name="connsiteY2" fmla="*/ 734886 h 3242474"/>
              <a:gd name="connsiteX3" fmla="*/ 2401001 w 3175157"/>
              <a:gd name="connsiteY3" fmla="*/ 560982 h 3242474"/>
              <a:gd name="connsiteX4" fmla="*/ 3175157 w 3175157"/>
              <a:gd name="connsiteY4" fmla="*/ 1834409 h 3242474"/>
              <a:gd name="connsiteX5" fmla="*/ 2300025 w 3175157"/>
              <a:gd name="connsiteY5" fmla="*/ 3046130 h 3242474"/>
              <a:gd name="connsiteX6" fmla="*/ 605860 w 3175157"/>
              <a:gd name="connsiteY6" fmla="*/ 2664663 h 3242474"/>
              <a:gd name="connsiteX7" fmla="*/ 381468 w 3175157"/>
              <a:gd name="connsiteY7" fmla="*/ 3242474 h 3242474"/>
              <a:gd name="connsiteX8" fmla="*/ 0 w 3175157"/>
              <a:gd name="connsiteY8" fmla="*/ 3236864 h 3242474"/>
              <a:gd name="connsiteX9" fmla="*/ 516103 w 3175157"/>
              <a:gd name="connsiteY9" fmla="*/ 2249538 h 3242474"/>
              <a:gd name="connsiteX10" fmla="*/ 1559529 w 3175157"/>
              <a:gd name="connsiteY10" fmla="*/ 1991485 h 3242474"/>
              <a:gd name="connsiteX11" fmla="*/ 1234160 w 3175157"/>
              <a:gd name="connsiteY11" fmla="*/ 959279 h 3242474"/>
              <a:gd name="connsiteX12" fmla="*/ 1049035 w 3175157"/>
              <a:gd name="connsiteY12" fmla="*/ 16828 h 3242474"/>
              <a:gd name="connsiteX0" fmla="*/ 1049035 w 3203206"/>
              <a:gd name="connsiteY0" fmla="*/ 16828 h 3242474"/>
              <a:gd name="connsiteX1" fmla="*/ 1447333 w 3203206"/>
              <a:gd name="connsiteY1" fmla="*/ 0 h 3242474"/>
              <a:gd name="connsiteX2" fmla="*/ 1666116 w 3203206"/>
              <a:gd name="connsiteY2" fmla="*/ 734886 h 3242474"/>
              <a:gd name="connsiteX3" fmla="*/ 2401001 w 3203206"/>
              <a:gd name="connsiteY3" fmla="*/ 560982 h 3242474"/>
              <a:gd name="connsiteX4" fmla="*/ 3203206 w 3203206"/>
              <a:gd name="connsiteY4" fmla="*/ 1834409 h 3242474"/>
              <a:gd name="connsiteX5" fmla="*/ 2300025 w 3203206"/>
              <a:gd name="connsiteY5" fmla="*/ 3046130 h 3242474"/>
              <a:gd name="connsiteX6" fmla="*/ 605860 w 3203206"/>
              <a:gd name="connsiteY6" fmla="*/ 2664663 h 3242474"/>
              <a:gd name="connsiteX7" fmla="*/ 381468 w 3203206"/>
              <a:gd name="connsiteY7" fmla="*/ 3242474 h 3242474"/>
              <a:gd name="connsiteX8" fmla="*/ 0 w 3203206"/>
              <a:gd name="connsiteY8" fmla="*/ 3236864 h 3242474"/>
              <a:gd name="connsiteX9" fmla="*/ 516103 w 3203206"/>
              <a:gd name="connsiteY9" fmla="*/ 2249538 h 3242474"/>
              <a:gd name="connsiteX10" fmla="*/ 1559529 w 3203206"/>
              <a:gd name="connsiteY10" fmla="*/ 1991485 h 3242474"/>
              <a:gd name="connsiteX11" fmla="*/ 1234160 w 3203206"/>
              <a:gd name="connsiteY11" fmla="*/ 959279 h 3242474"/>
              <a:gd name="connsiteX12" fmla="*/ 1049035 w 3203206"/>
              <a:gd name="connsiteY12" fmla="*/ 16828 h 3242474"/>
              <a:gd name="connsiteX0" fmla="*/ 1049035 w 3203570"/>
              <a:gd name="connsiteY0" fmla="*/ 16828 h 3242474"/>
              <a:gd name="connsiteX1" fmla="*/ 1447333 w 3203570"/>
              <a:gd name="connsiteY1" fmla="*/ 0 h 3242474"/>
              <a:gd name="connsiteX2" fmla="*/ 1666116 w 3203570"/>
              <a:gd name="connsiteY2" fmla="*/ 734886 h 3242474"/>
              <a:gd name="connsiteX3" fmla="*/ 2401001 w 3203570"/>
              <a:gd name="connsiteY3" fmla="*/ 560982 h 3242474"/>
              <a:gd name="connsiteX4" fmla="*/ 3203206 w 3203570"/>
              <a:gd name="connsiteY4" fmla="*/ 1834409 h 3242474"/>
              <a:gd name="connsiteX5" fmla="*/ 2300025 w 3203570"/>
              <a:gd name="connsiteY5" fmla="*/ 3046130 h 3242474"/>
              <a:gd name="connsiteX6" fmla="*/ 605860 w 3203570"/>
              <a:gd name="connsiteY6" fmla="*/ 2664663 h 3242474"/>
              <a:gd name="connsiteX7" fmla="*/ 381468 w 3203570"/>
              <a:gd name="connsiteY7" fmla="*/ 3242474 h 3242474"/>
              <a:gd name="connsiteX8" fmla="*/ 0 w 3203570"/>
              <a:gd name="connsiteY8" fmla="*/ 3236864 h 3242474"/>
              <a:gd name="connsiteX9" fmla="*/ 516103 w 3203570"/>
              <a:gd name="connsiteY9" fmla="*/ 2249538 h 3242474"/>
              <a:gd name="connsiteX10" fmla="*/ 1559529 w 3203570"/>
              <a:gd name="connsiteY10" fmla="*/ 1991485 h 3242474"/>
              <a:gd name="connsiteX11" fmla="*/ 1234160 w 3203570"/>
              <a:gd name="connsiteY11" fmla="*/ 959279 h 3242474"/>
              <a:gd name="connsiteX12" fmla="*/ 1049035 w 3203570"/>
              <a:gd name="connsiteY12" fmla="*/ 16828 h 3242474"/>
              <a:gd name="connsiteX0" fmla="*/ 1049035 w 3203570"/>
              <a:gd name="connsiteY0" fmla="*/ 16828 h 3242474"/>
              <a:gd name="connsiteX1" fmla="*/ 1447333 w 3203570"/>
              <a:gd name="connsiteY1" fmla="*/ 0 h 3242474"/>
              <a:gd name="connsiteX2" fmla="*/ 1666116 w 3203570"/>
              <a:gd name="connsiteY2" fmla="*/ 734886 h 3242474"/>
              <a:gd name="connsiteX3" fmla="*/ 2401001 w 3203570"/>
              <a:gd name="connsiteY3" fmla="*/ 560982 h 3242474"/>
              <a:gd name="connsiteX4" fmla="*/ 3203206 w 3203570"/>
              <a:gd name="connsiteY4" fmla="*/ 1834409 h 3242474"/>
              <a:gd name="connsiteX5" fmla="*/ 2300025 w 3203570"/>
              <a:gd name="connsiteY5" fmla="*/ 3046130 h 3242474"/>
              <a:gd name="connsiteX6" fmla="*/ 605860 w 3203570"/>
              <a:gd name="connsiteY6" fmla="*/ 2664663 h 3242474"/>
              <a:gd name="connsiteX7" fmla="*/ 381468 w 3203570"/>
              <a:gd name="connsiteY7" fmla="*/ 3242474 h 3242474"/>
              <a:gd name="connsiteX8" fmla="*/ 0 w 3203570"/>
              <a:gd name="connsiteY8" fmla="*/ 3236864 h 3242474"/>
              <a:gd name="connsiteX9" fmla="*/ 516103 w 3203570"/>
              <a:gd name="connsiteY9" fmla="*/ 2249538 h 3242474"/>
              <a:gd name="connsiteX10" fmla="*/ 1559529 w 3203570"/>
              <a:gd name="connsiteY10" fmla="*/ 1991485 h 3242474"/>
              <a:gd name="connsiteX11" fmla="*/ 1234160 w 3203570"/>
              <a:gd name="connsiteY11" fmla="*/ 959279 h 3242474"/>
              <a:gd name="connsiteX12" fmla="*/ 1049035 w 3203570"/>
              <a:gd name="connsiteY12" fmla="*/ 16828 h 3242474"/>
              <a:gd name="connsiteX0" fmla="*/ 1049035 w 3203570"/>
              <a:gd name="connsiteY0" fmla="*/ 16828 h 3242474"/>
              <a:gd name="connsiteX1" fmla="*/ 1447333 w 3203570"/>
              <a:gd name="connsiteY1" fmla="*/ 0 h 3242474"/>
              <a:gd name="connsiteX2" fmla="*/ 1666116 w 3203570"/>
              <a:gd name="connsiteY2" fmla="*/ 734886 h 3242474"/>
              <a:gd name="connsiteX3" fmla="*/ 2401001 w 3203570"/>
              <a:gd name="connsiteY3" fmla="*/ 560982 h 3242474"/>
              <a:gd name="connsiteX4" fmla="*/ 3203206 w 3203570"/>
              <a:gd name="connsiteY4" fmla="*/ 1834409 h 3242474"/>
              <a:gd name="connsiteX5" fmla="*/ 2300025 w 3203570"/>
              <a:gd name="connsiteY5" fmla="*/ 3046130 h 3242474"/>
              <a:gd name="connsiteX6" fmla="*/ 605860 w 3203570"/>
              <a:gd name="connsiteY6" fmla="*/ 2664663 h 3242474"/>
              <a:gd name="connsiteX7" fmla="*/ 381468 w 3203570"/>
              <a:gd name="connsiteY7" fmla="*/ 3242474 h 3242474"/>
              <a:gd name="connsiteX8" fmla="*/ 0 w 3203570"/>
              <a:gd name="connsiteY8" fmla="*/ 3236864 h 3242474"/>
              <a:gd name="connsiteX9" fmla="*/ 516103 w 3203570"/>
              <a:gd name="connsiteY9" fmla="*/ 2249538 h 3242474"/>
              <a:gd name="connsiteX10" fmla="*/ 1559529 w 3203570"/>
              <a:gd name="connsiteY10" fmla="*/ 1991485 h 3242474"/>
              <a:gd name="connsiteX11" fmla="*/ 1234160 w 3203570"/>
              <a:gd name="connsiteY11" fmla="*/ 959279 h 3242474"/>
              <a:gd name="connsiteX12" fmla="*/ 1049035 w 3203570"/>
              <a:gd name="connsiteY12" fmla="*/ 16828 h 3242474"/>
              <a:gd name="connsiteX0" fmla="*/ 1049035 w 3203570"/>
              <a:gd name="connsiteY0" fmla="*/ 16828 h 3242474"/>
              <a:gd name="connsiteX1" fmla="*/ 1447333 w 3203570"/>
              <a:gd name="connsiteY1" fmla="*/ 0 h 3242474"/>
              <a:gd name="connsiteX2" fmla="*/ 1666116 w 3203570"/>
              <a:gd name="connsiteY2" fmla="*/ 734886 h 3242474"/>
              <a:gd name="connsiteX3" fmla="*/ 2401001 w 3203570"/>
              <a:gd name="connsiteY3" fmla="*/ 560982 h 3242474"/>
              <a:gd name="connsiteX4" fmla="*/ 3203206 w 3203570"/>
              <a:gd name="connsiteY4" fmla="*/ 1834409 h 3242474"/>
              <a:gd name="connsiteX5" fmla="*/ 2300025 w 3203570"/>
              <a:gd name="connsiteY5" fmla="*/ 3046130 h 3242474"/>
              <a:gd name="connsiteX6" fmla="*/ 605860 w 3203570"/>
              <a:gd name="connsiteY6" fmla="*/ 2664663 h 3242474"/>
              <a:gd name="connsiteX7" fmla="*/ 381468 w 3203570"/>
              <a:gd name="connsiteY7" fmla="*/ 3242474 h 3242474"/>
              <a:gd name="connsiteX8" fmla="*/ 0 w 3203570"/>
              <a:gd name="connsiteY8" fmla="*/ 3236864 h 3242474"/>
              <a:gd name="connsiteX9" fmla="*/ 516103 w 3203570"/>
              <a:gd name="connsiteY9" fmla="*/ 2249538 h 3242474"/>
              <a:gd name="connsiteX10" fmla="*/ 1559529 w 3203570"/>
              <a:gd name="connsiteY10" fmla="*/ 1991485 h 3242474"/>
              <a:gd name="connsiteX11" fmla="*/ 1234160 w 3203570"/>
              <a:gd name="connsiteY11" fmla="*/ 959279 h 3242474"/>
              <a:gd name="connsiteX12" fmla="*/ 1049035 w 3203570"/>
              <a:gd name="connsiteY12" fmla="*/ 16828 h 32424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203570" h="3242474">
                <a:moveTo>
                  <a:pt x="1049035" y="16828"/>
                </a:moveTo>
                <a:lnTo>
                  <a:pt x="1447333" y="0"/>
                </a:lnTo>
                <a:cubicBezTo>
                  <a:pt x="1441724" y="284231"/>
                  <a:pt x="1413674" y="613340"/>
                  <a:pt x="1666116" y="734886"/>
                </a:cubicBezTo>
                <a:cubicBezTo>
                  <a:pt x="1888639" y="783504"/>
                  <a:pt x="1937256" y="473095"/>
                  <a:pt x="2401001" y="560982"/>
                </a:cubicBezTo>
                <a:cubicBezTo>
                  <a:pt x="2875965" y="635779"/>
                  <a:pt x="3216295" y="1035945"/>
                  <a:pt x="3203206" y="1834409"/>
                </a:cubicBezTo>
                <a:cubicBezTo>
                  <a:pt x="3175156" y="2587994"/>
                  <a:pt x="2844177" y="2814257"/>
                  <a:pt x="2300025" y="3046130"/>
                </a:cubicBezTo>
                <a:cubicBezTo>
                  <a:pt x="1406194" y="3347190"/>
                  <a:pt x="820903" y="2705801"/>
                  <a:pt x="605860" y="2664663"/>
                </a:cubicBezTo>
                <a:cubicBezTo>
                  <a:pt x="379598" y="2621655"/>
                  <a:pt x="355288" y="2954503"/>
                  <a:pt x="381468" y="3242474"/>
                </a:cubicBezTo>
                <a:lnTo>
                  <a:pt x="0" y="3236864"/>
                </a:lnTo>
                <a:cubicBezTo>
                  <a:pt x="9350" y="2823607"/>
                  <a:pt x="-31788" y="2191567"/>
                  <a:pt x="516103" y="2249538"/>
                </a:cubicBezTo>
                <a:cubicBezTo>
                  <a:pt x="918138" y="2305637"/>
                  <a:pt x="1303347" y="2423441"/>
                  <a:pt x="1559529" y="1991485"/>
                </a:cubicBezTo>
                <a:cubicBezTo>
                  <a:pt x="1720344" y="1686686"/>
                  <a:pt x="1701645" y="1337006"/>
                  <a:pt x="1234160" y="959279"/>
                </a:cubicBezTo>
                <a:cubicBezTo>
                  <a:pt x="1155622" y="891961"/>
                  <a:pt x="981717" y="516102"/>
                  <a:pt x="1049035" y="1682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57" name="Freeform 50">
            <a:extLst>
              <a:ext uri="{FF2B5EF4-FFF2-40B4-BE49-F238E27FC236}">
                <a16:creationId xmlns:a16="http://schemas.microsoft.com/office/drawing/2014/main" id="{605A5CD8-DE95-4E92-98B2-C8DFAA6AF85E}"/>
              </a:ext>
            </a:extLst>
          </p:cNvPr>
          <p:cNvSpPr>
            <a:spLocks noChangeAspect="1"/>
          </p:cNvSpPr>
          <p:nvPr/>
        </p:nvSpPr>
        <p:spPr>
          <a:xfrm>
            <a:off x="6115987" y="1451770"/>
            <a:ext cx="529812" cy="447396"/>
          </a:xfrm>
          <a:custGeom>
            <a:avLst/>
            <a:gdLst/>
            <a:ahLst/>
            <a:cxnLst/>
            <a:rect l="l" t="t" r="r" b="b"/>
            <a:pathLst>
              <a:path w="3213653" h="2719059">
                <a:moveTo>
                  <a:pt x="1378151" y="1333546"/>
                </a:moveTo>
                <a:cubicBezTo>
                  <a:pt x="1319627" y="1375402"/>
                  <a:pt x="1250513" y="1400241"/>
                  <a:pt x="1177640" y="1404742"/>
                </a:cubicBezTo>
                <a:cubicBezTo>
                  <a:pt x="1183273" y="1421668"/>
                  <a:pt x="1185388" y="1439329"/>
                  <a:pt x="1185029" y="1457608"/>
                </a:cubicBezTo>
                <a:lnTo>
                  <a:pt x="1182201" y="1517198"/>
                </a:lnTo>
                <a:cubicBezTo>
                  <a:pt x="1256472" y="1514781"/>
                  <a:pt x="1326341" y="1484168"/>
                  <a:pt x="1378151" y="1432005"/>
                </a:cubicBezTo>
                <a:close/>
                <a:moveTo>
                  <a:pt x="1765736" y="0"/>
                </a:moveTo>
                <a:cubicBezTo>
                  <a:pt x="1820598" y="0"/>
                  <a:pt x="1865072" y="44474"/>
                  <a:pt x="1865072" y="99336"/>
                </a:cubicBezTo>
                <a:lnTo>
                  <a:pt x="1865072" y="1145199"/>
                </a:lnTo>
                <a:cubicBezTo>
                  <a:pt x="1927584" y="1198906"/>
                  <a:pt x="2002197" y="1234373"/>
                  <a:pt x="2081262" y="1252128"/>
                </a:cubicBezTo>
                <a:cubicBezTo>
                  <a:pt x="2096727" y="1219747"/>
                  <a:pt x="2112543" y="1186289"/>
                  <a:pt x="2123992" y="1149920"/>
                </a:cubicBezTo>
                <a:cubicBezTo>
                  <a:pt x="1899600" y="1041464"/>
                  <a:pt x="1832282" y="585198"/>
                  <a:pt x="1933258" y="437473"/>
                </a:cubicBezTo>
                <a:cubicBezTo>
                  <a:pt x="2028156" y="327848"/>
                  <a:pt x="2131647" y="265468"/>
                  <a:pt x="2345195" y="261608"/>
                </a:cubicBezTo>
                <a:cubicBezTo>
                  <a:pt x="2375702" y="261056"/>
                  <a:pt x="2408455" y="261699"/>
                  <a:pt x="2443750" y="263569"/>
                </a:cubicBezTo>
                <a:cubicBezTo>
                  <a:pt x="2954244" y="291618"/>
                  <a:pt x="3189856" y="886259"/>
                  <a:pt x="3206686" y="1323824"/>
                </a:cubicBezTo>
                <a:cubicBezTo>
                  <a:pt x="3247823" y="2015701"/>
                  <a:pt x="3103839" y="2270013"/>
                  <a:pt x="2853267" y="2462617"/>
                </a:cubicBezTo>
                <a:cubicBezTo>
                  <a:pt x="2511068" y="2735627"/>
                  <a:pt x="2157650" y="2470097"/>
                  <a:pt x="2084722" y="2170906"/>
                </a:cubicBezTo>
                <a:cubicBezTo>
                  <a:pt x="2058544" y="2038140"/>
                  <a:pt x="2127730" y="1922204"/>
                  <a:pt x="2202528" y="1800658"/>
                </a:cubicBezTo>
                <a:lnTo>
                  <a:pt x="2143866" y="1730900"/>
                </a:lnTo>
                <a:cubicBezTo>
                  <a:pt x="2096151" y="1741682"/>
                  <a:pt x="2046910" y="1746675"/>
                  <a:pt x="1997032" y="1746402"/>
                </a:cubicBezTo>
                <a:lnTo>
                  <a:pt x="1887189" y="1736891"/>
                </a:lnTo>
                <a:lnTo>
                  <a:pt x="1887189" y="2619722"/>
                </a:lnTo>
                <a:cubicBezTo>
                  <a:pt x="1887189" y="2674584"/>
                  <a:pt x="1842715" y="2719058"/>
                  <a:pt x="1787853" y="2719058"/>
                </a:cubicBezTo>
                <a:cubicBezTo>
                  <a:pt x="1732991" y="2719058"/>
                  <a:pt x="1688517" y="2674584"/>
                  <a:pt x="1688517" y="2619722"/>
                </a:cubicBezTo>
                <a:lnTo>
                  <a:pt x="1688517" y="1730093"/>
                </a:lnTo>
                <a:cubicBezTo>
                  <a:pt x="1688517" y="1710960"/>
                  <a:pt x="1693926" y="1693091"/>
                  <a:pt x="1704798" y="1678857"/>
                </a:cubicBezTo>
                <a:cubicBezTo>
                  <a:pt x="1659024" y="1659660"/>
                  <a:pt x="1616387" y="1633873"/>
                  <a:pt x="1576823" y="1603655"/>
                </a:cubicBezTo>
                <a:lnTo>
                  <a:pt x="1576823" y="2619723"/>
                </a:lnTo>
                <a:cubicBezTo>
                  <a:pt x="1576823" y="2674585"/>
                  <a:pt x="1532349" y="2719059"/>
                  <a:pt x="1477487" y="2719059"/>
                </a:cubicBezTo>
                <a:cubicBezTo>
                  <a:pt x="1422625" y="2719059"/>
                  <a:pt x="1378151" y="2674585"/>
                  <a:pt x="1378151" y="2619723"/>
                </a:cubicBezTo>
                <a:lnTo>
                  <a:pt x="1378151" y="1615564"/>
                </a:lnTo>
                <a:cubicBezTo>
                  <a:pt x="1313743" y="1650180"/>
                  <a:pt x="1240907" y="1668612"/>
                  <a:pt x="1165758" y="1668570"/>
                </a:cubicBezTo>
                <a:lnTo>
                  <a:pt x="1143358" y="1665899"/>
                </a:lnTo>
                <a:cubicBezTo>
                  <a:pt x="1108602" y="1733381"/>
                  <a:pt x="1056017" y="1769960"/>
                  <a:pt x="1011125" y="1833465"/>
                </a:cubicBezTo>
                <a:cubicBezTo>
                  <a:pt x="1085923" y="1955011"/>
                  <a:pt x="1155109" y="2070947"/>
                  <a:pt x="1128931" y="2203713"/>
                </a:cubicBezTo>
                <a:cubicBezTo>
                  <a:pt x="1056003" y="2502904"/>
                  <a:pt x="702585" y="2768434"/>
                  <a:pt x="360386" y="2495424"/>
                </a:cubicBezTo>
                <a:cubicBezTo>
                  <a:pt x="109814" y="2302820"/>
                  <a:pt x="-34170" y="2048508"/>
                  <a:pt x="6967" y="1356631"/>
                </a:cubicBezTo>
                <a:cubicBezTo>
                  <a:pt x="23797" y="919066"/>
                  <a:pt x="259409" y="324425"/>
                  <a:pt x="769903" y="296376"/>
                </a:cubicBezTo>
                <a:cubicBezTo>
                  <a:pt x="805198" y="294506"/>
                  <a:pt x="837951" y="293863"/>
                  <a:pt x="868458" y="294415"/>
                </a:cubicBezTo>
                <a:cubicBezTo>
                  <a:pt x="1082006" y="298276"/>
                  <a:pt x="1185497" y="360655"/>
                  <a:pt x="1280395" y="470280"/>
                </a:cubicBezTo>
                <a:cubicBezTo>
                  <a:pt x="1381371" y="618005"/>
                  <a:pt x="1314053" y="1074271"/>
                  <a:pt x="1089661" y="1182727"/>
                </a:cubicBezTo>
                <a:cubicBezTo>
                  <a:pt x="1098183" y="1209798"/>
                  <a:pt x="1109125" y="1235256"/>
                  <a:pt x="1120578" y="1259840"/>
                </a:cubicBezTo>
                <a:cubicBezTo>
                  <a:pt x="1123656" y="1260899"/>
                  <a:pt x="1126770" y="1260948"/>
                  <a:pt x="1129891" y="1260950"/>
                </a:cubicBezTo>
                <a:cubicBezTo>
                  <a:pt x="1227949" y="1261006"/>
                  <a:pt x="1320161" y="1214330"/>
                  <a:pt x="1378151" y="1135267"/>
                </a:cubicBezTo>
                <a:lnTo>
                  <a:pt x="1378151" y="118395"/>
                </a:lnTo>
                <a:cubicBezTo>
                  <a:pt x="1378151" y="63533"/>
                  <a:pt x="1422625" y="19059"/>
                  <a:pt x="1477487" y="19059"/>
                </a:cubicBezTo>
                <a:cubicBezTo>
                  <a:pt x="1532349" y="19059"/>
                  <a:pt x="1576823" y="63533"/>
                  <a:pt x="1576823" y="118395"/>
                </a:cubicBezTo>
                <a:lnTo>
                  <a:pt x="1576823" y="1413063"/>
                </a:lnTo>
                <a:cubicBezTo>
                  <a:pt x="1680597" y="1536757"/>
                  <a:pt x="1834575" y="1607590"/>
                  <a:pt x="1997786" y="1608484"/>
                </a:cubicBezTo>
                <a:lnTo>
                  <a:pt x="2057480" y="1605248"/>
                </a:lnTo>
                <a:cubicBezTo>
                  <a:pt x="2038910" y="1561698"/>
                  <a:pt x="2027992" y="1505121"/>
                  <a:pt x="2028624" y="1424801"/>
                </a:cubicBezTo>
                <a:lnTo>
                  <a:pt x="2034537" y="1382501"/>
                </a:lnTo>
                <a:cubicBezTo>
                  <a:pt x="1972012" y="1367348"/>
                  <a:pt x="1912047" y="1342676"/>
                  <a:pt x="1856155" y="1310037"/>
                </a:cubicBezTo>
                <a:cubicBezTo>
                  <a:pt x="1840993" y="1344880"/>
                  <a:pt x="1806188" y="1369059"/>
                  <a:pt x="1765736" y="1369059"/>
                </a:cubicBezTo>
                <a:cubicBezTo>
                  <a:pt x="1710874" y="1369059"/>
                  <a:pt x="1666400" y="1324585"/>
                  <a:pt x="1666400" y="1269723"/>
                </a:cubicBezTo>
                <a:lnTo>
                  <a:pt x="1666400" y="99336"/>
                </a:lnTo>
                <a:cubicBezTo>
                  <a:pt x="1666400" y="44474"/>
                  <a:pt x="1710874" y="0"/>
                  <a:pt x="1765736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58" name="Teardrop 9">
            <a:extLst>
              <a:ext uri="{FF2B5EF4-FFF2-40B4-BE49-F238E27FC236}">
                <a16:creationId xmlns:a16="http://schemas.microsoft.com/office/drawing/2014/main" id="{4408BA9B-C6A7-4C33-9FEA-0E214549F256}"/>
              </a:ext>
            </a:extLst>
          </p:cNvPr>
          <p:cNvSpPr>
            <a:spLocks noChangeAspect="1"/>
          </p:cNvSpPr>
          <p:nvPr/>
        </p:nvSpPr>
        <p:spPr>
          <a:xfrm rot="18900000">
            <a:off x="7840756" y="2475143"/>
            <a:ext cx="512877" cy="437727"/>
          </a:xfrm>
          <a:custGeom>
            <a:avLst/>
            <a:gdLst/>
            <a:ahLst/>
            <a:cxnLst/>
            <a:rect l="l" t="t" r="r" b="b"/>
            <a:pathLst>
              <a:path w="3552042" h="3031575">
                <a:moveTo>
                  <a:pt x="1499560" y="1284945"/>
                </a:moveTo>
                <a:lnTo>
                  <a:pt x="1272419" y="1057805"/>
                </a:lnTo>
                <a:lnTo>
                  <a:pt x="1054631" y="1275593"/>
                </a:lnTo>
                <a:lnTo>
                  <a:pt x="836843" y="1057805"/>
                </a:lnTo>
                <a:lnTo>
                  <a:pt x="609703" y="1284945"/>
                </a:lnTo>
                <a:lnTo>
                  <a:pt x="827491" y="1502733"/>
                </a:lnTo>
                <a:lnTo>
                  <a:pt x="609703" y="1720522"/>
                </a:lnTo>
                <a:lnTo>
                  <a:pt x="836843" y="1947662"/>
                </a:lnTo>
                <a:lnTo>
                  <a:pt x="1054631" y="1729874"/>
                </a:lnTo>
                <a:lnTo>
                  <a:pt x="1272419" y="1947662"/>
                </a:lnTo>
                <a:lnTo>
                  <a:pt x="1499560" y="1720522"/>
                </a:lnTo>
                <a:lnTo>
                  <a:pt x="1281771" y="1502733"/>
                </a:lnTo>
                <a:close/>
                <a:moveTo>
                  <a:pt x="3552042" y="1021270"/>
                </a:moveTo>
                <a:cubicBezTo>
                  <a:pt x="3346428" y="1488389"/>
                  <a:pt x="3240687" y="1885112"/>
                  <a:pt x="3146822" y="2229032"/>
                </a:cubicBezTo>
                <a:cubicBezTo>
                  <a:pt x="3047091" y="2666397"/>
                  <a:pt x="2787512" y="3031575"/>
                  <a:pt x="2344279" y="3031575"/>
                </a:cubicBezTo>
                <a:cubicBezTo>
                  <a:pt x="1991740" y="3031575"/>
                  <a:pt x="1692293" y="2804263"/>
                  <a:pt x="1587926" y="2487045"/>
                </a:cubicBezTo>
                <a:cubicBezTo>
                  <a:pt x="1859795" y="2308350"/>
                  <a:pt x="2033031" y="1980125"/>
                  <a:pt x="2117061" y="1611614"/>
                </a:cubicBezTo>
                <a:cubicBezTo>
                  <a:pt x="2127904" y="1571883"/>
                  <a:pt x="2138872" y="1531598"/>
                  <a:pt x="2150086" y="1490753"/>
                </a:cubicBezTo>
                <a:cubicBezTo>
                  <a:pt x="2212338" y="1465032"/>
                  <a:pt x="2277652" y="1444164"/>
                  <a:pt x="2344279" y="1426490"/>
                </a:cubicBezTo>
                <a:cubicBezTo>
                  <a:pt x="2764465" y="1315024"/>
                  <a:pt x="3073190" y="1226884"/>
                  <a:pt x="3552042" y="1021270"/>
                </a:cubicBezTo>
                <a:close/>
                <a:moveTo>
                  <a:pt x="2557365" y="0"/>
                </a:moveTo>
                <a:cubicBezTo>
                  <a:pt x="2295797" y="594236"/>
                  <a:pt x="2161281" y="1098917"/>
                  <a:pt x="2041873" y="1536428"/>
                </a:cubicBezTo>
                <a:cubicBezTo>
                  <a:pt x="1915003" y="2092812"/>
                  <a:pt x="1584785" y="2557364"/>
                  <a:pt x="1020937" y="2557364"/>
                </a:cubicBezTo>
                <a:cubicBezTo>
                  <a:pt x="457089" y="2557364"/>
                  <a:pt x="0" y="2100276"/>
                  <a:pt x="0" y="1536428"/>
                </a:cubicBezTo>
                <a:cubicBezTo>
                  <a:pt x="0" y="972580"/>
                  <a:pt x="475939" y="660066"/>
                  <a:pt x="1020937" y="515492"/>
                </a:cubicBezTo>
                <a:cubicBezTo>
                  <a:pt x="1555467" y="373694"/>
                  <a:pt x="1948204" y="261568"/>
                  <a:pt x="2557365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59" name="Freeform 97">
            <a:extLst>
              <a:ext uri="{FF2B5EF4-FFF2-40B4-BE49-F238E27FC236}">
                <a16:creationId xmlns:a16="http://schemas.microsoft.com/office/drawing/2014/main" id="{EC2CC9E2-613C-4C7C-AA96-FC8E238EAB9F}"/>
              </a:ext>
            </a:extLst>
          </p:cNvPr>
          <p:cNvSpPr>
            <a:spLocks noChangeAspect="1"/>
          </p:cNvSpPr>
          <p:nvPr/>
        </p:nvSpPr>
        <p:spPr>
          <a:xfrm>
            <a:off x="8560808" y="1444151"/>
            <a:ext cx="619107" cy="462636"/>
          </a:xfrm>
          <a:custGeom>
            <a:avLst/>
            <a:gdLst/>
            <a:ahLst/>
            <a:cxnLst/>
            <a:rect l="l" t="t" r="r" b="b"/>
            <a:pathLst>
              <a:path w="3246245" h="2425805">
                <a:moveTo>
                  <a:pt x="2545666" y="706851"/>
                </a:moveTo>
                <a:cubicBezTo>
                  <a:pt x="2704742" y="706851"/>
                  <a:pt x="2833698" y="835807"/>
                  <a:pt x="2833698" y="994883"/>
                </a:cubicBezTo>
                <a:cubicBezTo>
                  <a:pt x="2833698" y="1153959"/>
                  <a:pt x="2704742" y="1282915"/>
                  <a:pt x="2545666" y="1282915"/>
                </a:cubicBezTo>
                <a:cubicBezTo>
                  <a:pt x="2386590" y="1282915"/>
                  <a:pt x="2257634" y="1153959"/>
                  <a:pt x="2257634" y="994883"/>
                </a:cubicBezTo>
                <a:cubicBezTo>
                  <a:pt x="2257634" y="835807"/>
                  <a:pt x="2386590" y="706851"/>
                  <a:pt x="2545666" y="706851"/>
                </a:cubicBezTo>
                <a:close/>
                <a:moveTo>
                  <a:pt x="700580" y="706851"/>
                </a:moveTo>
                <a:cubicBezTo>
                  <a:pt x="859656" y="706851"/>
                  <a:pt x="988612" y="835807"/>
                  <a:pt x="988612" y="994883"/>
                </a:cubicBezTo>
                <a:cubicBezTo>
                  <a:pt x="988612" y="1153959"/>
                  <a:pt x="859656" y="1282915"/>
                  <a:pt x="700580" y="1282915"/>
                </a:cubicBezTo>
                <a:cubicBezTo>
                  <a:pt x="541504" y="1282915"/>
                  <a:pt x="412548" y="1153959"/>
                  <a:pt x="412548" y="994883"/>
                </a:cubicBezTo>
                <a:cubicBezTo>
                  <a:pt x="412548" y="835807"/>
                  <a:pt x="541504" y="706851"/>
                  <a:pt x="700580" y="706851"/>
                </a:cubicBezTo>
                <a:close/>
                <a:moveTo>
                  <a:pt x="1619971" y="0"/>
                </a:moveTo>
                <a:cubicBezTo>
                  <a:pt x="1621025" y="5"/>
                  <a:pt x="1622076" y="12"/>
                  <a:pt x="1623123" y="141"/>
                </a:cubicBezTo>
                <a:cubicBezTo>
                  <a:pt x="1624170" y="12"/>
                  <a:pt x="1625221" y="5"/>
                  <a:pt x="1626275" y="0"/>
                </a:cubicBezTo>
                <a:lnTo>
                  <a:pt x="1626274" y="282"/>
                </a:lnTo>
                <a:cubicBezTo>
                  <a:pt x="1966825" y="4283"/>
                  <a:pt x="1974816" y="220494"/>
                  <a:pt x="2177568" y="171426"/>
                </a:cubicBezTo>
                <a:cubicBezTo>
                  <a:pt x="2600959" y="50212"/>
                  <a:pt x="2963165" y="85364"/>
                  <a:pt x="3172404" y="310875"/>
                </a:cubicBezTo>
                <a:cubicBezTo>
                  <a:pt x="3300075" y="473051"/>
                  <a:pt x="3301971" y="794993"/>
                  <a:pt x="2851767" y="1164523"/>
                </a:cubicBezTo>
                <a:cubicBezTo>
                  <a:pt x="2918303" y="1029844"/>
                  <a:pt x="2927052" y="857771"/>
                  <a:pt x="2799829" y="746887"/>
                </a:cubicBezTo>
                <a:cubicBezTo>
                  <a:pt x="3115459" y="786295"/>
                  <a:pt x="3165949" y="533368"/>
                  <a:pt x="3049873" y="419809"/>
                </a:cubicBezTo>
                <a:cubicBezTo>
                  <a:pt x="2811516" y="207658"/>
                  <a:pt x="2338612" y="298041"/>
                  <a:pt x="2253222" y="493802"/>
                </a:cubicBezTo>
                <a:cubicBezTo>
                  <a:pt x="2139861" y="783555"/>
                  <a:pt x="2165869" y="1185485"/>
                  <a:pt x="2076302" y="1369861"/>
                </a:cubicBezTo>
                <a:cubicBezTo>
                  <a:pt x="1906668" y="1634081"/>
                  <a:pt x="1716639" y="1881305"/>
                  <a:pt x="1713569" y="2080938"/>
                </a:cubicBezTo>
                <a:cubicBezTo>
                  <a:pt x="1706472" y="2158984"/>
                  <a:pt x="1709123" y="2405980"/>
                  <a:pt x="1625847" y="2423204"/>
                </a:cubicBezTo>
                <a:cubicBezTo>
                  <a:pt x="1625847" y="2424071"/>
                  <a:pt x="1625843" y="2424938"/>
                  <a:pt x="1625839" y="2425805"/>
                </a:cubicBezTo>
                <a:lnTo>
                  <a:pt x="1623123" y="2424507"/>
                </a:lnTo>
                <a:lnTo>
                  <a:pt x="1620407" y="2425805"/>
                </a:lnTo>
                <a:cubicBezTo>
                  <a:pt x="1620403" y="2424938"/>
                  <a:pt x="1620399" y="2424071"/>
                  <a:pt x="1620399" y="2423204"/>
                </a:cubicBezTo>
                <a:cubicBezTo>
                  <a:pt x="1537123" y="2405980"/>
                  <a:pt x="1539774" y="2158984"/>
                  <a:pt x="1532677" y="2080938"/>
                </a:cubicBezTo>
                <a:cubicBezTo>
                  <a:pt x="1529607" y="1881305"/>
                  <a:pt x="1339578" y="1634081"/>
                  <a:pt x="1169944" y="1369861"/>
                </a:cubicBezTo>
                <a:cubicBezTo>
                  <a:pt x="1080377" y="1185485"/>
                  <a:pt x="1106385" y="783555"/>
                  <a:pt x="993024" y="493802"/>
                </a:cubicBezTo>
                <a:cubicBezTo>
                  <a:pt x="907634" y="298041"/>
                  <a:pt x="434730" y="207658"/>
                  <a:pt x="196373" y="419809"/>
                </a:cubicBezTo>
                <a:cubicBezTo>
                  <a:pt x="80297" y="533368"/>
                  <a:pt x="130787" y="786295"/>
                  <a:pt x="446417" y="746887"/>
                </a:cubicBezTo>
                <a:cubicBezTo>
                  <a:pt x="319194" y="857771"/>
                  <a:pt x="327943" y="1029844"/>
                  <a:pt x="394479" y="1164523"/>
                </a:cubicBezTo>
                <a:cubicBezTo>
                  <a:pt x="-55725" y="794993"/>
                  <a:pt x="-53829" y="473051"/>
                  <a:pt x="73842" y="310875"/>
                </a:cubicBezTo>
                <a:cubicBezTo>
                  <a:pt x="283081" y="85364"/>
                  <a:pt x="645287" y="50212"/>
                  <a:pt x="1068678" y="171426"/>
                </a:cubicBezTo>
                <a:cubicBezTo>
                  <a:pt x="1271430" y="220494"/>
                  <a:pt x="1279421" y="4283"/>
                  <a:pt x="1619972" y="28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60" name="Donut 22">
            <a:extLst>
              <a:ext uri="{FF2B5EF4-FFF2-40B4-BE49-F238E27FC236}">
                <a16:creationId xmlns:a16="http://schemas.microsoft.com/office/drawing/2014/main" id="{CE7A0D83-9523-4EB8-8677-1D7D4415C973}"/>
              </a:ext>
            </a:extLst>
          </p:cNvPr>
          <p:cNvSpPr>
            <a:spLocks noChangeAspect="1"/>
          </p:cNvSpPr>
          <p:nvPr/>
        </p:nvSpPr>
        <p:spPr>
          <a:xfrm>
            <a:off x="10277429" y="1539784"/>
            <a:ext cx="529812" cy="271370"/>
          </a:xfrm>
          <a:custGeom>
            <a:avLst/>
            <a:gdLst/>
            <a:ahLst/>
            <a:cxnLst/>
            <a:rect l="l" t="t" r="r" b="b"/>
            <a:pathLst>
              <a:path w="3372524" h="1727404">
                <a:moveTo>
                  <a:pt x="1758003" y="666958"/>
                </a:moveTo>
                <a:cubicBezTo>
                  <a:pt x="1703684" y="666958"/>
                  <a:pt x="1659649" y="710993"/>
                  <a:pt x="1659649" y="765312"/>
                </a:cubicBezTo>
                <a:cubicBezTo>
                  <a:pt x="1659649" y="819631"/>
                  <a:pt x="1703684" y="863666"/>
                  <a:pt x="1758003" y="863666"/>
                </a:cubicBezTo>
                <a:cubicBezTo>
                  <a:pt x="1812322" y="863666"/>
                  <a:pt x="1856357" y="819631"/>
                  <a:pt x="1856357" y="765312"/>
                </a:cubicBezTo>
                <a:cubicBezTo>
                  <a:pt x="1856357" y="710993"/>
                  <a:pt x="1812322" y="666958"/>
                  <a:pt x="1758003" y="666958"/>
                </a:cubicBezTo>
                <a:close/>
                <a:moveTo>
                  <a:pt x="1686261" y="586208"/>
                </a:moveTo>
                <a:cubicBezTo>
                  <a:pt x="1849880" y="586208"/>
                  <a:pt x="1982519" y="718847"/>
                  <a:pt x="1982519" y="882466"/>
                </a:cubicBezTo>
                <a:cubicBezTo>
                  <a:pt x="1982519" y="1046085"/>
                  <a:pt x="1849880" y="1178724"/>
                  <a:pt x="1686261" y="1178724"/>
                </a:cubicBezTo>
                <a:cubicBezTo>
                  <a:pt x="1522642" y="1178724"/>
                  <a:pt x="1390003" y="1046085"/>
                  <a:pt x="1390003" y="882466"/>
                </a:cubicBezTo>
                <a:cubicBezTo>
                  <a:pt x="1390003" y="718847"/>
                  <a:pt x="1522642" y="586208"/>
                  <a:pt x="1686261" y="586208"/>
                </a:cubicBezTo>
                <a:close/>
                <a:moveTo>
                  <a:pt x="1686262" y="448985"/>
                </a:moveTo>
                <a:cubicBezTo>
                  <a:pt x="1446857" y="448985"/>
                  <a:pt x="1252780" y="643062"/>
                  <a:pt x="1252780" y="882467"/>
                </a:cubicBezTo>
                <a:cubicBezTo>
                  <a:pt x="1252780" y="1121872"/>
                  <a:pt x="1446857" y="1315949"/>
                  <a:pt x="1686262" y="1315949"/>
                </a:cubicBezTo>
                <a:cubicBezTo>
                  <a:pt x="1925667" y="1315949"/>
                  <a:pt x="2119744" y="1121872"/>
                  <a:pt x="2119744" y="882467"/>
                </a:cubicBezTo>
                <a:cubicBezTo>
                  <a:pt x="2119744" y="643062"/>
                  <a:pt x="1925667" y="448985"/>
                  <a:pt x="1686262" y="448985"/>
                </a:cubicBezTo>
                <a:close/>
                <a:moveTo>
                  <a:pt x="1893261" y="271274"/>
                </a:moveTo>
                <a:cubicBezTo>
                  <a:pt x="2150128" y="355123"/>
                  <a:pt x="2334334" y="597283"/>
                  <a:pt x="2334334" y="882467"/>
                </a:cubicBezTo>
                <a:cubicBezTo>
                  <a:pt x="2334334" y="1103921"/>
                  <a:pt x="2223259" y="1299432"/>
                  <a:pt x="2053457" y="1415856"/>
                </a:cubicBezTo>
                <a:cubicBezTo>
                  <a:pt x="2494577" y="1286853"/>
                  <a:pt x="2931337" y="1005905"/>
                  <a:pt x="2940842" y="882353"/>
                </a:cubicBezTo>
                <a:lnTo>
                  <a:pt x="2946401" y="882364"/>
                </a:lnTo>
                <a:lnTo>
                  <a:pt x="2943679" y="877137"/>
                </a:lnTo>
                <a:lnTo>
                  <a:pt x="2946401" y="872130"/>
                </a:lnTo>
                <a:lnTo>
                  <a:pt x="2941077" y="872141"/>
                </a:lnTo>
                <a:cubicBezTo>
                  <a:pt x="2875996" y="732702"/>
                  <a:pt x="2369865" y="377972"/>
                  <a:pt x="1893261" y="271274"/>
                </a:cubicBezTo>
                <a:close/>
                <a:moveTo>
                  <a:pt x="1525754" y="256843"/>
                </a:moveTo>
                <a:cubicBezTo>
                  <a:pt x="984953" y="339274"/>
                  <a:pt x="426123" y="752145"/>
                  <a:pt x="426123" y="877021"/>
                </a:cubicBezTo>
                <a:lnTo>
                  <a:pt x="426123" y="877247"/>
                </a:lnTo>
                <a:cubicBezTo>
                  <a:pt x="439083" y="984175"/>
                  <a:pt x="877625" y="1311577"/>
                  <a:pt x="1355183" y="1436828"/>
                </a:cubicBezTo>
                <a:cubicBezTo>
                  <a:pt x="1164798" y="1325758"/>
                  <a:pt x="1038190" y="1118898"/>
                  <a:pt x="1038190" y="882467"/>
                </a:cubicBezTo>
                <a:cubicBezTo>
                  <a:pt x="1038190" y="580157"/>
                  <a:pt x="1245184" y="326193"/>
                  <a:pt x="1525754" y="256843"/>
                </a:cubicBezTo>
                <a:close/>
                <a:moveTo>
                  <a:pt x="1682713" y="0"/>
                </a:moveTo>
                <a:cubicBezTo>
                  <a:pt x="2385858" y="36225"/>
                  <a:pt x="3265322" y="653066"/>
                  <a:pt x="3365400" y="875412"/>
                </a:cubicBezTo>
                <a:lnTo>
                  <a:pt x="3372524" y="875397"/>
                </a:lnTo>
                <a:lnTo>
                  <a:pt x="3368881" y="882344"/>
                </a:lnTo>
                <a:lnTo>
                  <a:pt x="3372524" y="889597"/>
                </a:lnTo>
                <a:lnTo>
                  <a:pt x="3365086" y="889581"/>
                </a:lnTo>
                <a:cubicBezTo>
                  <a:pt x="3348713" y="1110249"/>
                  <a:pt x="2385134" y="1692746"/>
                  <a:pt x="1682713" y="1727404"/>
                </a:cubicBezTo>
                <a:cubicBezTo>
                  <a:pt x="901706" y="1708470"/>
                  <a:pt x="21301" y="1064732"/>
                  <a:pt x="0" y="882497"/>
                </a:cubicBezTo>
                <a:lnTo>
                  <a:pt x="0" y="882184"/>
                </a:lnTo>
                <a:cubicBezTo>
                  <a:pt x="0" y="691908"/>
                  <a:pt x="901706" y="19770"/>
                  <a:pt x="1682713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61" name="Freeform 99">
            <a:extLst>
              <a:ext uri="{FF2B5EF4-FFF2-40B4-BE49-F238E27FC236}">
                <a16:creationId xmlns:a16="http://schemas.microsoft.com/office/drawing/2014/main" id="{6EFBEDF3-F563-421B-9E3D-7024636F370F}"/>
              </a:ext>
            </a:extLst>
          </p:cNvPr>
          <p:cNvSpPr>
            <a:spLocks noChangeAspect="1"/>
          </p:cNvSpPr>
          <p:nvPr/>
        </p:nvSpPr>
        <p:spPr>
          <a:xfrm>
            <a:off x="7902810" y="1432248"/>
            <a:ext cx="388767" cy="486441"/>
          </a:xfrm>
          <a:custGeom>
            <a:avLst/>
            <a:gdLst/>
            <a:ahLst/>
            <a:cxnLst/>
            <a:rect l="l" t="t" r="r" b="b"/>
            <a:pathLst>
              <a:path w="2427821" h="3249943">
                <a:moveTo>
                  <a:pt x="1783445" y="477276"/>
                </a:moveTo>
                <a:cubicBezTo>
                  <a:pt x="1867295" y="479049"/>
                  <a:pt x="1940306" y="495815"/>
                  <a:pt x="1995323" y="528655"/>
                </a:cubicBezTo>
                <a:cubicBezTo>
                  <a:pt x="2375187" y="892595"/>
                  <a:pt x="1478983" y="963108"/>
                  <a:pt x="1620010" y="1047270"/>
                </a:cubicBezTo>
                <a:cubicBezTo>
                  <a:pt x="1920260" y="1267909"/>
                  <a:pt x="2179568" y="1563610"/>
                  <a:pt x="2275102" y="1879783"/>
                </a:cubicBezTo>
                <a:cubicBezTo>
                  <a:pt x="2386559" y="2264195"/>
                  <a:pt x="2620845" y="2969329"/>
                  <a:pt x="2118153" y="3196792"/>
                </a:cubicBezTo>
                <a:cubicBezTo>
                  <a:pt x="862559" y="3474297"/>
                  <a:pt x="146052" y="2612212"/>
                  <a:pt x="9574" y="1838839"/>
                </a:cubicBezTo>
                <a:cubicBezTo>
                  <a:pt x="-38192" y="1613652"/>
                  <a:pt x="98284" y="1313401"/>
                  <a:pt x="296177" y="1170100"/>
                </a:cubicBezTo>
                <a:cubicBezTo>
                  <a:pt x="391711" y="1081390"/>
                  <a:pt x="330296" y="876673"/>
                  <a:pt x="323472" y="671956"/>
                </a:cubicBezTo>
                <a:cubicBezTo>
                  <a:pt x="296177" y="474063"/>
                  <a:pt x="760199" y="351234"/>
                  <a:pt x="664666" y="1211043"/>
                </a:cubicBezTo>
                <a:cubicBezTo>
                  <a:pt x="853176" y="743465"/>
                  <a:pt x="1420091" y="469595"/>
                  <a:pt x="1783445" y="477276"/>
                </a:cubicBezTo>
                <a:close/>
                <a:moveTo>
                  <a:pt x="1024970" y="33"/>
                </a:moveTo>
                <a:cubicBezTo>
                  <a:pt x="1115949" y="3590"/>
                  <a:pt x="1140206" y="286408"/>
                  <a:pt x="1176458" y="269348"/>
                </a:cubicBezTo>
                <a:cubicBezTo>
                  <a:pt x="1251521" y="278446"/>
                  <a:pt x="1265168" y="21414"/>
                  <a:pt x="1401646" y="44160"/>
                </a:cubicBezTo>
                <a:cubicBezTo>
                  <a:pt x="1469884" y="71456"/>
                  <a:pt x="1374351" y="221581"/>
                  <a:pt x="1360703" y="310292"/>
                </a:cubicBezTo>
                <a:lnTo>
                  <a:pt x="1517652" y="453593"/>
                </a:lnTo>
                <a:cubicBezTo>
                  <a:pt x="974016" y="540030"/>
                  <a:pt x="901229" y="790238"/>
                  <a:pt x="753379" y="951737"/>
                </a:cubicBezTo>
                <a:lnTo>
                  <a:pt x="705610" y="644662"/>
                </a:lnTo>
                <a:lnTo>
                  <a:pt x="787497" y="521832"/>
                </a:lnTo>
                <a:cubicBezTo>
                  <a:pt x="712435" y="433122"/>
                  <a:pt x="446303" y="364883"/>
                  <a:pt x="562310" y="255701"/>
                </a:cubicBezTo>
                <a:cubicBezTo>
                  <a:pt x="739730" y="98751"/>
                  <a:pt x="862560" y="337587"/>
                  <a:pt x="1012685" y="378530"/>
                </a:cubicBezTo>
                <a:cubicBezTo>
                  <a:pt x="1010410" y="253426"/>
                  <a:pt x="796596" y="101025"/>
                  <a:pt x="1005861" y="3217"/>
                </a:cubicBezTo>
                <a:cubicBezTo>
                  <a:pt x="1012543" y="800"/>
                  <a:pt x="1018905" y="-204"/>
                  <a:pt x="1024970" y="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62" name="Oval 10">
            <a:extLst>
              <a:ext uri="{FF2B5EF4-FFF2-40B4-BE49-F238E27FC236}">
                <a16:creationId xmlns:a16="http://schemas.microsoft.com/office/drawing/2014/main" id="{8624E4A5-1602-4F93-B497-F8D7323B39B1}"/>
              </a:ext>
            </a:extLst>
          </p:cNvPr>
          <p:cNvSpPr/>
          <p:nvPr/>
        </p:nvSpPr>
        <p:spPr>
          <a:xfrm>
            <a:off x="9460302" y="1433265"/>
            <a:ext cx="486653" cy="484407"/>
          </a:xfrm>
          <a:custGeom>
            <a:avLst/>
            <a:gdLst/>
            <a:ahLst/>
            <a:cxnLst/>
            <a:rect l="l" t="t" r="r" b="b"/>
            <a:pathLst>
              <a:path w="3229769" h="3214867">
                <a:moveTo>
                  <a:pt x="388922" y="0"/>
                </a:moveTo>
                <a:cubicBezTo>
                  <a:pt x="481031" y="0"/>
                  <a:pt x="564991" y="34887"/>
                  <a:pt x="627459" y="93109"/>
                </a:cubicBezTo>
                <a:cubicBezTo>
                  <a:pt x="689927" y="34887"/>
                  <a:pt x="773888" y="0"/>
                  <a:pt x="865996" y="0"/>
                </a:cubicBezTo>
                <a:cubicBezTo>
                  <a:pt x="958105" y="0"/>
                  <a:pt x="1042065" y="34887"/>
                  <a:pt x="1104533" y="93109"/>
                </a:cubicBezTo>
                <a:cubicBezTo>
                  <a:pt x="1167001" y="34887"/>
                  <a:pt x="1250962" y="0"/>
                  <a:pt x="1343070" y="0"/>
                </a:cubicBezTo>
                <a:cubicBezTo>
                  <a:pt x="1435179" y="0"/>
                  <a:pt x="1519139" y="34887"/>
                  <a:pt x="1581607" y="93109"/>
                </a:cubicBezTo>
                <a:cubicBezTo>
                  <a:pt x="1644075" y="34887"/>
                  <a:pt x="1728036" y="0"/>
                  <a:pt x="1820144" y="0"/>
                </a:cubicBezTo>
                <a:cubicBezTo>
                  <a:pt x="1912253" y="0"/>
                  <a:pt x="1996213" y="34887"/>
                  <a:pt x="2058681" y="93109"/>
                </a:cubicBezTo>
                <a:cubicBezTo>
                  <a:pt x="2121149" y="34887"/>
                  <a:pt x="2205110" y="0"/>
                  <a:pt x="2297218" y="0"/>
                </a:cubicBezTo>
                <a:cubicBezTo>
                  <a:pt x="2389326" y="0"/>
                  <a:pt x="2473286" y="34887"/>
                  <a:pt x="2535755" y="93108"/>
                </a:cubicBezTo>
                <a:cubicBezTo>
                  <a:pt x="2598223" y="34887"/>
                  <a:pt x="2682183" y="0"/>
                  <a:pt x="2774291" y="0"/>
                </a:cubicBezTo>
                <a:cubicBezTo>
                  <a:pt x="2971429" y="0"/>
                  <a:pt x="3131241" y="159812"/>
                  <a:pt x="3131241" y="356950"/>
                </a:cubicBezTo>
                <a:cubicBezTo>
                  <a:pt x="3131241" y="414550"/>
                  <a:pt x="3117598" y="468963"/>
                  <a:pt x="3092026" y="516460"/>
                </a:cubicBezTo>
                <a:cubicBezTo>
                  <a:pt x="3176259" y="580602"/>
                  <a:pt x="3229769" y="682177"/>
                  <a:pt x="3229769" y="796250"/>
                </a:cubicBezTo>
                <a:cubicBezTo>
                  <a:pt x="3229769" y="902465"/>
                  <a:pt x="3183377" y="997845"/>
                  <a:pt x="3108820" y="1062184"/>
                </a:cubicBezTo>
                <a:cubicBezTo>
                  <a:pt x="3183377" y="1126523"/>
                  <a:pt x="3229769" y="1221903"/>
                  <a:pt x="3229769" y="1328118"/>
                </a:cubicBezTo>
                <a:cubicBezTo>
                  <a:pt x="3229769" y="1434333"/>
                  <a:pt x="3183377" y="1529713"/>
                  <a:pt x="3108820" y="1594052"/>
                </a:cubicBezTo>
                <a:cubicBezTo>
                  <a:pt x="3183377" y="1658391"/>
                  <a:pt x="3229769" y="1753771"/>
                  <a:pt x="3229769" y="1859986"/>
                </a:cubicBezTo>
                <a:cubicBezTo>
                  <a:pt x="3229769" y="2057124"/>
                  <a:pt x="3069957" y="2216936"/>
                  <a:pt x="2872819" y="2216936"/>
                </a:cubicBezTo>
                <a:lnTo>
                  <a:pt x="2849067" y="2214542"/>
                </a:lnTo>
                <a:cubicBezTo>
                  <a:pt x="2790894" y="2329236"/>
                  <a:pt x="2671548" y="2406987"/>
                  <a:pt x="2534043" y="2406987"/>
                </a:cubicBezTo>
                <a:cubicBezTo>
                  <a:pt x="2483158" y="2406987"/>
                  <a:pt x="2434760" y="2396340"/>
                  <a:pt x="2391120" y="2376775"/>
                </a:cubicBezTo>
                <a:cubicBezTo>
                  <a:pt x="2326908" y="2456876"/>
                  <a:pt x="2228003" y="2507238"/>
                  <a:pt x="2117336" y="2507238"/>
                </a:cubicBezTo>
                <a:lnTo>
                  <a:pt x="2081608" y="2503636"/>
                </a:lnTo>
                <a:cubicBezTo>
                  <a:pt x="2058765" y="2546355"/>
                  <a:pt x="2027330" y="2583686"/>
                  <a:pt x="1987704" y="2611019"/>
                </a:cubicBezTo>
                <a:cubicBezTo>
                  <a:pt x="2049806" y="2674751"/>
                  <a:pt x="2087711" y="2761907"/>
                  <a:pt x="2087711" y="2857917"/>
                </a:cubicBezTo>
                <a:cubicBezTo>
                  <a:pt x="2087711" y="3055055"/>
                  <a:pt x="1927899" y="3214867"/>
                  <a:pt x="1730761" y="3214867"/>
                </a:cubicBezTo>
                <a:cubicBezTo>
                  <a:pt x="1533623" y="3214867"/>
                  <a:pt x="1373811" y="3055055"/>
                  <a:pt x="1373811" y="2857917"/>
                </a:cubicBezTo>
                <a:cubicBezTo>
                  <a:pt x="1373811" y="2743560"/>
                  <a:pt x="1427588" y="2641764"/>
                  <a:pt x="1512161" y="2577627"/>
                </a:cubicBezTo>
                <a:cubicBezTo>
                  <a:pt x="1450743" y="2514125"/>
                  <a:pt x="1413385" y="2427536"/>
                  <a:pt x="1413385" y="2332221"/>
                </a:cubicBezTo>
                <a:cubicBezTo>
                  <a:pt x="1413385" y="2135083"/>
                  <a:pt x="1573197" y="1975271"/>
                  <a:pt x="1770335" y="1975271"/>
                </a:cubicBezTo>
                <a:lnTo>
                  <a:pt x="1806063" y="1978873"/>
                </a:lnTo>
                <a:cubicBezTo>
                  <a:pt x="1865384" y="1867935"/>
                  <a:pt x="1982649" y="1793338"/>
                  <a:pt x="2117336" y="1793338"/>
                </a:cubicBezTo>
                <a:cubicBezTo>
                  <a:pt x="2168221" y="1793338"/>
                  <a:pt x="2216619" y="1803986"/>
                  <a:pt x="2260259" y="1823550"/>
                </a:cubicBezTo>
                <a:cubicBezTo>
                  <a:pt x="2324471" y="1743450"/>
                  <a:pt x="2423376" y="1693087"/>
                  <a:pt x="2534043" y="1693087"/>
                </a:cubicBezTo>
                <a:lnTo>
                  <a:pt x="2557875" y="1695490"/>
                </a:lnTo>
                <a:cubicBezTo>
                  <a:pt x="2576891" y="1656391"/>
                  <a:pt x="2604151" y="1622242"/>
                  <a:pt x="2636819" y="1594052"/>
                </a:cubicBezTo>
                <a:cubicBezTo>
                  <a:pt x="2562261" y="1529713"/>
                  <a:pt x="2515869" y="1434333"/>
                  <a:pt x="2515869" y="1328118"/>
                </a:cubicBezTo>
                <a:cubicBezTo>
                  <a:pt x="2515869" y="1221903"/>
                  <a:pt x="2562261" y="1126523"/>
                  <a:pt x="2636819" y="1062184"/>
                </a:cubicBezTo>
                <a:cubicBezTo>
                  <a:pt x="2562261" y="997845"/>
                  <a:pt x="2515869" y="902465"/>
                  <a:pt x="2515869" y="796250"/>
                </a:cubicBezTo>
                <a:cubicBezTo>
                  <a:pt x="2515869" y="738650"/>
                  <a:pt x="2529512" y="684237"/>
                  <a:pt x="2555084" y="636740"/>
                </a:cubicBezTo>
                <a:lnTo>
                  <a:pt x="2537209" y="619592"/>
                </a:lnTo>
                <a:cubicBezTo>
                  <a:pt x="2474524" y="678496"/>
                  <a:pt x="2390006" y="713900"/>
                  <a:pt x="2297218" y="713900"/>
                </a:cubicBezTo>
                <a:cubicBezTo>
                  <a:pt x="2205110" y="713900"/>
                  <a:pt x="2121149" y="679013"/>
                  <a:pt x="2058681" y="620791"/>
                </a:cubicBezTo>
                <a:cubicBezTo>
                  <a:pt x="1996213" y="679013"/>
                  <a:pt x="1912253" y="713900"/>
                  <a:pt x="1820144" y="713900"/>
                </a:cubicBezTo>
                <a:cubicBezTo>
                  <a:pt x="1728036" y="713900"/>
                  <a:pt x="1644075" y="679013"/>
                  <a:pt x="1581607" y="620791"/>
                </a:cubicBezTo>
                <a:cubicBezTo>
                  <a:pt x="1519139" y="679013"/>
                  <a:pt x="1435179" y="713900"/>
                  <a:pt x="1343070" y="713900"/>
                </a:cubicBezTo>
                <a:cubicBezTo>
                  <a:pt x="1250962" y="713900"/>
                  <a:pt x="1167001" y="679013"/>
                  <a:pt x="1104533" y="620791"/>
                </a:cubicBezTo>
                <a:cubicBezTo>
                  <a:pt x="1042065" y="679013"/>
                  <a:pt x="958105" y="713900"/>
                  <a:pt x="865996" y="713900"/>
                </a:cubicBezTo>
                <a:cubicBezTo>
                  <a:pt x="773370" y="713900"/>
                  <a:pt x="688985" y="678620"/>
                  <a:pt x="626352" y="619878"/>
                </a:cubicBezTo>
                <a:cubicBezTo>
                  <a:pt x="623659" y="623930"/>
                  <a:pt x="620064" y="626957"/>
                  <a:pt x="616405" y="629911"/>
                </a:cubicBezTo>
                <a:cubicBezTo>
                  <a:pt x="686492" y="694366"/>
                  <a:pt x="729886" y="786957"/>
                  <a:pt x="729886" y="889683"/>
                </a:cubicBezTo>
                <a:cubicBezTo>
                  <a:pt x="729886" y="993972"/>
                  <a:pt x="685162" y="1087815"/>
                  <a:pt x="613058" y="1152216"/>
                </a:cubicBezTo>
                <a:cubicBezTo>
                  <a:pt x="675622" y="1216104"/>
                  <a:pt x="713900" y="1303645"/>
                  <a:pt x="713900" y="1400126"/>
                </a:cubicBezTo>
                <a:cubicBezTo>
                  <a:pt x="713900" y="1487795"/>
                  <a:pt x="682295" y="1568081"/>
                  <a:pt x="628622" y="1629172"/>
                </a:cubicBezTo>
                <a:cubicBezTo>
                  <a:pt x="691419" y="1693140"/>
                  <a:pt x="729886" y="1780874"/>
                  <a:pt x="729886" y="1877593"/>
                </a:cubicBezTo>
                <a:cubicBezTo>
                  <a:pt x="729886" y="2034043"/>
                  <a:pt x="629234" y="2166985"/>
                  <a:pt x="488639" y="2213706"/>
                </a:cubicBezTo>
                <a:lnTo>
                  <a:pt x="488639" y="2375547"/>
                </a:lnTo>
                <a:cubicBezTo>
                  <a:pt x="488639" y="2448277"/>
                  <a:pt x="429679" y="2507237"/>
                  <a:pt x="356949" y="2507237"/>
                </a:cubicBezTo>
                <a:cubicBezTo>
                  <a:pt x="284219" y="2507237"/>
                  <a:pt x="225259" y="2448277"/>
                  <a:pt x="225259" y="2375547"/>
                </a:cubicBezTo>
                <a:lnTo>
                  <a:pt x="225259" y="2201750"/>
                </a:lnTo>
                <a:cubicBezTo>
                  <a:pt x="101654" y="2146256"/>
                  <a:pt x="15986" y="2021929"/>
                  <a:pt x="15986" y="1877593"/>
                </a:cubicBezTo>
                <a:cubicBezTo>
                  <a:pt x="15986" y="1789924"/>
                  <a:pt x="47591" y="1709638"/>
                  <a:pt x="101264" y="1648547"/>
                </a:cubicBezTo>
                <a:cubicBezTo>
                  <a:pt x="38467" y="1584579"/>
                  <a:pt x="0" y="1496845"/>
                  <a:pt x="0" y="1400126"/>
                </a:cubicBezTo>
                <a:cubicBezTo>
                  <a:pt x="0" y="1295837"/>
                  <a:pt x="44724" y="1201994"/>
                  <a:pt x="116828" y="1137593"/>
                </a:cubicBezTo>
                <a:cubicBezTo>
                  <a:pt x="54264" y="1073704"/>
                  <a:pt x="15986" y="986164"/>
                  <a:pt x="15986" y="889683"/>
                </a:cubicBezTo>
                <a:cubicBezTo>
                  <a:pt x="15986" y="779482"/>
                  <a:pt x="65925" y="680945"/>
                  <a:pt x="145453" y="616722"/>
                </a:cubicBezTo>
                <a:cubicBezTo>
                  <a:pt x="75366" y="552267"/>
                  <a:pt x="31972" y="459676"/>
                  <a:pt x="31972" y="356950"/>
                </a:cubicBezTo>
                <a:cubicBezTo>
                  <a:pt x="31972" y="159812"/>
                  <a:pt x="191784" y="0"/>
                  <a:pt x="38892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63" name="Freeform 101">
            <a:extLst>
              <a:ext uri="{FF2B5EF4-FFF2-40B4-BE49-F238E27FC236}">
                <a16:creationId xmlns:a16="http://schemas.microsoft.com/office/drawing/2014/main" id="{398DE87D-E996-4168-8931-FBF1633FDCD5}"/>
              </a:ext>
            </a:extLst>
          </p:cNvPr>
          <p:cNvSpPr/>
          <p:nvPr/>
        </p:nvSpPr>
        <p:spPr>
          <a:xfrm>
            <a:off x="11180535" y="1485955"/>
            <a:ext cx="284691" cy="379029"/>
          </a:xfrm>
          <a:custGeom>
            <a:avLst/>
            <a:gdLst>
              <a:gd name="connsiteX0" fmla="*/ 143301 w 1910686"/>
              <a:gd name="connsiteY0" fmla="*/ 0 h 3268639"/>
              <a:gd name="connsiteX1" fmla="*/ 0 w 1910686"/>
              <a:gd name="connsiteY1" fmla="*/ 1705970 h 3268639"/>
              <a:gd name="connsiteX2" fmla="*/ 436728 w 1910686"/>
              <a:gd name="connsiteY2" fmla="*/ 3268639 h 3268639"/>
              <a:gd name="connsiteX3" fmla="*/ 928047 w 1910686"/>
              <a:gd name="connsiteY3" fmla="*/ 1944806 h 3268639"/>
              <a:gd name="connsiteX4" fmla="*/ 1364776 w 1910686"/>
              <a:gd name="connsiteY4" fmla="*/ 3268639 h 3268639"/>
              <a:gd name="connsiteX5" fmla="*/ 1910686 w 1910686"/>
              <a:gd name="connsiteY5" fmla="*/ 1726442 h 3268639"/>
              <a:gd name="connsiteX6" fmla="*/ 1603612 w 1910686"/>
              <a:gd name="connsiteY6" fmla="*/ 6824 h 3268639"/>
              <a:gd name="connsiteX7" fmla="*/ 1521725 w 1910686"/>
              <a:gd name="connsiteY7" fmla="*/ 20472 h 3268639"/>
              <a:gd name="connsiteX8" fmla="*/ 907576 w 1910686"/>
              <a:gd name="connsiteY8" fmla="*/ 163773 h 3268639"/>
              <a:gd name="connsiteX9" fmla="*/ 143301 w 1910686"/>
              <a:gd name="connsiteY9" fmla="*/ 0 h 3268639"/>
              <a:gd name="connsiteX0" fmla="*/ 143301 w 1910686"/>
              <a:gd name="connsiteY0" fmla="*/ 27296 h 3261815"/>
              <a:gd name="connsiteX1" fmla="*/ 0 w 1910686"/>
              <a:gd name="connsiteY1" fmla="*/ 1699146 h 3261815"/>
              <a:gd name="connsiteX2" fmla="*/ 436728 w 1910686"/>
              <a:gd name="connsiteY2" fmla="*/ 3261815 h 3261815"/>
              <a:gd name="connsiteX3" fmla="*/ 928047 w 1910686"/>
              <a:gd name="connsiteY3" fmla="*/ 1937982 h 3261815"/>
              <a:gd name="connsiteX4" fmla="*/ 1364776 w 1910686"/>
              <a:gd name="connsiteY4" fmla="*/ 3261815 h 3261815"/>
              <a:gd name="connsiteX5" fmla="*/ 1910686 w 1910686"/>
              <a:gd name="connsiteY5" fmla="*/ 1719618 h 3261815"/>
              <a:gd name="connsiteX6" fmla="*/ 1603612 w 1910686"/>
              <a:gd name="connsiteY6" fmla="*/ 0 h 3261815"/>
              <a:gd name="connsiteX7" fmla="*/ 1521725 w 1910686"/>
              <a:gd name="connsiteY7" fmla="*/ 13648 h 3261815"/>
              <a:gd name="connsiteX8" fmla="*/ 907576 w 1910686"/>
              <a:gd name="connsiteY8" fmla="*/ 156949 h 3261815"/>
              <a:gd name="connsiteX9" fmla="*/ 143301 w 1910686"/>
              <a:gd name="connsiteY9" fmla="*/ 27296 h 3261815"/>
              <a:gd name="connsiteX0" fmla="*/ 143301 w 1910686"/>
              <a:gd name="connsiteY0" fmla="*/ 27296 h 3261815"/>
              <a:gd name="connsiteX1" fmla="*/ 0 w 1910686"/>
              <a:gd name="connsiteY1" fmla="*/ 1699146 h 3261815"/>
              <a:gd name="connsiteX2" fmla="*/ 436728 w 1910686"/>
              <a:gd name="connsiteY2" fmla="*/ 3261815 h 3261815"/>
              <a:gd name="connsiteX3" fmla="*/ 928047 w 1910686"/>
              <a:gd name="connsiteY3" fmla="*/ 1937982 h 3261815"/>
              <a:gd name="connsiteX4" fmla="*/ 1364776 w 1910686"/>
              <a:gd name="connsiteY4" fmla="*/ 3261815 h 3261815"/>
              <a:gd name="connsiteX5" fmla="*/ 1910686 w 1910686"/>
              <a:gd name="connsiteY5" fmla="*/ 1719618 h 3261815"/>
              <a:gd name="connsiteX6" fmla="*/ 1603612 w 1910686"/>
              <a:gd name="connsiteY6" fmla="*/ 0 h 3261815"/>
              <a:gd name="connsiteX7" fmla="*/ 1521725 w 1910686"/>
              <a:gd name="connsiteY7" fmla="*/ 13648 h 3261815"/>
              <a:gd name="connsiteX8" fmla="*/ 907576 w 1910686"/>
              <a:gd name="connsiteY8" fmla="*/ 156949 h 3261815"/>
              <a:gd name="connsiteX9" fmla="*/ 143301 w 1910686"/>
              <a:gd name="connsiteY9" fmla="*/ 27296 h 3261815"/>
              <a:gd name="connsiteX0" fmla="*/ 326627 w 2094012"/>
              <a:gd name="connsiteY0" fmla="*/ 27296 h 3261815"/>
              <a:gd name="connsiteX1" fmla="*/ 183326 w 2094012"/>
              <a:gd name="connsiteY1" fmla="*/ 1699146 h 3261815"/>
              <a:gd name="connsiteX2" fmla="*/ 620054 w 2094012"/>
              <a:gd name="connsiteY2" fmla="*/ 3261815 h 3261815"/>
              <a:gd name="connsiteX3" fmla="*/ 1111373 w 2094012"/>
              <a:gd name="connsiteY3" fmla="*/ 1937982 h 3261815"/>
              <a:gd name="connsiteX4" fmla="*/ 1548102 w 2094012"/>
              <a:gd name="connsiteY4" fmla="*/ 3261815 h 3261815"/>
              <a:gd name="connsiteX5" fmla="*/ 2094012 w 2094012"/>
              <a:gd name="connsiteY5" fmla="*/ 1719618 h 3261815"/>
              <a:gd name="connsiteX6" fmla="*/ 1786938 w 2094012"/>
              <a:gd name="connsiteY6" fmla="*/ 0 h 3261815"/>
              <a:gd name="connsiteX7" fmla="*/ 1705051 w 2094012"/>
              <a:gd name="connsiteY7" fmla="*/ 13648 h 3261815"/>
              <a:gd name="connsiteX8" fmla="*/ 1090902 w 2094012"/>
              <a:gd name="connsiteY8" fmla="*/ 156949 h 3261815"/>
              <a:gd name="connsiteX9" fmla="*/ 326627 w 2094012"/>
              <a:gd name="connsiteY9" fmla="*/ 27296 h 3261815"/>
              <a:gd name="connsiteX0" fmla="*/ 402442 w 2169827"/>
              <a:gd name="connsiteY0" fmla="*/ 27296 h 3261815"/>
              <a:gd name="connsiteX1" fmla="*/ 259141 w 2169827"/>
              <a:gd name="connsiteY1" fmla="*/ 1699146 h 3261815"/>
              <a:gd name="connsiteX2" fmla="*/ 695869 w 2169827"/>
              <a:gd name="connsiteY2" fmla="*/ 3261815 h 3261815"/>
              <a:gd name="connsiteX3" fmla="*/ 1187188 w 2169827"/>
              <a:gd name="connsiteY3" fmla="*/ 1937982 h 3261815"/>
              <a:gd name="connsiteX4" fmla="*/ 1623917 w 2169827"/>
              <a:gd name="connsiteY4" fmla="*/ 3261815 h 3261815"/>
              <a:gd name="connsiteX5" fmla="*/ 2169827 w 2169827"/>
              <a:gd name="connsiteY5" fmla="*/ 1719618 h 3261815"/>
              <a:gd name="connsiteX6" fmla="*/ 1862753 w 2169827"/>
              <a:gd name="connsiteY6" fmla="*/ 0 h 3261815"/>
              <a:gd name="connsiteX7" fmla="*/ 1780866 w 2169827"/>
              <a:gd name="connsiteY7" fmla="*/ 13648 h 3261815"/>
              <a:gd name="connsiteX8" fmla="*/ 1166717 w 2169827"/>
              <a:gd name="connsiteY8" fmla="*/ 156949 h 3261815"/>
              <a:gd name="connsiteX9" fmla="*/ 402442 w 2169827"/>
              <a:gd name="connsiteY9" fmla="*/ 27296 h 3261815"/>
              <a:gd name="connsiteX0" fmla="*/ 402442 w 2169827"/>
              <a:gd name="connsiteY0" fmla="*/ 27296 h 3261815"/>
              <a:gd name="connsiteX1" fmla="*/ 259141 w 2169827"/>
              <a:gd name="connsiteY1" fmla="*/ 1699146 h 3261815"/>
              <a:gd name="connsiteX2" fmla="*/ 695869 w 2169827"/>
              <a:gd name="connsiteY2" fmla="*/ 3261815 h 3261815"/>
              <a:gd name="connsiteX3" fmla="*/ 1187188 w 2169827"/>
              <a:gd name="connsiteY3" fmla="*/ 1937982 h 3261815"/>
              <a:gd name="connsiteX4" fmla="*/ 1623917 w 2169827"/>
              <a:gd name="connsiteY4" fmla="*/ 3261815 h 3261815"/>
              <a:gd name="connsiteX5" fmla="*/ 2169827 w 2169827"/>
              <a:gd name="connsiteY5" fmla="*/ 1719618 h 3261815"/>
              <a:gd name="connsiteX6" fmla="*/ 1862753 w 2169827"/>
              <a:gd name="connsiteY6" fmla="*/ 0 h 3261815"/>
              <a:gd name="connsiteX7" fmla="*/ 1780866 w 2169827"/>
              <a:gd name="connsiteY7" fmla="*/ 13648 h 3261815"/>
              <a:gd name="connsiteX8" fmla="*/ 1166717 w 2169827"/>
              <a:gd name="connsiteY8" fmla="*/ 156949 h 3261815"/>
              <a:gd name="connsiteX9" fmla="*/ 402442 w 2169827"/>
              <a:gd name="connsiteY9" fmla="*/ 27296 h 3261815"/>
              <a:gd name="connsiteX0" fmla="*/ 377501 w 2144886"/>
              <a:gd name="connsiteY0" fmla="*/ 27296 h 3261815"/>
              <a:gd name="connsiteX1" fmla="*/ 295615 w 2144886"/>
              <a:gd name="connsiteY1" fmla="*/ 1774209 h 3261815"/>
              <a:gd name="connsiteX2" fmla="*/ 670928 w 2144886"/>
              <a:gd name="connsiteY2" fmla="*/ 3261815 h 3261815"/>
              <a:gd name="connsiteX3" fmla="*/ 1162247 w 2144886"/>
              <a:gd name="connsiteY3" fmla="*/ 1937982 h 3261815"/>
              <a:gd name="connsiteX4" fmla="*/ 1598976 w 2144886"/>
              <a:gd name="connsiteY4" fmla="*/ 3261815 h 3261815"/>
              <a:gd name="connsiteX5" fmla="*/ 2144886 w 2144886"/>
              <a:gd name="connsiteY5" fmla="*/ 1719618 h 3261815"/>
              <a:gd name="connsiteX6" fmla="*/ 1837812 w 2144886"/>
              <a:gd name="connsiteY6" fmla="*/ 0 h 3261815"/>
              <a:gd name="connsiteX7" fmla="*/ 1755925 w 2144886"/>
              <a:gd name="connsiteY7" fmla="*/ 13648 h 3261815"/>
              <a:gd name="connsiteX8" fmla="*/ 1141776 w 2144886"/>
              <a:gd name="connsiteY8" fmla="*/ 156949 h 3261815"/>
              <a:gd name="connsiteX9" fmla="*/ 377501 w 2144886"/>
              <a:gd name="connsiteY9" fmla="*/ 27296 h 3261815"/>
              <a:gd name="connsiteX0" fmla="*/ 408239 w 2175624"/>
              <a:gd name="connsiteY0" fmla="*/ 27296 h 3261815"/>
              <a:gd name="connsiteX1" fmla="*/ 326353 w 2175624"/>
              <a:gd name="connsiteY1" fmla="*/ 1774209 h 3261815"/>
              <a:gd name="connsiteX2" fmla="*/ 701666 w 2175624"/>
              <a:gd name="connsiteY2" fmla="*/ 3261815 h 3261815"/>
              <a:gd name="connsiteX3" fmla="*/ 1192985 w 2175624"/>
              <a:gd name="connsiteY3" fmla="*/ 1937982 h 3261815"/>
              <a:gd name="connsiteX4" fmla="*/ 1629714 w 2175624"/>
              <a:gd name="connsiteY4" fmla="*/ 3261815 h 3261815"/>
              <a:gd name="connsiteX5" fmla="*/ 2175624 w 2175624"/>
              <a:gd name="connsiteY5" fmla="*/ 1719618 h 3261815"/>
              <a:gd name="connsiteX6" fmla="*/ 1868550 w 2175624"/>
              <a:gd name="connsiteY6" fmla="*/ 0 h 3261815"/>
              <a:gd name="connsiteX7" fmla="*/ 1786663 w 2175624"/>
              <a:gd name="connsiteY7" fmla="*/ 13648 h 3261815"/>
              <a:gd name="connsiteX8" fmla="*/ 1172514 w 2175624"/>
              <a:gd name="connsiteY8" fmla="*/ 156949 h 3261815"/>
              <a:gd name="connsiteX9" fmla="*/ 408239 w 2175624"/>
              <a:gd name="connsiteY9" fmla="*/ 27296 h 3261815"/>
              <a:gd name="connsiteX0" fmla="*/ 408239 w 2175624"/>
              <a:gd name="connsiteY0" fmla="*/ 27296 h 3261815"/>
              <a:gd name="connsiteX1" fmla="*/ 326353 w 2175624"/>
              <a:gd name="connsiteY1" fmla="*/ 1774209 h 3261815"/>
              <a:gd name="connsiteX2" fmla="*/ 701666 w 2175624"/>
              <a:gd name="connsiteY2" fmla="*/ 3261815 h 3261815"/>
              <a:gd name="connsiteX3" fmla="*/ 1192985 w 2175624"/>
              <a:gd name="connsiteY3" fmla="*/ 1937982 h 3261815"/>
              <a:gd name="connsiteX4" fmla="*/ 1629714 w 2175624"/>
              <a:gd name="connsiteY4" fmla="*/ 3261815 h 3261815"/>
              <a:gd name="connsiteX5" fmla="*/ 2175624 w 2175624"/>
              <a:gd name="connsiteY5" fmla="*/ 1719618 h 3261815"/>
              <a:gd name="connsiteX6" fmla="*/ 1868550 w 2175624"/>
              <a:gd name="connsiteY6" fmla="*/ 0 h 3261815"/>
              <a:gd name="connsiteX7" fmla="*/ 1786663 w 2175624"/>
              <a:gd name="connsiteY7" fmla="*/ 13648 h 3261815"/>
              <a:gd name="connsiteX8" fmla="*/ 1172514 w 2175624"/>
              <a:gd name="connsiteY8" fmla="*/ 156949 h 3261815"/>
              <a:gd name="connsiteX9" fmla="*/ 408239 w 2175624"/>
              <a:gd name="connsiteY9" fmla="*/ 27296 h 3261815"/>
              <a:gd name="connsiteX0" fmla="*/ 408239 w 2175624"/>
              <a:gd name="connsiteY0" fmla="*/ 27296 h 3261815"/>
              <a:gd name="connsiteX1" fmla="*/ 326353 w 2175624"/>
              <a:gd name="connsiteY1" fmla="*/ 1774209 h 3261815"/>
              <a:gd name="connsiteX2" fmla="*/ 701666 w 2175624"/>
              <a:gd name="connsiteY2" fmla="*/ 3261815 h 3261815"/>
              <a:gd name="connsiteX3" fmla="*/ 1192985 w 2175624"/>
              <a:gd name="connsiteY3" fmla="*/ 1937982 h 3261815"/>
              <a:gd name="connsiteX4" fmla="*/ 1629714 w 2175624"/>
              <a:gd name="connsiteY4" fmla="*/ 3261815 h 3261815"/>
              <a:gd name="connsiteX5" fmla="*/ 2175624 w 2175624"/>
              <a:gd name="connsiteY5" fmla="*/ 1719618 h 3261815"/>
              <a:gd name="connsiteX6" fmla="*/ 1868550 w 2175624"/>
              <a:gd name="connsiteY6" fmla="*/ 0 h 3261815"/>
              <a:gd name="connsiteX7" fmla="*/ 1786663 w 2175624"/>
              <a:gd name="connsiteY7" fmla="*/ 13648 h 3261815"/>
              <a:gd name="connsiteX8" fmla="*/ 1172514 w 2175624"/>
              <a:gd name="connsiteY8" fmla="*/ 156949 h 3261815"/>
              <a:gd name="connsiteX9" fmla="*/ 408239 w 2175624"/>
              <a:gd name="connsiteY9" fmla="*/ 27296 h 3261815"/>
              <a:gd name="connsiteX0" fmla="*/ 408239 w 2175624"/>
              <a:gd name="connsiteY0" fmla="*/ 27296 h 3261815"/>
              <a:gd name="connsiteX1" fmla="*/ 326353 w 2175624"/>
              <a:gd name="connsiteY1" fmla="*/ 1774209 h 3261815"/>
              <a:gd name="connsiteX2" fmla="*/ 701666 w 2175624"/>
              <a:gd name="connsiteY2" fmla="*/ 3261815 h 3261815"/>
              <a:gd name="connsiteX3" fmla="*/ 1192985 w 2175624"/>
              <a:gd name="connsiteY3" fmla="*/ 1937982 h 3261815"/>
              <a:gd name="connsiteX4" fmla="*/ 1629714 w 2175624"/>
              <a:gd name="connsiteY4" fmla="*/ 3261815 h 3261815"/>
              <a:gd name="connsiteX5" fmla="*/ 2175624 w 2175624"/>
              <a:gd name="connsiteY5" fmla="*/ 1719618 h 3261815"/>
              <a:gd name="connsiteX6" fmla="*/ 1868550 w 2175624"/>
              <a:gd name="connsiteY6" fmla="*/ 0 h 3261815"/>
              <a:gd name="connsiteX7" fmla="*/ 1786663 w 2175624"/>
              <a:gd name="connsiteY7" fmla="*/ 13648 h 3261815"/>
              <a:gd name="connsiteX8" fmla="*/ 1172514 w 2175624"/>
              <a:gd name="connsiteY8" fmla="*/ 156949 h 3261815"/>
              <a:gd name="connsiteX9" fmla="*/ 408239 w 2175624"/>
              <a:gd name="connsiteY9" fmla="*/ 27296 h 3261815"/>
              <a:gd name="connsiteX0" fmla="*/ 411154 w 2178539"/>
              <a:gd name="connsiteY0" fmla="*/ 27296 h 3261815"/>
              <a:gd name="connsiteX1" fmla="*/ 322444 w 2178539"/>
              <a:gd name="connsiteY1" fmla="*/ 1801504 h 3261815"/>
              <a:gd name="connsiteX2" fmla="*/ 704581 w 2178539"/>
              <a:gd name="connsiteY2" fmla="*/ 3261815 h 3261815"/>
              <a:gd name="connsiteX3" fmla="*/ 1195900 w 2178539"/>
              <a:gd name="connsiteY3" fmla="*/ 1937982 h 3261815"/>
              <a:gd name="connsiteX4" fmla="*/ 1632629 w 2178539"/>
              <a:gd name="connsiteY4" fmla="*/ 3261815 h 3261815"/>
              <a:gd name="connsiteX5" fmla="*/ 2178539 w 2178539"/>
              <a:gd name="connsiteY5" fmla="*/ 1719618 h 3261815"/>
              <a:gd name="connsiteX6" fmla="*/ 1871465 w 2178539"/>
              <a:gd name="connsiteY6" fmla="*/ 0 h 3261815"/>
              <a:gd name="connsiteX7" fmla="*/ 1789578 w 2178539"/>
              <a:gd name="connsiteY7" fmla="*/ 13648 h 3261815"/>
              <a:gd name="connsiteX8" fmla="*/ 1175429 w 2178539"/>
              <a:gd name="connsiteY8" fmla="*/ 156949 h 3261815"/>
              <a:gd name="connsiteX9" fmla="*/ 411154 w 2178539"/>
              <a:gd name="connsiteY9" fmla="*/ 27296 h 3261815"/>
              <a:gd name="connsiteX0" fmla="*/ 411154 w 2178539"/>
              <a:gd name="connsiteY0" fmla="*/ 27296 h 3261815"/>
              <a:gd name="connsiteX1" fmla="*/ 322444 w 2178539"/>
              <a:gd name="connsiteY1" fmla="*/ 1801504 h 3261815"/>
              <a:gd name="connsiteX2" fmla="*/ 704581 w 2178539"/>
              <a:gd name="connsiteY2" fmla="*/ 3261815 h 3261815"/>
              <a:gd name="connsiteX3" fmla="*/ 1195900 w 2178539"/>
              <a:gd name="connsiteY3" fmla="*/ 1937982 h 3261815"/>
              <a:gd name="connsiteX4" fmla="*/ 1632629 w 2178539"/>
              <a:gd name="connsiteY4" fmla="*/ 3261815 h 3261815"/>
              <a:gd name="connsiteX5" fmla="*/ 2178539 w 2178539"/>
              <a:gd name="connsiteY5" fmla="*/ 1719618 h 3261815"/>
              <a:gd name="connsiteX6" fmla="*/ 1871465 w 2178539"/>
              <a:gd name="connsiteY6" fmla="*/ 0 h 3261815"/>
              <a:gd name="connsiteX7" fmla="*/ 1789578 w 2178539"/>
              <a:gd name="connsiteY7" fmla="*/ 13648 h 3261815"/>
              <a:gd name="connsiteX8" fmla="*/ 1175429 w 2178539"/>
              <a:gd name="connsiteY8" fmla="*/ 156949 h 3261815"/>
              <a:gd name="connsiteX9" fmla="*/ 411154 w 2178539"/>
              <a:gd name="connsiteY9" fmla="*/ 27296 h 3261815"/>
              <a:gd name="connsiteX0" fmla="*/ 411154 w 2178539"/>
              <a:gd name="connsiteY0" fmla="*/ 27296 h 3261815"/>
              <a:gd name="connsiteX1" fmla="*/ 322444 w 2178539"/>
              <a:gd name="connsiteY1" fmla="*/ 1801504 h 3261815"/>
              <a:gd name="connsiteX2" fmla="*/ 704581 w 2178539"/>
              <a:gd name="connsiteY2" fmla="*/ 3261815 h 3261815"/>
              <a:gd name="connsiteX3" fmla="*/ 1195900 w 2178539"/>
              <a:gd name="connsiteY3" fmla="*/ 1937982 h 3261815"/>
              <a:gd name="connsiteX4" fmla="*/ 1632629 w 2178539"/>
              <a:gd name="connsiteY4" fmla="*/ 3261815 h 3261815"/>
              <a:gd name="connsiteX5" fmla="*/ 2178539 w 2178539"/>
              <a:gd name="connsiteY5" fmla="*/ 1719618 h 3261815"/>
              <a:gd name="connsiteX6" fmla="*/ 1871465 w 2178539"/>
              <a:gd name="connsiteY6" fmla="*/ 0 h 3261815"/>
              <a:gd name="connsiteX7" fmla="*/ 1789578 w 2178539"/>
              <a:gd name="connsiteY7" fmla="*/ 13648 h 3261815"/>
              <a:gd name="connsiteX8" fmla="*/ 1175429 w 2178539"/>
              <a:gd name="connsiteY8" fmla="*/ 156949 h 3261815"/>
              <a:gd name="connsiteX9" fmla="*/ 411154 w 2178539"/>
              <a:gd name="connsiteY9" fmla="*/ 27296 h 3261815"/>
              <a:gd name="connsiteX0" fmla="*/ 411154 w 2178539"/>
              <a:gd name="connsiteY0" fmla="*/ 27296 h 3261815"/>
              <a:gd name="connsiteX1" fmla="*/ 322444 w 2178539"/>
              <a:gd name="connsiteY1" fmla="*/ 1801504 h 3261815"/>
              <a:gd name="connsiteX2" fmla="*/ 704581 w 2178539"/>
              <a:gd name="connsiteY2" fmla="*/ 3261815 h 3261815"/>
              <a:gd name="connsiteX3" fmla="*/ 1195900 w 2178539"/>
              <a:gd name="connsiteY3" fmla="*/ 1937982 h 3261815"/>
              <a:gd name="connsiteX4" fmla="*/ 1632629 w 2178539"/>
              <a:gd name="connsiteY4" fmla="*/ 3261815 h 3261815"/>
              <a:gd name="connsiteX5" fmla="*/ 2178539 w 2178539"/>
              <a:gd name="connsiteY5" fmla="*/ 1719618 h 3261815"/>
              <a:gd name="connsiteX6" fmla="*/ 1871465 w 2178539"/>
              <a:gd name="connsiteY6" fmla="*/ 0 h 3261815"/>
              <a:gd name="connsiteX7" fmla="*/ 1789578 w 2178539"/>
              <a:gd name="connsiteY7" fmla="*/ 13648 h 3261815"/>
              <a:gd name="connsiteX8" fmla="*/ 1175429 w 2178539"/>
              <a:gd name="connsiteY8" fmla="*/ 156949 h 3261815"/>
              <a:gd name="connsiteX9" fmla="*/ 411154 w 2178539"/>
              <a:gd name="connsiteY9" fmla="*/ 27296 h 3261815"/>
              <a:gd name="connsiteX0" fmla="*/ 411154 w 2178539"/>
              <a:gd name="connsiteY0" fmla="*/ 27296 h 3261815"/>
              <a:gd name="connsiteX1" fmla="*/ 322444 w 2178539"/>
              <a:gd name="connsiteY1" fmla="*/ 1801504 h 3261815"/>
              <a:gd name="connsiteX2" fmla="*/ 704581 w 2178539"/>
              <a:gd name="connsiteY2" fmla="*/ 3261815 h 3261815"/>
              <a:gd name="connsiteX3" fmla="*/ 1195900 w 2178539"/>
              <a:gd name="connsiteY3" fmla="*/ 1937982 h 3261815"/>
              <a:gd name="connsiteX4" fmla="*/ 1632629 w 2178539"/>
              <a:gd name="connsiteY4" fmla="*/ 3261815 h 3261815"/>
              <a:gd name="connsiteX5" fmla="*/ 2178539 w 2178539"/>
              <a:gd name="connsiteY5" fmla="*/ 1719618 h 3261815"/>
              <a:gd name="connsiteX6" fmla="*/ 1871465 w 2178539"/>
              <a:gd name="connsiteY6" fmla="*/ 0 h 3261815"/>
              <a:gd name="connsiteX7" fmla="*/ 1789578 w 2178539"/>
              <a:gd name="connsiteY7" fmla="*/ 13648 h 3261815"/>
              <a:gd name="connsiteX8" fmla="*/ 1175429 w 2178539"/>
              <a:gd name="connsiteY8" fmla="*/ 156949 h 3261815"/>
              <a:gd name="connsiteX9" fmla="*/ 411154 w 2178539"/>
              <a:gd name="connsiteY9" fmla="*/ 27296 h 3261815"/>
              <a:gd name="connsiteX0" fmla="*/ 411154 w 2178539"/>
              <a:gd name="connsiteY0" fmla="*/ 27296 h 3261815"/>
              <a:gd name="connsiteX1" fmla="*/ 322444 w 2178539"/>
              <a:gd name="connsiteY1" fmla="*/ 1801504 h 3261815"/>
              <a:gd name="connsiteX2" fmla="*/ 704581 w 2178539"/>
              <a:gd name="connsiteY2" fmla="*/ 3261815 h 3261815"/>
              <a:gd name="connsiteX3" fmla="*/ 1195900 w 2178539"/>
              <a:gd name="connsiteY3" fmla="*/ 1937982 h 3261815"/>
              <a:gd name="connsiteX4" fmla="*/ 1632629 w 2178539"/>
              <a:gd name="connsiteY4" fmla="*/ 3261815 h 3261815"/>
              <a:gd name="connsiteX5" fmla="*/ 2178539 w 2178539"/>
              <a:gd name="connsiteY5" fmla="*/ 1719618 h 3261815"/>
              <a:gd name="connsiteX6" fmla="*/ 1871465 w 2178539"/>
              <a:gd name="connsiteY6" fmla="*/ 0 h 3261815"/>
              <a:gd name="connsiteX7" fmla="*/ 1789578 w 2178539"/>
              <a:gd name="connsiteY7" fmla="*/ 13648 h 3261815"/>
              <a:gd name="connsiteX8" fmla="*/ 1175429 w 2178539"/>
              <a:gd name="connsiteY8" fmla="*/ 156949 h 3261815"/>
              <a:gd name="connsiteX9" fmla="*/ 411154 w 2178539"/>
              <a:gd name="connsiteY9" fmla="*/ 27296 h 3261815"/>
              <a:gd name="connsiteX0" fmla="*/ 411154 w 2178539"/>
              <a:gd name="connsiteY0" fmla="*/ 27296 h 3261815"/>
              <a:gd name="connsiteX1" fmla="*/ 322444 w 2178539"/>
              <a:gd name="connsiteY1" fmla="*/ 1801504 h 3261815"/>
              <a:gd name="connsiteX2" fmla="*/ 704581 w 2178539"/>
              <a:gd name="connsiteY2" fmla="*/ 3261815 h 3261815"/>
              <a:gd name="connsiteX3" fmla="*/ 1216372 w 2178539"/>
              <a:gd name="connsiteY3" fmla="*/ 1951629 h 3261815"/>
              <a:gd name="connsiteX4" fmla="*/ 1632629 w 2178539"/>
              <a:gd name="connsiteY4" fmla="*/ 3261815 h 3261815"/>
              <a:gd name="connsiteX5" fmla="*/ 2178539 w 2178539"/>
              <a:gd name="connsiteY5" fmla="*/ 1719618 h 3261815"/>
              <a:gd name="connsiteX6" fmla="*/ 1871465 w 2178539"/>
              <a:gd name="connsiteY6" fmla="*/ 0 h 3261815"/>
              <a:gd name="connsiteX7" fmla="*/ 1789578 w 2178539"/>
              <a:gd name="connsiteY7" fmla="*/ 13648 h 3261815"/>
              <a:gd name="connsiteX8" fmla="*/ 1175429 w 2178539"/>
              <a:gd name="connsiteY8" fmla="*/ 156949 h 3261815"/>
              <a:gd name="connsiteX9" fmla="*/ 411154 w 2178539"/>
              <a:gd name="connsiteY9" fmla="*/ 27296 h 3261815"/>
              <a:gd name="connsiteX0" fmla="*/ 411154 w 2178539"/>
              <a:gd name="connsiteY0" fmla="*/ 27296 h 3261815"/>
              <a:gd name="connsiteX1" fmla="*/ 322444 w 2178539"/>
              <a:gd name="connsiteY1" fmla="*/ 1801504 h 3261815"/>
              <a:gd name="connsiteX2" fmla="*/ 704581 w 2178539"/>
              <a:gd name="connsiteY2" fmla="*/ 3261815 h 3261815"/>
              <a:gd name="connsiteX3" fmla="*/ 1216372 w 2178539"/>
              <a:gd name="connsiteY3" fmla="*/ 1951629 h 3261815"/>
              <a:gd name="connsiteX4" fmla="*/ 1632629 w 2178539"/>
              <a:gd name="connsiteY4" fmla="*/ 3261815 h 3261815"/>
              <a:gd name="connsiteX5" fmla="*/ 2178539 w 2178539"/>
              <a:gd name="connsiteY5" fmla="*/ 1719618 h 3261815"/>
              <a:gd name="connsiteX6" fmla="*/ 1871465 w 2178539"/>
              <a:gd name="connsiteY6" fmla="*/ 0 h 3261815"/>
              <a:gd name="connsiteX7" fmla="*/ 1789578 w 2178539"/>
              <a:gd name="connsiteY7" fmla="*/ 13648 h 3261815"/>
              <a:gd name="connsiteX8" fmla="*/ 1175429 w 2178539"/>
              <a:gd name="connsiteY8" fmla="*/ 156949 h 3261815"/>
              <a:gd name="connsiteX9" fmla="*/ 411154 w 2178539"/>
              <a:gd name="connsiteY9" fmla="*/ 27296 h 3261815"/>
              <a:gd name="connsiteX0" fmla="*/ 411154 w 2178539"/>
              <a:gd name="connsiteY0" fmla="*/ 27296 h 3261815"/>
              <a:gd name="connsiteX1" fmla="*/ 322444 w 2178539"/>
              <a:gd name="connsiteY1" fmla="*/ 1801504 h 3261815"/>
              <a:gd name="connsiteX2" fmla="*/ 704581 w 2178539"/>
              <a:gd name="connsiteY2" fmla="*/ 3261815 h 3261815"/>
              <a:gd name="connsiteX3" fmla="*/ 1216372 w 2178539"/>
              <a:gd name="connsiteY3" fmla="*/ 1951629 h 3261815"/>
              <a:gd name="connsiteX4" fmla="*/ 1632629 w 2178539"/>
              <a:gd name="connsiteY4" fmla="*/ 3261815 h 3261815"/>
              <a:gd name="connsiteX5" fmla="*/ 2178539 w 2178539"/>
              <a:gd name="connsiteY5" fmla="*/ 1719618 h 3261815"/>
              <a:gd name="connsiteX6" fmla="*/ 1871465 w 2178539"/>
              <a:gd name="connsiteY6" fmla="*/ 0 h 3261815"/>
              <a:gd name="connsiteX7" fmla="*/ 1789578 w 2178539"/>
              <a:gd name="connsiteY7" fmla="*/ 13648 h 3261815"/>
              <a:gd name="connsiteX8" fmla="*/ 1175429 w 2178539"/>
              <a:gd name="connsiteY8" fmla="*/ 156949 h 3261815"/>
              <a:gd name="connsiteX9" fmla="*/ 411154 w 2178539"/>
              <a:gd name="connsiteY9" fmla="*/ 27296 h 3261815"/>
              <a:gd name="connsiteX0" fmla="*/ 411154 w 2178539"/>
              <a:gd name="connsiteY0" fmla="*/ 27296 h 3261815"/>
              <a:gd name="connsiteX1" fmla="*/ 322444 w 2178539"/>
              <a:gd name="connsiteY1" fmla="*/ 1801504 h 3261815"/>
              <a:gd name="connsiteX2" fmla="*/ 704581 w 2178539"/>
              <a:gd name="connsiteY2" fmla="*/ 3261815 h 3261815"/>
              <a:gd name="connsiteX3" fmla="*/ 1216372 w 2178539"/>
              <a:gd name="connsiteY3" fmla="*/ 1951629 h 3261815"/>
              <a:gd name="connsiteX4" fmla="*/ 1632629 w 2178539"/>
              <a:gd name="connsiteY4" fmla="*/ 3261815 h 3261815"/>
              <a:gd name="connsiteX5" fmla="*/ 2178539 w 2178539"/>
              <a:gd name="connsiteY5" fmla="*/ 1719618 h 3261815"/>
              <a:gd name="connsiteX6" fmla="*/ 1871465 w 2178539"/>
              <a:gd name="connsiteY6" fmla="*/ 0 h 3261815"/>
              <a:gd name="connsiteX7" fmla="*/ 1789578 w 2178539"/>
              <a:gd name="connsiteY7" fmla="*/ 13648 h 3261815"/>
              <a:gd name="connsiteX8" fmla="*/ 1175429 w 2178539"/>
              <a:gd name="connsiteY8" fmla="*/ 156949 h 3261815"/>
              <a:gd name="connsiteX9" fmla="*/ 411154 w 2178539"/>
              <a:gd name="connsiteY9" fmla="*/ 27296 h 3261815"/>
              <a:gd name="connsiteX0" fmla="*/ 411154 w 2178539"/>
              <a:gd name="connsiteY0" fmla="*/ 27296 h 3261815"/>
              <a:gd name="connsiteX1" fmla="*/ 322444 w 2178539"/>
              <a:gd name="connsiteY1" fmla="*/ 1801504 h 3261815"/>
              <a:gd name="connsiteX2" fmla="*/ 704581 w 2178539"/>
              <a:gd name="connsiteY2" fmla="*/ 3261815 h 3261815"/>
              <a:gd name="connsiteX3" fmla="*/ 1216372 w 2178539"/>
              <a:gd name="connsiteY3" fmla="*/ 1951629 h 3261815"/>
              <a:gd name="connsiteX4" fmla="*/ 1632629 w 2178539"/>
              <a:gd name="connsiteY4" fmla="*/ 3261815 h 3261815"/>
              <a:gd name="connsiteX5" fmla="*/ 2178539 w 2178539"/>
              <a:gd name="connsiteY5" fmla="*/ 1719618 h 3261815"/>
              <a:gd name="connsiteX6" fmla="*/ 1871465 w 2178539"/>
              <a:gd name="connsiteY6" fmla="*/ 0 h 3261815"/>
              <a:gd name="connsiteX7" fmla="*/ 1789578 w 2178539"/>
              <a:gd name="connsiteY7" fmla="*/ 13648 h 3261815"/>
              <a:gd name="connsiteX8" fmla="*/ 1175429 w 2178539"/>
              <a:gd name="connsiteY8" fmla="*/ 156949 h 3261815"/>
              <a:gd name="connsiteX9" fmla="*/ 411154 w 2178539"/>
              <a:gd name="connsiteY9" fmla="*/ 27296 h 3261815"/>
              <a:gd name="connsiteX0" fmla="*/ 411154 w 2178539"/>
              <a:gd name="connsiteY0" fmla="*/ 27296 h 3261815"/>
              <a:gd name="connsiteX1" fmla="*/ 322444 w 2178539"/>
              <a:gd name="connsiteY1" fmla="*/ 1801504 h 3261815"/>
              <a:gd name="connsiteX2" fmla="*/ 704581 w 2178539"/>
              <a:gd name="connsiteY2" fmla="*/ 3261815 h 3261815"/>
              <a:gd name="connsiteX3" fmla="*/ 1216372 w 2178539"/>
              <a:gd name="connsiteY3" fmla="*/ 1951629 h 3261815"/>
              <a:gd name="connsiteX4" fmla="*/ 1632629 w 2178539"/>
              <a:gd name="connsiteY4" fmla="*/ 3261815 h 3261815"/>
              <a:gd name="connsiteX5" fmla="*/ 2178539 w 2178539"/>
              <a:gd name="connsiteY5" fmla="*/ 1719618 h 3261815"/>
              <a:gd name="connsiteX6" fmla="*/ 1871465 w 2178539"/>
              <a:gd name="connsiteY6" fmla="*/ 0 h 3261815"/>
              <a:gd name="connsiteX7" fmla="*/ 1789578 w 2178539"/>
              <a:gd name="connsiteY7" fmla="*/ 13648 h 3261815"/>
              <a:gd name="connsiteX8" fmla="*/ 1175429 w 2178539"/>
              <a:gd name="connsiteY8" fmla="*/ 156949 h 3261815"/>
              <a:gd name="connsiteX9" fmla="*/ 411154 w 2178539"/>
              <a:gd name="connsiteY9" fmla="*/ 27296 h 3261815"/>
              <a:gd name="connsiteX0" fmla="*/ 411154 w 2178539"/>
              <a:gd name="connsiteY0" fmla="*/ 27296 h 3261815"/>
              <a:gd name="connsiteX1" fmla="*/ 322444 w 2178539"/>
              <a:gd name="connsiteY1" fmla="*/ 1801504 h 3261815"/>
              <a:gd name="connsiteX2" fmla="*/ 704581 w 2178539"/>
              <a:gd name="connsiteY2" fmla="*/ 3261815 h 3261815"/>
              <a:gd name="connsiteX3" fmla="*/ 1216372 w 2178539"/>
              <a:gd name="connsiteY3" fmla="*/ 1951629 h 3261815"/>
              <a:gd name="connsiteX4" fmla="*/ 1680396 w 2178539"/>
              <a:gd name="connsiteY4" fmla="*/ 3261815 h 3261815"/>
              <a:gd name="connsiteX5" fmla="*/ 2178539 w 2178539"/>
              <a:gd name="connsiteY5" fmla="*/ 1719618 h 3261815"/>
              <a:gd name="connsiteX6" fmla="*/ 1871465 w 2178539"/>
              <a:gd name="connsiteY6" fmla="*/ 0 h 3261815"/>
              <a:gd name="connsiteX7" fmla="*/ 1789578 w 2178539"/>
              <a:gd name="connsiteY7" fmla="*/ 13648 h 3261815"/>
              <a:gd name="connsiteX8" fmla="*/ 1175429 w 2178539"/>
              <a:gd name="connsiteY8" fmla="*/ 156949 h 3261815"/>
              <a:gd name="connsiteX9" fmla="*/ 411154 w 2178539"/>
              <a:gd name="connsiteY9" fmla="*/ 27296 h 3261815"/>
              <a:gd name="connsiteX0" fmla="*/ 411154 w 2178539"/>
              <a:gd name="connsiteY0" fmla="*/ 27296 h 3261815"/>
              <a:gd name="connsiteX1" fmla="*/ 322444 w 2178539"/>
              <a:gd name="connsiteY1" fmla="*/ 1801504 h 3261815"/>
              <a:gd name="connsiteX2" fmla="*/ 704581 w 2178539"/>
              <a:gd name="connsiteY2" fmla="*/ 3261815 h 3261815"/>
              <a:gd name="connsiteX3" fmla="*/ 1216372 w 2178539"/>
              <a:gd name="connsiteY3" fmla="*/ 1951629 h 3261815"/>
              <a:gd name="connsiteX4" fmla="*/ 1707692 w 2178539"/>
              <a:gd name="connsiteY4" fmla="*/ 3254991 h 3261815"/>
              <a:gd name="connsiteX5" fmla="*/ 2178539 w 2178539"/>
              <a:gd name="connsiteY5" fmla="*/ 1719618 h 3261815"/>
              <a:gd name="connsiteX6" fmla="*/ 1871465 w 2178539"/>
              <a:gd name="connsiteY6" fmla="*/ 0 h 3261815"/>
              <a:gd name="connsiteX7" fmla="*/ 1789578 w 2178539"/>
              <a:gd name="connsiteY7" fmla="*/ 13648 h 3261815"/>
              <a:gd name="connsiteX8" fmla="*/ 1175429 w 2178539"/>
              <a:gd name="connsiteY8" fmla="*/ 156949 h 3261815"/>
              <a:gd name="connsiteX9" fmla="*/ 411154 w 2178539"/>
              <a:gd name="connsiteY9" fmla="*/ 27296 h 3261815"/>
              <a:gd name="connsiteX0" fmla="*/ 411154 w 2178539"/>
              <a:gd name="connsiteY0" fmla="*/ 27296 h 3261815"/>
              <a:gd name="connsiteX1" fmla="*/ 322444 w 2178539"/>
              <a:gd name="connsiteY1" fmla="*/ 1801504 h 3261815"/>
              <a:gd name="connsiteX2" fmla="*/ 704581 w 2178539"/>
              <a:gd name="connsiteY2" fmla="*/ 3261815 h 3261815"/>
              <a:gd name="connsiteX3" fmla="*/ 1216372 w 2178539"/>
              <a:gd name="connsiteY3" fmla="*/ 1951629 h 3261815"/>
              <a:gd name="connsiteX4" fmla="*/ 1707692 w 2178539"/>
              <a:gd name="connsiteY4" fmla="*/ 3254991 h 3261815"/>
              <a:gd name="connsiteX5" fmla="*/ 2178539 w 2178539"/>
              <a:gd name="connsiteY5" fmla="*/ 1719618 h 3261815"/>
              <a:gd name="connsiteX6" fmla="*/ 1871465 w 2178539"/>
              <a:gd name="connsiteY6" fmla="*/ 0 h 3261815"/>
              <a:gd name="connsiteX7" fmla="*/ 1789578 w 2178539"/>
              <a:gd name="connsiteY7" fmla="*/ 13648 h 3261815"/>
              <a:gd name="connsiteX8" fmla="*/ 1175429 w 2178539"/>
              <a:gd name="connsiteY8" fmla="*/ 156949 h 3261815"/>
              <a:gd name="connsiteX9" fmla="*/ 411154 w 2178539"/>
              <a:gd name="connsiteY9" fmla="*/ 27296 h 3261815"/>
              <a:gd name="connsiteX0" fmla="*/ 411154 w 2178539"/>
              <a:gd name="connsiteY0" fmla="*/ 27296 h 3261815"/>
              <a:gd name="connsiteX1" fmla="*/ 322444 w 2178539"/>
              <a:gd name="connsiteY1" fmla="*/ 1801504 h 3261815"/>
              <a:gd name="connsiteX2" fmla="*/ 704581 w 2178539"/>
              <a:gd name="connsiteY2" fmla="*/ 3261815 h 3261815"/>
              <a:gd name="connsiteX3" fmla="*/ 1216372 w 2178539"/>
              <a:gd name="connsiteY3" fmla="*/ 1951629 h 3261815"/>
              <a:gd name="connsiteX4" fmla="*/ 1707692 w 2178539"/>
              <a:gd name="connsiteY4" fmla="*/ 3254991 h 3261815"/>
              <a:gd name="connsiteX5" fmla="*/ 2178539 w 2178539"/>
              <a:gd name="connsiteY5" fmla="*/ 1719618 h 3261815"/>
              <a:gd name="connsiteX6" fmla="*/ 1871465 w 2178539"/>
              <a:gd name="connsiteY6" fmla="*/ 0 h 3261815"/>
              <a:gd name="connsiteX7" fmla="*/ 1789578 w 2178539"/>
              <a:gd name="connsiteY7" fmla="*/ 13648 h 3261815"/>
              <a:gd name="connsiteX8" fmla="*/ 1175429 w 2178539"/>
              <a:gd name="connsiteY8" fmla="*/ 156949 h 3261815"/>
              <a:gd name="connsiteX9" fmla="*/ 411154 w 2178539"/>
              <a:gd name="connsiteY9" fmla="*/ 27296 h 3261815"/>
              <a:gd name="connsiteX0" fmla="*/ 411154 w 2178539"/>
              <a:gd name="connsiteY0" fmla="*/ 27296 h 3261815"/>
              <a:gd name="connsiteX1" fmla="*/ 322444 w 2178539"/>
              <a:gd name="connsiteY1" fmla="*/ 1801504 h 3261815"/>
              <a:gd name="connsiteX2" fmla="*/ 704581 w 2178539"/>
              <a:gd name="connsiteY2" fmla="*/ 3261815 h 3261815"/>
              <a:gd name="connsiteX3" fmla="*/ 1216372 w 2178539"/>
              <a:gd name="connsiteY3" fmla="*/ 1951629 h 3261815"/>
              <a:gd name="connsiteX4" fmla="*/ 1707692 w 2178539"/>
              <a:gd name="connsiteY4" fmla="*/ 3254991 h 3261815"/>
              <a:gd name="connsiteX5" fmla="*/ 2178539 w 2178539"/>
              <a:gd name="connsiteY5" fmla="*/ 1719618 h 3261815"/>
              <a:gd name="connsiteX6" fmla="*/ 1871465 w 2178539"/>
              <a:gd name="connsiteY6" fmla="*/ 0 h 3261815"/>
              <a:gd name="connsiteX7" fmla="*/ 1789578 w 2178539"/>
              <a:gd name="connsiteY7" fmla="*/ 13648 h 3261815"/>
              <a:gd name="connsiteX8" fmla="*/ 1175429 w 2178539"/>
              <a:gd name="connsiteY8" fmla="*/ 156949 h 3261815"/>
              <a:gd name="connsiteX9" fmla="*/ 411154 w 2178539"/>
              <a:gd name="connsiteY9" fmla="*/ 27296 h 3261815"/>
              <a:gd name="connsiteX0" fmla="*/ 411154 w 2178539"/>
              <a:gd name="connsiteY0" fmla="*/ 27296 h 3261815"/>
              <a:gd name="connsiteX1" fmla="*/ 322444 w 2178539"/>
              <a:gd name="connsiteY1" fmla="*/ 1801504 h 3261815"/>
              <a:gd name="connsiteX2" fmla="*/ 704581 w 2178539"/>
              <a:gd name="connsiteY2" fmla="*/ 3261815 h 3261815"/>
              <a:gd name="connsiteX3" fmla="*/ 1216372 w 2178539"/>
              <a:gd name="connsiteY3" fmla="*/ 1951629 h 3261815"/>
              <a:gd name="connsiteX4" fmla="*/ 1707692 w 2178539"/>
              <a:gd name="connsiteY4" fmla="*/ 3254991 h 3261815"/>
              <a:gd name="connsiteX5" fmla="*/ 2178539 w 2178539"/>
              <a:gd name="connsiteY5" fmla="*/ 1719618 h 3261815"/>
              <a:gd name="connsiteX6" fmla="*/ 1871465 w 2178539"/>
              <a:gd name="connsiteY6" fmla="*/ 0 h 3261815"/>
              <a:gd name="connsiteX7" fmla="*/ 1789578 w 2178539"/>
              <a:gd name="connsiteY7" fmla="*/ 13648 h 3261815"/>
              <a:gd name="connsiteX8" fmla="*/ 1175429 w 2178539"/>
              <a:gd name="connsiteY8" fmla="*/ 156949 h 3261815"/>
              <a:gd name="connsiteX9" fmla="*/ 411154 w 2178539"/>
              <a:gd name="connsiteY9" fmla="*/ 27296 h 3261815"/>
              <a:gd name="connsiteX0" fmla="*/ 411154 w 2178539"/>
              <a:gd name="connsiteY0" fmla="*/ 27296 h 3261815"/>
              <a:gd name="connsiteX1" fmla="*/ 322444 w 2178539"/>
              <a:gd name="connsiteY1" fmla="*/ 1801504 h 3261815"/>
              <a:gd name="connsiteX2" fmla="*/ 704581 w 2178539"/>
              <a:gd name="connsiteY2" fmla="*/ 3261815 h 3261815"/>
              <a:gd name="connsiteX3" fmla="*/ 1216372 w 2178539"/>
              <a:gd name="connsiteY3" fmla="*/ 1951629 h 3261815"/>
              <a:gd name="connsiteX4" fmla="*/ 1707692 w 2178539"/>
              <a:gd name="connsiteY4" fmla="*/ 3254991 h 3261815"/>
              <a:gd name="connsiteX5" fmla="*/ 2178539 w 2178539"/>
              <a:gd name="connsiteY5" fmla="*/ 1719618 h 3261815"/>
              <a:gd name="connsiteX6" fmla="*/ 1871465 w 2178539"/>
              <a:gd name="connsiteY6" fmla="*/ 0 h 3261815"/>
              <a:gd name="connsiteX7" fmla="*/ 1789578 w 2178539"/>
              <a:gd name="connsiteY7" fmla="*/ 13648 h 3261815"/>
              <a:gd name="connsiteX8" fmla="*/ 1175429 w 2178539"/>
              <a:gd name="connsiteY8" fmla="*/ 156949 h 3261815"/>
              <a:gd name="connsiteX9" fmla="*/ 411154 w 2178539"/>
              <a:gd name="connsiteY9" fmla="*/ 27296 h 3261815"/>
              <a:gd name="connsiteX0" fmla="*/ 411154 w 2144420"/>
              <a:gd name="connsiteY0" fmla="*/ 27296 h 3261815"/>
              <a:gd name="connsiteX1" fmla="*/ 322444 w 2144420"/>
              <a:gd name="connsiteY1" fmla="*/ 1801504 h 3261815"/>
              <a:gd name="connsiteX2" fmla="*/ 704581 w 2144420"/>
              <a:gd name="connsiteY2" fmla="*/ 3261815 h 3261815"/>
              <a:gd name="connsiteX3" fmla="*/ 1216372 w 2144420"/>
              <a:gd name="connsiteY3" fmla="*/ 1951629 h 3261815"/>
              <a:gd name="connsiteX4" fmla="*/ 1707692 w 2144420"/>
              <a:gd name="connsiteY4" fmla="*/ 3254991 h 3261815"/>
              <a:gd name="connsiteX5" fmla="*/ 2144420 w 2144420"/>
              <a:gd name="connsiteY5" fmla="*/ 1753737 h 3261815"/>
              <a:gd name="connsiteX6" fmla="*/ 1871465 w 2144420"/>
              <a:gd name="connsiteY6" fmla="*/ 0 h 3261815"/>
              <a:gd name="connsiteX7" fmla="*/ 1789578 w 2144420"/>
              <a:gd name="connsiteY7" fmla="*/ 13648 h 3261815"/>
              <a:gd name="connsiteX8" fmla="*/ 1175429 w 2144420"/>
              <a:gd name="connsiteY8" fmla="*/ 156949 h 3261815"/>
              <a:gd name="connsiteX9" fmla="*/ 411154 w 2144420"/>
              <a:gd name="connsiteY9" fmla="*/ 27296 h 3261815"/>
              <a:gd name="connsiteX0" fmla="*/ 411154 w 2144420"/>
              <a:gd name="connsiteY0" fmla="*/ 27296 h 3261815"/>
              <a:gd name="connsiteX1" fmla="*/ 322444 w 2144420"/>
              <a:gd name="connsiteY1" fmla="*/ 1801504 h 3261815"/>
              <a:gd name="connsiteX2" fmla="*/ 704581 w 2144420"/>
              <a:gd name="connsiteY2" fmla="*/ 3261815 h 3261815"/>
              <a:gd name="connsiteX3" fmla="*/ 1216372 w 2144420"/>
              <a:gd name="connsiteY3" fmla="*/ 1951629 h 3261815"/>
              <a:gd name="connsiteX4" fmla="*/ 1707692 w 2144420"/>
              <a:gd name="connsiteY4" fmla="*/ 3254991 h 3261815"/>
              <a:gd name="connsiteX5" fmla="*/ 2144420 w 2144420"/>
              <a:gd name="connsiteY5" fmla="*/ 1753737 h 3261815"/>
              <a:gd name="connsiteX6" fmla="*/ 1871465 w 2144420"/>
              <a:gd name="connsiteY6" fmla="*/ 0 h 3261815"/>
              <a:gd name="connsiteX7" fmla="*/ 1789578 w 2144420"/>
              <a:gd name="connsiteY7" fmla="*/ 13648 h 3261815"/>
              <a:gd name="connsiteX8" fmla="*/ 1175429 w 2144420"/>
              <a:gd name="connsiteY8" fmla="*/ 156949 h 3261815"/>
              <a:gd name="connsiteX9" fmla="*/ 411154 w 2144420"/>
              <a:gd name="connsiteY9" fmla="*/ 27296 h 3261815"/>
              <a:gd name="connsiteX0" fmla="*/ 411154 w 2144420"/>
              <a:gd name="connsiteY0" fmla="*/ 27296 h 3261815"/>
              <a:gd name="connsiteX1" fmla="*/ 322444 w 2144420"/>
              <a:gd name="connsiteY1" fmla="*/ 1801504 h 3261815"/>
              <a:gd name="connsiteX2" fmla="*/ 704581 w 2144420"/>
              <a:gd name="connsiteY2" fmla="*/ 3261815 h 3261815"/>
              <a:gd name="connsiteX3" fmla="*/ 1216372 w 2144420"/>
              <a:gd name="connsiteY3" fmla="*/ 1951629 h 3261815"/>
              <a:gd name="connsiteX4" fmla="*/ 1707692 w 2144420"/>
              <a:gd name="connsiteY4" fmla="*/ 3254991 h 3261815"/>
              <a:gd name="connsiteX5" fmla="*/ 2144420 w 2144420"/>
              <a:gd name="connsiteY5" fmla="*/ 1753737 h 3261815"/>
              <a:gd name="connsiteX6" fmla="*/ 1871465 w 2144420"/>
              <a:gd name="connsiteY6" fmla="*/ 0 h 3261815"/>
              <a:gd name="connsiteX7" fmla="*/ 1789578 w 2144420"/>
              <a:gd name="connsiteY7" fmla="*/ 13648 h 3261815"/>
              <a:gd name="connsiteX8" fmla="*/ 1175429 w 2144420"/>
              <a:gd name="connsiteY8" fmla="*/ 156949 h 3261815"/>
              <a:gd name="connsiteX9" fmla="*/ 411154 w 2144420"/>
              <a:gd name="connsiteY9" fmla="*/ 27296 h 3261815"/>
              <a:gd name="connsiteX0" fmla="*/ 411154 w 2205171"/>
              <a:gd name="connsiteY0" fmla="*/ 27296 h 3261815"/>
              <a:gd name="connsiteX1" fmla="*/ 322444 w 2205171"/>
              <a:gd name="connsiteY1" fmla="*/ 1801504 h 3261815"/>
              <a:gd name="connsiteX2" fmla="*/ 704581 w 2205171"/>
              <a:gd name="connsiteY2" fmla="*/ 3261815 h 3261815"/>
              <a:gd name="connsiteX3" fmla="*/ 1216372 w 2205171"/>
              <a:gd name="connsiteY3" fmla="*/ 1951629 h 3261815"/>
              <a:gd name="connsiteX4" fmla="*/ 1707692 w 2205171"/>
              <a:gd name="connsiteY4" fmla="*/ 3254991 h 3261815"/>
              <a:gd name="connsiteX5" fmla="*/ 2144420 w 2205171"/>
              <a:gd name="connsiteY5" fmla="*/ 1753737 h 3261815"/>
              <a:gd name="connsiteX6" fmla="*/ 1871465 w 2205171"/>
              <a:gd name="connsiteY6" fmla="*/ 0 h 3261815"/>
              <a:gd name="connsiteX7" fmla="*/ 1789578 w 2205171"/>
              <a:gd name="connsiteY7" fmla="*/ 13648 h 3261815"/>
              <a:gd name="connsiteX8" fmla="*/ 1175429 w 2205171"/>
              <a:gd name="connsiteY8" fmla="*/ 156949 h 3261815"/>
              <a:gd name="connsiteX9" fmla="*/ 411154 w 2205171"/>
              <a:gd name="connsiteY9" fmla="*/ 27296 h 3261815"/>
              <a:gd name="connsiteX0" fmla="*/ 411154 w 2145061"/>
              <a:gd name="connsiteY0" fmla="*/ 23869 h 3258388"/>
              <a:gd name="connsiteX1" fmla="*/ 322444 w 2145061"/>
              <a:gd name="connsiteY1" fmla="*/ 1798077 h 3258388"/>
              <a:gd name="connsiteX2" fmla="*/ 704581 w 2145061"/>
              <a:gd name="connsiteY2" fmla="*/ 3258388 h 3258388"/>
              <a:gd name="connsiteX3" fmla="*/ 1216372 w 2145061"/>
              <a:gd name="connsiteY3" fmla="*/ 1948202 h 3258388"/>
              <a:gd name="connsiteX4" fmla="*/ 1707692 w 2145061"/>
              <a:gd name="connsiteY4" fmla="*/ 3251564 h 3258388"/>
              <a:gd name="connsiteX5" fmla="*/ 2144420 w 2145061"/>
              <a:gd name="connsiteY5" fmla="*/ 1750310 h 3258388"/>
              <a:gd name="connsiteX6" fmla="*/ 1789578 w 2145061"/>
              <a:gd name="connsiteY6" fmla="*/ 10221 h 3258388"/>
              <a:gd name="connsiteX7" fmla="*/ 1175429 w 2145061"/>
              <a:gd name="connsiteY7" fmla="*/ 153522 h 3258388"/>
              <a:gd name="connsiteX8" fmla="*/ 411154 w 2145061"/>
              <a:gd name="connsiteY8" fmla="*/ 23869 h 3258388"/>
              <a:gd name="connsiteX0" fmla="*/ 411154 w 2146076"/>
              <a:gd name="connsiteY0" fmla="*/ 23869 h 3258388"/>
              <a:gd name="connsiteX1" fmla="*/ 322444 w 2146076"/>
              <a:gd name="connsiteY1" fmla="*/ 1798077 h 3258388"/>
              <a:gd name="connsiteX2" fmla="*/ 704581 w 2146076"/>
              <a:gd name="connsiteY2" fmla="*/ 3258388 h 3258388"/>
              <a:gd name="connsiteX3" fmla="*/ 1216372 w 2146076"/>
              <a:gd name="connsiteY3" fmla="*/ 1948202 h 3258388"/>
              <a:gd name="connsiteX4" fmla="*/ 1707692 w 2146076"/>
              <a:gd name="connsiteY4" fmla="*/ 3251564 h 3258388"/>
              <a:gd name="connsiteX5" fmla="*/ 2144420 w 2146076"/>
              <a:gd name="connsiteY5" fmla="*/ 1750310 h 3258388"/>
              <a:gd name="connsiteX6" fmla="*/ 1926056 w 2146076"/>
              <a:gd name="connsiteY6" fmla="*/ 17045 h 3258388"/>
              <a:gd name="connsiteX7" fmla="*/ 1175429 w 2146076"/>
              <a:gd name="connsiteY7" fmla="*/ 153522 h 3258388"/>
              <a:gd name="connsiteX8" fmla="*/ 411154 w 2146076"/>
              <a:gd name="connsiteY8" fmla="*/ 23869 h 3258388"/>
              <a:gd name="connsiteX0" fmla="*/ 411154 w 2374416"/>
              <a:gd name="connsiteY0" fmla="*/ 23869 h 3258388"/>
              <a:gd name="connsiteX1" fmla="*/ 322444 w 2374416"/>
              <a:gd name="connsiteY1" fmla="*/ 1798077 h 3258388"/>
              <a:gd name="connsiteX2" fmla="*/ 704581 w 2374416"/>
              <a:gd name="connsiteY2" fmla="*/ 3258388 h 3258388"/>
              <a:gd name="connsiteX3" fmla="*/ 1216372 w 2374416"/>
              <a:gd name="connsiteY3" fmla="*/ 1948202 h 3258388"/>
              <a:gd name="connsiteX4" fmla="*/ 1707692 w 2374416"/>
              <a:gd name="connsiteY4" fmla="*/ 3251564 h 3258388"/>
              <a:gd name="connsiteX5" fmla="*/ 2144420 w 2374416"/>
              <a:gd name="connsiteY5" fmla="*/ 1750310 h 3258388"/>
              <a:gd name="connsiteX6" fmla="*/ 1926056 w 2374416"/>
              <a:gd name="connsiteY6" fmla="*/ 17045 h 3258388"/>
              <a:gd name="connsiteX7" fmla="*/ 1175429 w 2374416"/>
              <a:gd name="connsiteY7" fmla="*/ 153522 h 3258388"/>
              <a:gd name="connsiteX8" fmla="*/ 411154 w 2374416"/>
              <a:gd name="connsiteY8" fmla="*/ 23869 h 3258388"/>
              <a:gd name="connsiteX0" fmla="*/ 411154 w 2441693"/>
              <a:gd name="connsiteY0" fmla="*/ 23869 h 3258388"/>
              <a:gd name="connsiteX1" fmla="*/ 322444 w 2441693"/>
              <a:gd name="connsiteY1" fmla="*/ 1798077 h 3258388"/>
              <a:gd name="connsiteX2" fmla="*/ 704581 w 2441693"/>
              <a:gd name="connsiteY2" fmla="*/ 3258388 h 3258388"/>
              <a:gd name="connsiteX3" fmla="*/ 1216372 w 2441693"/>
              <a:gd name="connsiteY3" fmla="*/ 1948202 h 3258388"/>
              <a:gd name="connsiteX4" fmla="*/ 1707692 w 2441693"/>
              <a:gd name="connsiteY4" fmla="*/ 3251564 h 3258388"/>
              <a:gd name="connsiteX5" fmla="*/ 2144420 w 2441693"/>
              <a:gd name="connsiteY5" fmla="*/ 1750310 h 3258388"/>
              <a:gd name="connsiteX6" fmla="*/ 1926056 w 2441693"/>
              <a:gd name="connsiteY6" fmla="*/ 17045 h 3258388"/>
              <a:gd name="connsiteX7" fmla="*/ 1175429 w 2441693"/>
              <a:gd name="connsiteY7" fmla="*/ 153522 h 3258388"/>
              <a:gd name="connsiteX8" fmla="*/ 411154 w 2441693"/>
              <a:gd name="connsiteY8" fmla="*/ 23869 h 3258388"/>
              <a:gd name="connsiteX0" fmla="*/ 411154 w 2377348"/>
              <a:gd name="connsiteY0" fmla="*/ 23869 h 3258388"/>
              <a:gd name="connsiteX1" fmla="*/ 322444 w 2377348"/>
              <a:gd name="connsiteY1" fmla="*/ 1798077 h 3258388"/>
              <a:gd name="connsiteX2" fmla="*/ 704581 w 2377348"/>
              <a:gd name="connsiteY2" fmla="*/ 3258388 h 3258388"/>
              <a:gd name="connsiteX3" fmla="*/ 1216372 w 2377348"/>
              <a:gd name="connsiteY3" fmla="*/ 1948202 h 3258388"/>
              <a:gd name="connsiteX4" fmla="*/ 1707692 w 2377348"/>
              <a:gd name="connsiteY4" fmla="*/ 3251564 h 3258388"/>
              <a:gd name="connsiteX5" fmla="*/ 2144420 w 2377348"/>
              <a:gd name="connsiteY5" fmla="*/ 1750310 h 3258388"/>
              <a:gd name="connsiteX6" fmla="*/ 1926056 w 2377348"/>
              <a:gd name="connsiteY6" fmla="*/ 17045 h 3258388"/>
              <a:gd name="connsiteX7" fmla="*/ 1175429 w 2377348"/>
              <a:gd name="connsiteY7" fmla="*/ 153522 h 3258388"/>
              <a:gd name="connsiteX8" fmla="*/ 411154 w 2377348"/>
              <a:gd name="connsiteY8" fmla="*/ 23869 h 3258388"/>
              <a:gd name="connsiteX0" fmla="*/ 411154 w 2424220"/>
              <a:gd name="connsiteY0" fmla="*/ 23869 h 3258388"/>
              <a:gd name="connsiteX1" fmla="*/ 322444 w 2424220"/>
              <a:gd name="connsiteY1" fmla="*/ 1798077 h 3258388"/>
              <a:gd name="connsiteX2" fmla="*/ 704581 w 2424220"/>
              <a:gd name="connsiteY2" fmla="*/ 3258388 h 3258388"/>
              <a:gd name="connsiteX3" fmla="*/ 1216372 w 2424220"/>
              <a:gd name="connsiteY3" fmla="*/ 1948202 h 3258388"/>
              <a:gd name="connsiteX4" fmla="*/ 1707692 w 2424220"/>
              <a:gd name="connsiteY4" fmla="*/ 3251564 h 3258388"/>
              <a:gd name="connsiteX5" fmla="*/ 2144420 w 2424220"/>
              <a:gd name="connsiteY5" fmla="*/ 1750310 h 3258388"/>
              <a:gd name="connsiteX6" fmla="*/ 1926056 w 2424220"/>
              <a:gd name="connsiteY6" fmla="*/ 17045 h 3258388"/>
              <a:gd name="connsiteX7" fmla="*/ 1175429 w 2424220"/>
              <a:gd name="connsiteY7" fmla="*/ 153522 h 3258388"/>
              <a:gd name="connsiteX8" fmla="*/ 411154 w 2424220"/>
              <a:gd name="connsiteY8" fmla="*/ 23869 h 3258388"/>
              <a:gd name="connsiteX0" fmla="*/ 411154 w 2449010"/>
              <a:gd name="connsiteY0" fmla="*/ 23869 h 3258388"/>
              <a:gd name="connsiteX1" fmla="*/ 322444 w 2449010"/>
              <a:gd name="connsiteY1" fmla="*/ 1798077 h 3258388"/>
              <a:gd name="connsiteX2" fmla="*/ 704581 w 2449010"/>
              <a:gd name="connsiteY2" fmla="*/ 3258388 h 3258388"/>
              <a:gd name="connsiteX3" fmla="*/ 1216372 w 2449010"/>
              <a:gd name="connsiteY3" fmla="*/ 1948202 h 3258388"/>
              <a:gd name="connsiteX4" fmla="*/ 1707692 w 2449010"/>
              <a:gd name="connsiteY4" fmla="*/ 3251564 h 3258388"/>
              <a:gd name="connsiteX5" fmla="*/ 2144420 w 2449010"/>
              <a:gd name="connsiteY5" fmla="*/ 1750310 h 3258388"/>
              <a:gd name="connsiteX6" fmla="*/ 1926056 w 2449010"/>
              <a:gd name="connsiteY6" fmla="*/ 17045 h 3258388"/>
              <a:gd name="connsiteX7" fmla="*/ 1175429 w 2449010"/>
              <a:gd name="connsiteY7" fmla="*/ 153522 h 3258388"/>
              <a:gd name="connsiteX8" fmla="*/ 411154 w 2449010"/>
              <a:gd name="connsiteY8" fmla="*/ 23869 h 3258388"/>
              <a:gd name="connsiteX0" fmla="*/ 411154 w 2433593"/>
              <a:gd name="connsiteY0" fmla="*/ 23869 h 3258388"/>
              <a:gd name="connsiteX1" fmla="*/ 322444 w 2433593"/>
              <a:gd name="connsiteY1" fmla="*/ 1798077 h 3258388"/>
              <a:gd name="connsiteX2" fmla="*/ 704581 w 2433593"/>
              <a:gd name="connsiteY2" fmla="*/ 3258388 h 3258388"/>
              <a:gd name="connsiteX3" fmla="*/ 1216372 w 2433593"/>
              <a:gd name="connsiteY3" fmla="*/ 1948202 h 3258388"/>
              <a:gd name="connsiteX4" fmla="*/ 1707692 w 2433593"/>
              <a:gd name="connsiteY4" fmla="*/ 3251564 h 3258388"/>
              <a:gd name="connsiteX5" fmla="*/ 2144420 w 2433593"/>
              <a:gd name="connsiteY5" fmla="*/ 1750310 h 3258388"/>
              <a:gd name="connsiteX6" fmla="*/ 1926056 w 2433593"/>
              <a:gd name="connsiteY6" fmla="*/ 17045 h 3258388"/>
              <a:gd name="connsiteX7" fmla="*/ 1175429 w 2433593"/>
              <a:gd name="connsiteY7" fmla="*/ 153522 h 3258388"/>
              <a:gd name="connsiteX8" fmla="*/ 411154 w 2433593"/>
              <a:gd name="connsiteY8" fmla="*/ 23869 h 3258388"/>
              <a:gd name="connsiteX0" fmla="*/ 411154 w 2433593"/>
              <a:gd name="connsiteY0" fmla="*/ 23869 h 3258388"/>
              <a:gd name="connsiteX1" fmla="*/ 322444 w 2433593"/>
              <a:gd name="connsiteY1" fmla="*/ 1798077 h 3258388"/>
              <a:gd name="connsiteX2" fmla="*/ 704581 w 2433593"/>
              <a:gd name="connsiteY2" fmla="*/ 3258388 h 3258388"/>
              <a:gd name="connsiteX3" fmla="*/ 1216372 w 2433593"/>
              <a:gd name="connsiteY3" fmla="*/ 1948202 h 3258388"/>
              <a:gd name="connsiteX4" fmla="*/ 1707692 w 2433593"/>
              <a:gd name="connsiteY4" fmla="*/ 3251564 h 3258388"/>
              <a:gd name="connsiteX5" fmla="*/ 2144420 w 2433593"/>
              <a:gd name="connsiteY5" fmla="*/ 1750310 h 3258388"/>
              <a:gd name="connsiteX6" fmla="*/ 1926056 w 2433593"/>
              <a:gd name="connsiteY6" fmla="*/ 17045 h 3258388"/>
              <a:gd name="connsiteX7" fmla="*/ 1175429 w 2433593"/>
              <a:gd name="connsiteY7" fmla="*/ 153522 h 3258388"/>
              <a:gd name="connsiteX8" fmla="*/ 411154 w 2433593"/>
              <a:gd name="connsiteY8" fmla="*/ 23869 h 3258388"/>
              <a:gd name="connsiteX0" fmla="*/ 411154 w 2433593"/>
              <a:gd name="connsiteY0" fmla="*/ 23869 h 3258388"/>
              <a:gd name="connsiteX1" fmla="*/ 322444 w 2433593"/>
              <a:gd name="connsiteY1" fmla="*/ 1798077 h 3258388"/>
              <a:gd name="connsiteX2" fmla="*/ 704581 w 2433593"/>
              <a:gd name="connsiteY2" fmla="*/ 3258388 h 3258388"/>
              <a:gd name="connsiteX3" fmla="*/ 1216372 w 2433593"/>
              <a:gd name="connsiteY3" fmla="*/ 1948202 h 3258388"/>
              <a:gd name="connsiteX4" fmla="*/ 1707692 w 2433593"/>
              <a:gd name="connsiteY4" fmla="*/ 3251564 h 3258388"/>
              <a:gd name="connsiteX5" fmla="*/ 2144420 w 2433593"/>
              <a:gd name="connsiteY5" fmla="*/ 1750310 h 3258388"/>
              <a:gd name="connsiteX6" fmla="*/ 1926056 w 2433593"/>
              <a:gd name="connsiteY6" fmla="*/ 17045 h 3258388"/>
              <a:gd name="connsiteX7" fmla="*/ 1175429 w 2433593"/>
              <a:gd name="connsiteY7" fmla="*/ 153522 h 3258388"/>
              <a:gd name="connsiteX8" fmla="*/ 411154 w 2433593"/>
              <a:gd name="connsiteY8" fmla="*/ 23869 h 3258388"/>
              <a:gd name="connsiteX0" fmla="*/ 411154 w 2433593"/>
              <a:gd name="connsiteY0" fmla="*/ 23869 h 3258388"/>
              <a:gd name="connsiteX1" fmla="*/ 322444 w 2433593"/>
              <a:gd name="connsiteY1" fmla="*/ 1798077 h 3258388"/>
              <a:gd name="connsiteX2" fmla="*/ 704581 w 2433593"/>
              <a:gd name="connsiteY2" fmla="*/ 3258388 h 3258388"/>
              <a:gd name="connsiteX3" fmla="*/ 1216372 w 2433593"/>
              <a:gd name="connsiteY3" fmla="*/ 1948202 h 3258388"/>
              <a:gd name="connsiteX4" fmla="*/ 1707692 w 2433593"/>
              <a:gd name="connsiteY4" fmla="*/ 3251564 h 3258388"/>
              <a:gd name="connsiteX5" fmla="*/ 2144420 w 2433593"/>
              <a:gd name="connsiteY5" fmla="*/ 1750310 h 3258388"/>
              <a:gd name="connsiteX6" fmla="*/ 1926056 w 2433593"/>
              <a:gd name="connsiteY6" fmla="*/ 17045 h 3258388"/>
              <a:gd name="connsiteX7" fmla="*/ 1175429 w 2433593"/>
              <a:gd name="connsiteY7" fmla="*/ 153522 h 3258388"/>
              <a:gd name="connsiteX8" fmla="*/ 411154 w 2433593"/>
              <a:gd name="connsiteY8" fmla="*/ 23869 h 3258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33593" h="3258388">
                <a:moveTo>
                  <a:pt x="411154" y="23869"/>
                </a:moveTo>
                <a:cubicBezTo>
                  <a:pt x="-257586" y="355964"/>
                  <a:pt x="22194" y="1036078"/>
                  <a:pt x="322444" y="1798077"/>
                </a:cubicBezTo>
                <a:cubicBezTo>
                  <a:pt x="338366" y="2660163"/>
                  <a:pt x="545357" y="3249289"/>
                  <a:pt x="704581" y="3258388"/>
                </a:cubicBezTo>
                <a:cubicBezTo>
                  <a:pt x="1018479" y="3247015"/>
                  <a:pt x="779644" y="1925457"/>
                  <a:pt x="1216372" y="1948202"/>
                </a:cubicBezTo>
                <a:cubicBezTo>
                  <a:pt x="1580313" y="1945929"/>
                  <a:pt x="1473406" y="3281133"/>
                  <a:pt x="1707692" y="3251564"/>
                </a:cubicBezTo>
                <a:cubicBezTo>
                  <a:pt x="2048886" y="3121910"/>
                  <a:pt x="2001118" y="2180214"/>
                  <a:pt x="2144420" y="1750310"/>
                </a:cubicBezTo>
                <a:cubicBezTo>
                  <a:pt x="2451495" y="1080432"/>
                  <a:pt x="2681232" y="64812"/>
                  <a:pt x="1926056" y="17045"/>
                </a:cubicBezTo>
                <a:lnTo>
                  <a:pt x="1175429" y="153522"/>
                </a:lnTo>
                <a:cubicBezTo>
                  <a:pt x="920671" y="110304"/>
                  <a:pt x="679560" y="-62566"/>
                  <a:pt x="411154" y="2386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grpSp>
        <p:nvGrpSpPr>
          <p:cNvPr id="64" name="Group 102">
            <a:extLst>
              <a:ext uri="{FF2B5EF4-FFF2-40B4-BE49-F238E27FC236}">
                <a16:creationId xmlns:a16="http://schemas.microsoft.com/office/drawing/2014/main" id="{3B22177F-3D45-4A9B-976C-0E5FC31B92C4}"/>
              </a:ext>
            </a:extLst>
          </p:cNvPr>
          <p:cNvGrpSpPr>
            <a:grpSpLocks noChangeAspect="1"/>
          </p:cNvGrpSpPr>
          <p:nvPr/>
        </p:nvGrpSpPr>
        <p:grpSpPr>
          <a:xfrm>
            <a:off x="8707494" y="2429101"/>
            <a:ext cx="325734" cy="529812"/>
            <a:chOff x="2071598" y="2060848"/>
            <a:chExt cx="1917605" cy="3137144"/>
          </a:xfrm>
          <a:solidFill>
            <a:schemeClr val="accent4"/>
          </a:solidFill>
        </p:grpSpPr>
        <p:sp>
          <p:nvSpPr>
            <p:cNvPr id="65" name="Freeform 103">
              <a:extLst>
                <a:ext uri="{FF2B5EF4-FFF2-40B4-BE49-F238E27FC236}">
                  <a16:creationId xmlns:a16="http://schemas.microsoft.com/office/drawing/2014/main" id="{45551A25-8F0E-4347-975E-A924A7130E47}"/>
                </a:ext>
              </a:extLst>
            </p:cNvPr>
            <p:cNvSpPr/>
            <p:nvPr/>
          </p:nvSpPr>
          <p:spPr>
            <a:xfrm>
              <a:off x="2483768" y="2060848"/>
              <a:ext cx="1505435" cy="1015754"/>
            </a:xfrm>
            <a:custGeom>
              <a:avLst/>
              <a:gdLst>
                <a:gd name="connsiteX0" fmla="*/ 812042 w 1535373"/>
                <a:gd name="connsiteY0" fmla="*/ 211541 h 921224"/>
                <a:gd name="connsiteX1" fmla="*/ 184245 w 1535373"/>
                <a:gd name="connsiteY1" fmla="*/ 0 h 921224"/>
                <a:gd name="connsiteX2" fmla="*/ 143301 w 1535373"/>
                <a:gd name="connsiteY2" fmla="*/ 293427 h 921224"/>
                <a:gd name="connsiteX3" fmla="*/ 0 w 1535373"/>
                <a:gd name="connsiteY3" fmla="*/ 477672 h 921224"/>
                <a:gd name="connsiteX4" fmla="*/ 600501 w 1535373"/>
                <a:gd name="connsiteY4" fmla="*/ 764275 h 921224"/>
                <a:gd name="connsiteX5" fmla="*/ 709684 w 1535373"/>
                <a:gd name="connsiteY5" fmla="*/ 655093 h 921224"/>
                <a:gd name="connsiteX6" fmla="*/ 887104 w 1535373"/>
                <a:gd name="connsiteY6" fmla="*/ 702860 h 921224"/>
                <a:gd name="connsiteX7" fmla="*/ 1201003 w 1535373"/>
                <a:gd name="connsiteY7" fmla="*/ 921224 h 921224"/>
                <a:gd name="connsiteX8" fmla="*/ 1535373 w 1535373"/>
                <a:gd name="connsiteY8" fmla="*/ 825690 h 921224"/>
                <a:gd name="connsiteX9" fmla="*/ 1201003 w 1535373"/>
                <a:gd name="connsiteY9" fmla="*/ 689212 h 921224"/>
                <a:gd name="connsiteX10" fmla="*/ 1262418 w 1535373"/>
                <a:gd name="connsiteY10" fmla="*/ 457200 h 921224"/>
                <a:gd name="connsiteX11" fmla="*/ 996287 w 1535373"/>
                <a:gd name="connsiteY11" fmla="*/ 348018 h 921224"/>
                <a:gd name="connsiteX12" fmla="*/ 921224 w 1535373"/>
                <a:gd name="connsiteY12" fmla="*/ 457200 h 921224"/>
                <a:gd name="connsiteX13" fmla="*/ 777922 w 1535373"/>
                <a:gd name="connsiteY13" fmla="*/ 395785 h 921224"/>
                <a:gd name="connsiteX14" fmla="*/ 812042 w 1535373"/>
                <a:gd name="connsiteY14" fmla="*/ 211541 h 921224"/>
                <a:gd name="connsiteX0" fmla="*/ 812042 w 1535373"/>
                <a:gd name="connsiteY0" fmla="*/ 191663 h 901346"/>
                <a:gd name="connsiteX1" fmla="*/ 208099 w 1535373"/>
                <a:gd name="connsiteY1" fmla="*/ 0 h 901346"/>
                <a:gd name="connsiteX2" fmla="*/ 143301 w 1535373"/>
                <a:gd name="connsiteY2" fmla="*/ 273549 h 901346"/>
                <a:gd name="connsiteX3" fmla="*/ 0 w 1535373"/>
                <a:gd name="connsiteY3" fmla="*/ 457794 h 901346"/>
                <a:gd name="connsiteX4" fmla="*/ 600501 w 1535373"/>
                <a:gd name="connsiteY4" fmla="*/ 744397 h 901346"/>
                <a:gd name="connsiteX5" fmla="*/ 709684 w 1535373"/>
                <a:gd name="connsiteY5" fmla="*/ 635215 h 901346"/>
                <a:gd name="connsiteX6" fmla="*/ 887104 w 1535373"/>
                <a:gd name="connsiteY6" fmla="*/ 682982 h 901346"/>
                <a:gd name="connsiteX7" fmla="*/ 1201003 w 1535373"/>
                <a:gd name="connsiteY7" fmla="*/ 901346 h 901346"/>
                <a:gd name="connsiteX8" fmla="*/ 1535373 w 1535373"/>
                <a:gd name="connsiteY8" fmla="*/ 805812 h 901346"/>
                <a:gd name="connsiteX9" fmla="*/ 1201003 w 1535373"/>
                <a:gd name="connsiteY9" fmla="*/ 669334 h 901346"/>
                <a:gd name="connsiteX10" fmla="*/ 1262418 w 1535373"/>
                <a:gd name="connsiteY10" fmla="*/ 437322 h 901346"/>
                <a:gd name="connsiteX11" fmla="*/ 996287 w 1535373"/>
                <a:gd name="connsiteY11" fmla="*/ 328140 h 901346"/>
                <a:gd name="connsiteX12" fmla="*/ 921224 w 1535373"/>
                <a:gd name="connsiteY12" fmla="*/ 437322 h 901346"/>
                <a:gd name="connsiteX13" fmla="*/ 777922 w 1535373"/>
                <a:gd name="connsiteY13" fmla="*/ 375907 h 901346"/>
                <a:gd name="connsiteX14" fmla="*/ 812042 w 1535373"/>
                <a:gd name="connsiteY14" fmla="*/ 191663 h 901346"/>
                <a:gd name="connsiteX0" fmla="*/ 812042 w 1535373"/>
                <a:gd name="connsiteY0" fmla="*/ 204349 h 914032"/>
                <a:gd name="connsiteX1" fmla="*/ 208099 w 1535373"/>
                <a:gd name="connsiteY1" fmla="*/ 12686 h 914032"/>
                <a:gd name="connsiteX2" fmla="*/ 143301 w 1535373"/>
                <a:gd name="connsiteY2" fmla="*/ 286235 h 914032"/>
                <a:gd name="connsiteX3" fmla="*/ 0 w 1535373"/>
                <a:gd name="connsiteY3" fmla="*/ 470480 h 914032"/>
                <a:gd name="connsiteX4" fmla="*/ 600501 w 1535373"/>
                <a:gd name="connsiteY4" fmla="*/ 757083 h 914032"/>
                <a:gd name="connsiteX5" fmla="*/ 709684 w 1535373"/>
                <a:gd name="connsiteY5" fmla="*/ 647901 h 914032"/>
                <a:gd name="connsiteX6" fmla="*/ 887104 w 1535373"/>
                <a:gd name="connsiteY6" fmla="*/ 695668 h 914032"/>
                <a:gd name="connsiteX7" fmla="*/ 1201003 w 1535373"/>
                <a:gd name="connsiteY7" fmla="*/ 914032 h 914032"/>
                <a:gd name="connsiteX8" fmla="*/ 1535373 w 1535373"/>
                <a:gd name="connsiteY8" fmla="*/ 818498 h 914032"/>
                <a:gd name="connsiteX9" fmla="*/ 1201003 w 1535373"/>
                <a:gd name="connsiteY9" fmla="*/ 682020 h 914032"/>
                <a:gd name="connsiteX10" fmla="*/ 1262418 w 1535373"/>
                <a:gd name="connsiteY10" fmla="*/ 450008 h 914032"/>
                <a:gd name="connsiteX11" fmla="*/ 996287 w 1535373"/>
                <a:gd name="connsiteY11" fmla="*/ 340826 h 914032"/>
                <a:gd name="connsiteX12" fmla="*/ 921224 w 1535373"/>
                <a:gd name="connsiteY12" fmla="*/ 450008 h 914032"/>
                <a:gd name="connsiteX13" fmla="*/ 777922 w 1535373"/>
                <a:gd name="connsiteY13" fmla="*/ 388593 h 914032"/>
                <a:gd name="connsiteX14" fmla="*/ 812042 w 1535373"/>
                <a:gd name="connsiteY14" fmla="*/ 204349 h 914032"/>
                <a:gd name="connsiteX0" fmla="*/ 812042 w 1535373"/>
                <a:gd name="connsiteY0" fmla="*/ 204349 h 914032"/>
                <a:gd name="connsiteX1" fmla="*/ 208099 w 1535373"/>
                <a:gd name="connsiteY1" fmla="*/ 12686 h 914032"/>
                <a:gd name="connsiteX2" fmla="*/ 143301 w 1535373"/>
                <a:gd name="connsiteY2" fmla="*/ 286235 h 914032"/>
                <a:gd name="connsiteX3" fmla="*/ 0 w 1535373"/>
                <a:gd name="connsiteY3" fmla="*/ 470480 h 914032"/>
                <a:gd name="connsiteX4" fmla="*/ 600501 w 1535373"/>
                <a:gd name="connsiteY4" fmla="*/ 757083 h 914032"/>
                <a:gd name="connsiteX5" fmla="*/ 709684 w 1535373"/>
                <a:gd name="connsiteY5" fmla="*/ 647901 h 914032"/>
                <a:gd name="connsiteX6" fmla="*/ 887104 w 1535373"/>
                <a:gd name="connsiteY6" fmla="*/ 695668 h 914032"/>
                <a:gd name="connsiteX7" fmla="*/ 1201003 w 1535373"/>
                <a:gd name="connsiteY7" fmla="*/ 914032 h 914032"/>
                <a:gd name="connsiteX8" fmla="*/ 1535373 w 1535373"/>
                <a:gd name="connsiteY8" fmla="*/ 818498 h 914032"/>
                <a:gd name="connsiteX9" fmla="*/ 1201003 w 1535373"/>
                <a:gd name="connsiteY9" fmla="*/ 682020 h 914032"/>
                <a:gd name="connsiteX10" fmla="*/ 1262418 w 1535373"/>
                <a:gd name="connsiteY10" fmla="*/ 450008 h 914032"/>
                <a:gd name="connsiteX11" fmla="*/ 996287 w 1535373"/>
                <a:gd name="connsiteY11" fmla="*/ 340826 h 914032"/>
                <a:gd name="connsiteX12" fmla="*/ 921224 w 1535373"/>
                <a:gd name="connsiteY12" fmla="*/ 450008 h 914032"/>
                <a:gd name="connsiteX13" fmla="*/ 777922 w 1535373"/>
                <a:gd name="connsiteY13" fmla="*/ 388593 h 914032"/>
                <a:gd name="connsiteX14" fmla="*/ 812042 w 1535373"/>
                <a:gd name="connsiteY14" fmla="*/ 204349 h 914032"/>
                <a:gd name="connsiteX0" fmla="*/ 812042 w 1535373"/>
                <a:gd name="connsiteY0" fmla="*/ 204349 h 914032"/>
                <a:gd name="connsiteX1" fmla="*/ 208099 w 1535373"/>
                <a:gd name="connsiteY1" fmla="*/ 12686 h 914032"/>
                <a:gd name="connsiteX2" fmla="*/ 159203 w 1535373"/>
                <a:gd name="connsiteY2" fmla="*/ 306113 h 914032"/>
                <a:gd name="connsiteX3" fmla="*/ 0 w 1535373"/>
                <a:gd name="connsiteY3" fmla="*/ 470480 h 914032"/>
                <a:gd name="connsiteX4" fmla="*/ 600501 w 1535373"/>
                <a:gd name="connsiteY4" fmla="*/ 757083 h 914032"/>
                <a:gd name="connsiteX5" fmla="*/ 709684 w 1535373"/>
                <a:gd name="connsiteY5" fmla="*/ 647901 h 914032"/>
                <a:gd name="connsiteX6" fmla="*/ 887104 w 1535373"/>
                <a:gd name="connsiteY6" fmla="*/ 695668 h 914032"/>
                <a:gd name="connsiteX7" fmla="*/ 1201003 w 1535373"/>
                <a:gd name="connsiteY7" fmla="*/ 914032 h 914032"/>
                <a:gd name="connsiteX8" fmla="*/ 1535373 w 1535373"/>
                <a:gd name="connsiteY8" fmla="*/ 818498 h 914032"/>
                <a:gd name="connsiteX9" fmla="*/ 1201003 w 1535373"/>
                <a:gd name="connsiteY9" fmla="*/ 682020 h 914032"/>
                <a:gd name="connsiteX10" fmla="*/ 1262418 w 1535373"/>
                <a:gd name="connsiteY10" fmla="*/ 450008 h 914032"/>
                <a:gd name="connsiteX11" fmla="*/ 996287 w 1535373"/>
                <a:gd name="connsiteY11" fmla="*/ 340826 h 914032"/>
                <a:gd name="connsiteX12" fmla="*/ 921224 w 1535373"/>
                <a:gd name="connsiteY12" fmla="*/ 450008 h 914032"/>
                <a:gd name="connsiteX13" fmla="*/ 777922 w 1535373"/>
                <a:gd name="connsiteY13" fmla="*/ 388593 h 914032"/>
                <a:gd name="connsiteX14" fmla="*/ 812042 w 1535373"/>
                <a:gd name="connsiteY14" fmla="*/ 204349 h 914032"/>
                <a:gd name="connsiteX0" fmla="*/ 788188 w 1511519"/>
                <a:gd name="connsiteY0" fmla="*/ 204349 h 914032"/>
                <a:gd name="connsiteX1" fmla="*/ 184245 w 1511519"/>
                <a:gd name="connsiteY1" fmla="*/ 12686 h 914032"/>
                <a:gd name="connsiteX2" fmla="*/ 135349 w 1511519"/>
                <a:gd name="connsiteY2" fmla="*/ 306113 h 914032"/>
                <a:gd name="connsiteX3" fmla="*/ 0 w 1511519"/>
                <a:gd name="connsiteY3" fmla="*/ 518188 h 914032"/>
                <a:gd name="connsiteX4" fmla="*/ 576647 w 1511519"/>
                <a:gd name="connsiteY4" fmla="*/ 757083 h 914032"/>
                <a:gd name="connsiteX5" fmla="*/ 685830 w 1511519"/>
                <a:gd name="connsiteY5" fmla="*/ 647901 h 914032"/>
                <a:gd name="connsiteX6" fmla="*/ 863250 w 1511519"/>
                <a:gd name="connsiteY6" fmla="*/ 695668 h 914032"/>
                <a:gd name="connsiteX7" fmla="*/ 1177149 w 1511519"/>
                <a:gd name="connsiteY7" fmla="*/ 914032 h 914032"/>
                <a:gd name="connsiteX8" fmla="*/ 1511519 w 1511519"/>
                <a:gd name="connsiteY8" fmla="*/ 818498 h 914032"/>
                <a:gd name="connsiteX9" fmla="*/ 1177149 w 1511519"/>
                <a:gd name="connsiteY9" fmla="*/ 682020 h 914032"/>
                <a:gd name="connsiteX10" fmla="*/ 1238564 w 1511519"/>
                <a:gd name="connsiteY10" fmla="*/ 450008 h 914032"/>
                <a:gd name="connsiteX11" fmla="*/ 972433 w 1511519"/>
                <a:gd name="connsiteY11" fmla="*/ 340826 h 914032"/>
                <a:gd name="connsiteX12" fmla="*/ 897370 w 1511519"/>
                <a:gd name="connsiteY12" fmla="*/ 450008 h 914032"/>
                <a:gd name="connsiteX13" fmla="*/ 754068 w 1511519"/>
                <a:gd name="connsiteY13" fmla="*/ 388593 h 914032"/>
                <a:gd name="connsiteX14" fmla="*/ 788188 w 1511519"/>
                <a:gd name="connsiteY14" fmla="*/ 204349 h 914032"/>
                <a:gd name="connsiteX0" fmla="*/ 802902 w 1526233"/>
                <a:gd name="connsiteY0" fmla="*/ 204349 h 914032"/>
                <a:gd name="connsiteX1" fmla="*/ 198959 w 1526233"/>
                <a:gd name="connsiteY1" fmla="*/ 12686 h 914032"/>
                <a:gd name="connsiteX2" fmla="*/ 150063 w 1526233"/>
                <a:gd name="connsiteY2" fmla="*/ 306113 h 914032"/>
                <a:gd name="connsiteX3" fmla="*/ 14714 w 1526233"/>
                <a:gd name="connsiteY3" fmla="*/ 518188 h 914032"/>
                <a:gd name="connsiteX4" fmla="*/ 591361 w 1526233"/>
                <a:gd name="connsiteY4" fmla="*/ 757083 h 914032"/>
                <a:gd name="connsiteX5" fmla="*/ 700544 w 1526233"/>
                <a:gd name="connsiteY5" fmla="*/ 647901 h 914032"/>
                <a:gd name="connsiteX6" fmla="*/ 877964 w 1526233"/>
                <a:gd name="connsiteY6" fmla="*/ 695668 h 914032"/>
                <a:gd name="connsiteX7" fmla="*/ 1191863 w 1526233"/>
                <a:gd name="connsiteY7" fmla="*/ 914032 h 914032"/>
                <a:gd name="connsiteX8" fmla="*/ 1526233 w 1526233"/>
                <a:gd name="connsiteY8" fmla="*/ 818498 h 914032"/>
                <a:gd name="connsiteX9" fmla="*/ 1191863 w 1526233"/>
                <a:gd name="connsiteY9" fmla="*/ 682020 h 914032"/>
                <a:gd name="connsiteX10" fmla="*/ 1253278 w 1526233"/>
                <a:gd name="connsiteY10" fmla="*/ 450008 h 914032"/>
                <a:gd name="connsiteX11" fmla="*/ 987147 w 1526233"/>
                <a:gd name="connsiteY11" fmla="*/ 340826 h 914032"/>
                <a:gd name="connsiteX12" fmla="*/ 912084 w 1526233"/>
                <a:gd name="connsiteY12" fmla="*/ 450008 h 914032"/>
                <a:gd name="connsiteX13" fmla="*/ 768782 w 1526233"/>
                <a:gd name="connsiteY13" fmla="*/ 388593 h 914032"/>
                <a:gd name="connsiteX14" fmla="*/ 802902 w 1526233"/>
                <a:gd name="connsiteY14" fmla="*/ 204349 h 914032"/>
                <a:gd name="connsiteX0" fmla="*/ 802902 w 1526233"/>
                <a:gd name="connsiteY0" fmla="*/ 204349 h 914032"/>
                <a:gd name="connsiteX1" fmla="*/ 198959 w 1526233"/>
                <a:gd name="connsiteY1" fmla="*/ 12686 h 914032"/>
                <a:gd name="connsiteX2" fmla="*/ 150063 w 1526233"/>
                <a:gd name="connsiteY2" fmla="*/ 306113 h 914032"/>
                <a:gd name="connsiteX3" fmla="*/ 14714 w 1526233"/>
                <a:gd name="connsiteY3" fmla="*/ 518188 h 914032"/>
                <a:gd name="connsiteX4" fmla="*/ 591361 w 1526233"/>
                <a:gd name="connsiteY4" fmla="*/ 757083 h 914032"/>
                <a:gd name="connsiteX5" fmla="*/ 700544 w 1526233"/>
                <a:gd name="connsiteY5" fmla="*/ 647901 h 914032"/>
                <a:gd name="connsiteX6" fmla="*/ 877964 w 1526233"/>
                <a:gd name="connsiteY6" fmla="*/ 695668 h 914032"/>
                <a:gd name="connsiteX7" fmla="*/ 1191863 w 1526233"/>
                <a:gd name="connsiteY7" fmla="*/ 914032 h 914032"/>
                <a:gd name="connsiteX8" fmla="*/ 1526233 w 1526233"/>
                <a:gd name="connsiteY8" fmla="*/ 818498 h 914032"/>
                <a:gd name="connsiteX9" fmla="*/ 1191863 w 1526233"/>
                <a:gd name="connsiteY9" fmla="*/ 682020 h 914032"/>
                <a:gd name="connsiteX10" fmla="*/ 1253278 w 1526233"/>
                <a:gd name="connsiteY10" fmla="*/ 450008 h 914032"/>
                <a:gd name="connsiteX11" fmla="*/ 987147 w 1526233"/>
                <a:gd name="connsiteY11" fmla="*/ 340826 h 914032"/>
                <a:gd name="connsiteX12" fmla="*/ 912084 w 1526233"/>
                <a:gd name="connsiteY12" fmla="*/ 450008 h 914032"/>
                <a:gd name="connsiteX13" fmla="*/ 768782 w 1526233"/>
                <a:gd name="connsiteY13" fmla="*/ 388593 h 914032"/>
                <a:gd name="connsiteX14" fmla="*/ 802902 w 1526233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588668 w 1523540"/>
                <a:gd name="connsiteY4" fmla="*/ 757083 h 914032"/>
                <a:gd name="connsiteX5" fmla="*/ 697851 w 1523540"/>
                <a:gd name="connsiteY5" fmla="*/ 647901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52279 w 1523540"/>
                <a:gd name="connsiteY4" fmla="*/ 757083 h 914032"/>
                <a:gd name="connsiteX5" fmla="*/ 697851 w 1523540"/>
                <a:gd name="connsiteY5" fmla="*/ 647901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52279 w 1523540"/>
                <a:gd name="connsiteY4" fmla="*/ 757083 h 914032"/>
                <a:gd name="connsiteX5" fmla="*/ 697851 w 1523540"/>
                <a:gd name="connsiteY5" fmla="*/ 647901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52279 w 1523540"/>
                <a:gd name="connsiteY4" fmla="*/ 757083 h 914032"/>
                <a:gd name="connsiteX5" fmla="*/ 697851 w 1523540"/>
                <a:gd name="connsiteY5" fmla="*/ 647901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36377 w 1523540"/>
                <a:gd name="connsiteY4" fmla="*/ 741181 h 914032"/>
                <a:gd name="connsiteX5" fmla="*/ 697851 w 1523540"/>
                <a:gd name="connsiteY5" fmla="*/ 647901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36377 w 1523540"/>
                <a:gd name="connsiteY4" fmla="*/ 741181 h 914032"/>
                <a:gd name="connsiteX5" fmla="*/ 697851 w 1523540"/>
                <a:gd name="connsiteY5" fmla="*/ 647901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36377 w 1523540"/>
                <a:gd name="connsiteY4" fmla="*/ 741181 h 914032"/>
                <a:gd name="connsiteX5" fmla="*/ 697851 w 1523540"/>
                <a:gd name="connsiteY5" fmla="*/ 647901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36377 w 1523540"/>
                <a:gd name="connsiteY4" fmla="*/ 741181 h 914032"/>
                <a:gd name="connsiteX5" fmla="*/ 697851 w 1523540"/>
                <a:gd name="connsiteY5" fmla="*/ 647901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36377 w 1523540"/>
                <a:gd name="connsiteY4" fmla="*/ 741181 h 914032"/>
                <a:gd name="connsiteX5" fmla="*/ 697851 w 1523540"/>
                <a:gd name="connsiteY5" fmla="*/ 647901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36377 w 1523540"/>
                <a:gd name="connsiteY4" fmla="*/ 741181 h 914032"/>
                <a:gd name="connsiteX5" fmla="*/ 697851 w 1523540"/>
                <a:gd name="connsiteY5" fmla="*/ 647901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36377 w 1523540"/>
                <a:gd name="connsiteY4" fmla="*/ 741181 h 914032"/>
                <a:gd name="connsiteX5" fmla="*/ 705803 w 1523540"/>
                <a:gd name="connsiteY5" fmla="*/ 624047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36377 w 1523540"/>
                <a:gd name="connsiteY4" fmla="*/ 741181 h 914032"/>
                <a:gd name="connsiteX5" fmla="*/ 705803 w 1523540"/>
                <a:gd name="connsiteY5" fmla="*/ 624047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36377 w 1523540"/>
                <a:gd name="connsiteY4" fmla="*/ 741181 h 914032"/>
                <a:gd name="connsiteX5" fmla="*/ 705803 w 1523540"/>
                <a:gd name="connsiteY5" fmla="*/ 624047 h 914032"/>
                <a:gd name="connsiteX6" fmla="*/ 859369 w 1523540"/>
                <a:gd name="connsiteY6" fmla="*/ 679765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36377 w 1523540"/>
                <a:gd name="connsiteY4" fmla="*/ 741181 h 914032"/>
                <a:gd name="connsiteX5" fmla="*/ 705803 w 1523540"/>
                <a:gd name="connsiteY5" fmla="*/ 624047 h 914032"/>
                <a:gd name="connsiteX6" fmla="*/ 859369 w 1523540"/>
                <a:gd name="connsiteY6" fmla="*/ 679765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36377 w 1523540"/>
                <a:gd name="connsiteY4" fmla="*/ 741181 h 914032"/>
                <a:gd name="connsiteX5" fmla="*/ 705803 w 1523540"/>
                <a:gd name="connsiteY5" fmla="*/ 624047 h 914032"/>
                <a:gd name="connsiteX6" fmla="*/ 859369 w 1523540"/>
                <a:gd name="connsiteY6" fmla="*/ 679765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82628"/>
                <a:gd name="connsiteX1" fmla="*/ 196266 w 1523540"/>
                <a:gd name="connsiteY1" fmla="*/ 12686 h 982628"/>
                <a:gd name="connsiteX2" fmla="*/ 147370 w 1523540"/>
                <a:gd name="connsiteY2" fmla="*/ 306113 h 982628"/>
                <a:gd name="connsiteX3" fmla="*/ 12021 w 1523540"/>
                <a:gd name="connsiteY3" fmla="*/ 518188 h 982628"/>
                <a:gd name="connsiteX4" fmla="*/ 636377 w 1523540"/>
                <a:gd name="connsiteY4" fmla="*/ 741181 h 982628"/>
                <a:gd name="connsiteX5" fmla="*/ 705803 w 1523540"/>
                <a:gd name="connsiteY5" fmla="*/ 624047 h 982628"/>
                <a:gd name="connsiteX6" fmla="*/ 859369 w 1523540"/>
                <a:gd name="connsiteY6" fmla="*/ 679765 h 982628"/>
                <a:gd name="connsiteX7" fmla="*/ 1189170 w 1523540"/>
                <a:gd name="connsiteY7" fmla="*/ 914032 h 982628"/>
                <a:gd name="connsiteX8" fmla="*/ 1523540 w 1523540"/>
                <a:gd name="connsiteY8" fmla="*/ 818498 h 982628"/>
                <a:gd name="connsiteX9" fmla="*/ 1189170 w 1523540"/>
                <a:gd name="connsiteY9" fmla="*/ 682020 h 982628"/>
                <a:gd name="connsiteX10" fmla="*/ 1250585 w 1523540"/>
                <a:gd name="connsiteY10" fmla="*/ 450008 h 982628"/>
                <a:gd name="connsiteX11" fmla="*/ 984454 w 1523540"/>
                <a:gd name="connsiteY11" fmla="*/ 340826 h 982628"/>
                <a:gd name="connsiteX12" fmla="*/ 909391 w 1523540"/>
                <a:gd name="connsiteY12" fmla="*/ 450008 h 982628"/>
                <a:gd name="connsiteX13" fmla="*/ 766089 w 1523540"/>
                <a:gd name="connsiteY13" fmla="*/ 388593 h 982628"/>
                <a:gd name="connsiteX14" fmla="*/ 800209 w 1523540"/>
                <a:gd name="connsiteY14" fmla="*/ 204349 h 982628"/>
                <a:gd name="connsiteX0" fmla="*/ 800209 w 1554538"/>
                <a:gd name="connsiteY0" fmla="*/ 204349 h 982009"/>
                <a:gd name="connsiteX1" fmla="*/ 196266 w 1554538"/>
                <a:gd name="connsiteY1" fmla="*/ 12686 h 982009"/>
                <a:gd name="connsiteX2" fmla="*/ 147370 w 1554538"/>
                <a:gd name="connsiteY2" fmla="*/ 306113 h 982009"/>
                <a:gd name="connsiteX3" fmla="*/ 12021 w 1554538"/>
                <a:gd name="connsiteY3" fmla="*/ 518188 h 982009"/>
                <a:gd name="connsiteX4" fmla="*/ 636377 w 1554538"/>
                <a:gd name="connsiteY4" fmla="*/ 741181 h 982009"/>
                <a:gd name="connsiteX5" fmla="*/ 705803 w 1554538"/>
                <a:gd name="connsiteY5" fmla="*/ 624047 h 982009"/>
                <a:gd name="connsiteX6" fmla="*/ 859369 w 1554538"/>
                <a:gd name="connsiteY6" fmla="*/ 679765 h 982009"/>
                <a:gd name="connsiteX7" fmla="*/ 1189170 w 1554538"/>
                <a:gd name="connsiteY7" fmla="*/ 914032 h 982009"/>
                <a:gd name="connsiteX8" fmla="*/ 1523540 w 1554538"/>
                <a:gd name="connsiteY8" fmla="*/ 818498 h 982009"/>
                <a:gd name="connsiteX9" fmla="*/ 1189170 w 1554538"/>
                <a:gd name="connsiteY9" fmla="*/ 682020 h 982009"/>
                <a:gd name="connsiteX10" fmla="*/ 1250585 w 1554538"/>
                <a:gd name="connsiteY10" fmla="*/ 450008 h 982009"/>
                <a:gd name="connsiteX11" fmla="*/ 984454 w 1554538"/>
                <a:gd name="connsiteY11" fmla="*/ 340826 h 982009"/>
                <a:gd name="connsiteX12" fmla="*/ 909391 w 1554538"/>
                <a:gd name="connsiteY12" fmla="*/ 450008 h 982009"/>
                <a:gd name="connsiteX13" fmla="*/ 766089 w 1554538"/>
                <a:gd name="connsiteY13" fmla="*/ 388593 h 982009"/>
                <a:gd name="connsiteX14" fmla="*/ 800209 w 1554538"/>
                <a:gd name="connsiteY14" fmla="*/ 204349 h 982009"/>
                <a:gd name="connsiteX0" fmla="*/ 800209 w 1554538"/>
                <a:gd name="connsiteY0" fmla="*/ 204349 h 982009"/>
                <a:gd name="connsiteX1" fmla="*/ 196266 w 1554538"/>
                <a:gd name="connsiteY1" fmla="*/ 12686 h 982009"/>
                <a:gd name="connsiteX2" fmla="*/ 147370 w 1554538"/>
                <a:gd name="connsiteY2" fmla="*/ 306113 h 982009"/>
                <a:gd name="connsiteX3" fmla="*/ 12021 w 1554538"/>
                <a:gd name="connsiteY3" fmla="*/ 518188 h 982009"/>
                <a:gd name="connsiteX4" fmla="*/ 636377 w 1554538"/>
                <a:gd name="connsiteY4" fmla="*/ 741181 h 982009"/>
                <a:gd name="connsiteX5" fmla="*/ 705803 w 1554538"/>
                <a:gd name="connsiteY5" fmla="*/ 624047 h 982009"/>
                <a:gd name="connsiteX6" fmla="*/ 859369 w 1554538"/>
                <a:gd name="connsiteY6" fmla="*/ 679765 h 982009"/>
                <a:gd name="connsiteX7" fmla="*/ 1189170 w 1554538"/>
                <a:gd name="connsiteY7" fmla="*/ 914032 h 982009"/>
                <a:gd name="connsiteX8" fmla="*/ 1523540 w 1554538"/>
                <a:gd name="connsiteY8" fmla="*/ 818498 h 982009"/>
                <a:gd name="connsiteX9" fmla="*/ 1189170 w 1554538"/>
                <a:gd name="connsiteY9" fmla="*/ 682020 h 982009"/>
                <a:gd name="connsiteX10" fmla="*/ 1250585 w 1554538"/>
                <a:gd name="connsiteY10" fmla="*/ 450008 h 982009"/>
                <a:gd name="connsiteX11" fmla="*/ 984454 w 1554538"/>
                <a:gd name="connsiteY11" fmla="*/ 340826 h 982009"/>
                <a:gd name="connsiteX12" fmla="*/ 909391 w 1554538"/>
                <a:gd name="connsiteY12" fmla="*/ 450008 h 982009"/>
                <a:gd name="connsiteX13" fmla="*/ 766089 w 1554538"/>
                <a:gd name="connsiteY13" fmla="*/ 388593 h 982009"/>
                <a:gd name="connsiteX14" fmla="*/ 800209 w 1554538"/>
                <a:gd name="connsiteY14" fmla="*/ 204349 h 982009"/>
                <a:gd name="connsiteX0" fmla="*/ 800209 w 1554538"/>
                <a:gd name="connsiteY0" fmla="*/ 204349 h 982009"/>
                <a:gd name="connsiteX1" fmla="*/ 196266 w 1554538"/>
                <a:gd name="connsiteY1" fmla="*/ 12686 h 982009"/>
                <a:gd name="connsiteX2" fmla="*/ 147370 w 1554538"/>
                <a:gd name="connsiteY2" fmla="*/ 306113 h 982009"/>
                <a:gd name="connsiteX3" fmla="*/ 12021 w 1554538"/>
                <a:gd name="connsiteY3" fmla="*/ 518188 h 982009"/>
                <a:gd name="connsiteX4" fmla="*/ 636377 w 1554538"/>
                <a:gd name="connsiteY4" fmla="*/ 741181 h 982009"/>
                <a:gd name="connsiteX5" fmla="*/ 705803 w 1554538"/>
                <a:gd name="connsiteY5" fmla="*/ 624047 h 982009"/>
                <a:gd name="connsiteX6" fmla="*/ 859369 w 1554538"/>
                <a:gd name="connsiteY6" fmla="*/ 679765 h 982009"/>
                <a:gd name="connsiteX7" fmla="*/ 1189170 w 1554538"/>
                <a:gd name="connsiteY7" fmla="*/ 914032 h 982009"/>
                <a:gd name="connsiteX8" fmla="*/ 1523540 w 1554538"/>
                <a:gd name="connsiteY8" fmla="*/ 818498 h 982009"/>
                <a:gd name="connsiteX9" fmla="*/ 1173267 w 1554538"/>
                <a:gd name="connsiteY9" fmla="*/ 634312 h 982009"/>
                <a:gd name="connsiteX10" fmla="*/ 1250585 w 1554538"/>
                <a:gd name="connsiteY10" fmla="*/ 450008 h 982009"/>
                <a:gd name="connsiteX11" fmla="*/ 984454 w 1554538"/>
                <a:gd name="connsiteY11" fmla="*/ 340826 h 982009"/>
                <a:gd name="connsiteX12" fmla="*/ 909391 w 1554538"/>
                <a:gd name="connsiteY12" fmla="*/ 450008 h 982009"/>
                <a:gd name="connsiteX13" fmla="*/ 766089 w 1554538"/>
                <a:gd name="connsiteY13" fmla="*/ 388593 h 982009"/>
                <a:gd name="connsiteX14" fmla="*/ 800209 w 1554538"/>
                <a:gd name="connsiteY14" fmla="*/ 204349 h 982009"/>
                <a:gd name="connsiteX0" fmla="*/ 800209 w 1554538"/>
                <a:gd name="connsiteY0" fmla="*/ 204349 h 982009"/>
                <a:gd name="connsiteX1" fmla="*/ 196266 w 1554538"/>
                <a:gd name="connsiteY1" fmla="*/ 12686 h 982009"/>
                <a:gd name="connsiteX2" fmla="*/ 147370 w 1554538"/>
                <a:gd name="connsiteY2" fmla="*/ 306113 h 982009"/>
                <a:gd name="connsiteX3" fmla="*/ 12021 w 1554538"/>
                <a:gd name="connsiteY3" fmla="*/ 518188 h 982009"/>
                <a:gd name="connsiteX4" fmla="*/ 636377 w 1554538"/>
                <a:gd name="connsiteY4" fmla="*/ 741181 h 982009"/>
                <a:gd name="connsiteX5" fmla="*/ 705803 w 1554538"/>
                <a:gd name="connsiteY5" fmla="*/ 624047 h 982009"/>
                <a:gd name="connsiteX6" fmla="*/ 859369 w 1554538"/>
                <a:gd name="connsiteY6" fmla="*/ 679765 h 982009"/>
                <a:gd name="connsiteX7" fmla="*/ 1189170 w 1554538"/>
                <a:gd name="connsiteY7" fmla="*/ 914032 h 982009"/>
                <a:gd name="connsiteX8" fmla="*/ 1523540 w 1554538"/>
                <a:gd name="connsiteY8" fmla="*/ 818498 h 982009"/>
                <a:gd name="connsiteX9" fmla="*/ 1173267 w 1554538"/>
                <a:gd name="connsiteY9" fmla="*/ 634312 h 982009"/>
                <a:gd name="connsiteX10" fmla="*/ 1250585 w 1554538"/>
                <a:gd name="connsiteY10" fmla="*/ 450008 h 982009"/>
                <a:gd name="connsiteX11" fmla="*/ 984454 w 1554538"/>
                <a:gd name="connsiteY11" fmla="*/ 340826 h 982009"/>
                <a:gd name="connsiteX12" fmla="*/ 909391 w 1554538"/>
                <a:gd name="connsiteY12" fmla="*/ 450008 h 982009"/>
                <a:gd name="connsiteX13" fmla="*/ 766089 w 1554538"/>
                <a:gd name="connsiteY13" fmla="*/ 388593 h 982009"/>
                <a:gd name="connsiteX14" fmla="*/ 800209 w 1554538"/>
                <a:gd name="connsiteY14" fmla="*/ 204349 h 982009"/>
                <a:gd name="connsiteX0" fmla="*/ 800209 w 1542543"/>
                <a:gd name="connsiteY0" fmla="*/ 204349 h 976908"/>
                <a:gd name="connsiteX1" fmla="*/ 196266 w 1542543"/>
                <a:gd name="connsiteY1" fmla="*/ 12686 h 976908"/>
                <a:gd name="connsiteX2" fmla="*/ 147370 w 1542543"/>
                <a:gd name="connsiteY2" fmla="*/ 306113 h 976908"/>
                <a:gd name="connsiteX3" fmla="*/ 12021 w 1542543"/>
                <a:gd name="connsiteY3" fmla="*/ 518188 h 976908"/>
                <a:gd name="connsiteX4" fmla="*/ 636377 w 1542543"/>
                <a:gd name="connsiteY4" fmla="*/ 741181 h 976908"/>
                <a:gd name="connsiteX5" fmla="*/ 705803 w 1542543"/>
                <a:gd name="connsiteY5" fmla="*/ 624047 h 976908"/>
                <a:gd name="connsiteX6" fmla="*/ 859369 w 1542543"/>
                <a:gd name="connsiteY6" fmla="*/ 679765 h 976908"/>
                <a:gd name="connsiteX7" fmla="*/ 1189170 w 1542543"/>
                <a:gd name="connsiteY7" fmla="*/ 914032 h 976908"/>
                <a:gd name="connsiteX8" fmla="*/ 1507637 w 1542543"/>
                <a:gd name="connsiteY8" fmla="*/ 786693 h 976908"/>
                <a:gd name="connsiteX9" fmla="*/ 1173267 w 1542543"/>
                <a:gd name="connsiteY9" fmla="*/ 634312 h 976908"/>
                <a:gd name="connsiteX10" fmla="*/ 1250585 w 1542543"/>
                <a:gd name="connsiteY10" fmla="*/ 450008 h 976908"/>
                <a:gd name="connsiteX11" fmla="*/ 984454 w 1542543"/>
                <a:gd name="connsiteY11" fmla="*/ 340826 h 976908"/>
                <a:gd name="connsiteX12" fmla="*/ 909391 w 1542543"/>
                <a:gd name="connsiteY12" fmla="*/ 450008 h 976908"/>
                <a:gd name="connsiteX13" fmla="*/ 766089 w 1542543"/>
                <a:gd name="connsiteY13" fmla="*/ 388593 h 976908"/>
                <a:gd name="connsiteX14" fmla="*/ 800209 w 1542543"/>
                <a:gd name="connsiteY14" fmla="*/ 204349 h 976908"/>
                <a:gd name="connsiteX0" fmla="*/ 800209 w 1542543"/>
                <a:gd name="connsiteY0" fmla="*/ 204349 h 976908"/>
                <a:gd name="connsiteX1" fmla="*/ 196266 w 1542543"/>
                <a:gd name="connsiteY1" fmla="*/ 12686 h 976908"/>
                <a:gd name="connsiteX2" fmla="*/ 147370 w 1542543"/>
                <a:gd name="connsiteY2" fmla="*/ 306113 h 976908"/>
                <a:gd name="connsiteX3" fmla="*/ 12021 w 1542543"/>
                <a:gd name="connsiteY3" fmla="*/ 518188 h 976908"/>
                <a:gd name="connsiteX4" fmla="*/ 636377 w 1542543"/>
                <a:gd name="connsiteY4" fmla="*/ 741181 h 976908"/>
                <a:gd name="connsiteX5" fmla="*/ 705803 w 1542543"/>
                <a:gd name="connsiteY5" fmla="*/ 624047 h 976908"/>
                <a:gd name="connsiteX6" fmla="*/ 859369 w 1542543"/>
                <a:gd name="connsiteY6" fmla="*/ 679765 h 976908"/>
                <a:gd name="connsiteX7" fmla="*/ 1189170 w 1542543"/>
                <a:gd name="connsiteY7" fmla="*/ 914032 h 976908"/>
                <a:gd name="connsiteX8" fmla="*/ 1507637 w 1542543"/>
                <a:gd name="connsiteY8" fmla="*/ 786693 h 976908"/>
                <a:gd name="connsiteX9" fmla="*/ 1173267 w 1542543"/>
                <a:gd name="connsiteY9" fmla="*/ 634312 h 976908"/>
                <a:gd name="connsiteX10" fmla="*/ 1250585 w 1542543"/>
                <a:gd name="connsiteY10" fmla="*/ 450008 h 976908"/>
                <a:gd name="connsiteX11" fmla="*/ 984454 w 1542543"/>
                <a:gd name="connsiteY11" fmla="*/ 340826 h 976908"/>
                <a:gd name="connsiteX12" fmla="*/ 909391 w 1542543"/>
                <a:gd name="connsiteY12" fmla="*/ 450008 h 976908"/>
                <a:gd name="connsiteX13" fmla="*/ 766089 w 1542543"/>
                <a:gd name="connsiteY13" fmla="*/ 388593 h 976908"/>
                <a:gd name="connsiteX14" fmla="*/ 800209 w 1542543"/>
                <a:gd name="connsiteY14" fmla="*/ 204349 h 976908"/>
                <a:gd name="connsiteX0" fmla="*/ 800209 w 1522966"/>
                <a:gd name="connsiteY0" fmla="*/ 204349 h 975249"/>
                <a:gd name="connsiteX1" fmla="*/ 196266 w 1522966"/>
                <a:gd name="connsiteY1" fmla="*/ 12686 h 975249"/>
                <a:gd name="connsiteX2" fmla="*/ 147370 w 1522966"/>
                <a:gd name="connsiteY2" fmla="*/ 306113 h 975249"/>
                <a:gd name="connsiteX3" fmla="*/ 12021 w 1522966"/>
                <a:gd name="connsiteY3" fmla="*/ 518188 h 975249"/>
                <a:gd name="connsiteX4" fmla="*/ 636377 w 1522966"/>
                <a:gd name="connsiteY4" fmla="*/ 741181 h 975249"/>
                <a:gd name="connsiteX5" fmla="*/ 705803 w 1522966"/>
                <a:gd name="connsiteY5" fmla="*/ 624047 h 975249"/>
                <a:gd name="connsiteX6" fmla="*/ 859369 w 1522966"/>
                <a:gd name="connsiteY6" fmla="*/ 679765 h 975249"/>
                <a:gd name="connsiteX7" fmla="*/ 1189170 w 1522966"/>
                <a:gd name="connsiteY7" fmla="*/ 914032 h 975249"/>
                <a:gd name="connsiteX8" fmla="*/ 1507637 w 1522966"/>
                <a:gd name="connsiteY8" fmla="*/ 786693 h 975249"/>
                <a:gd name="connsiteX9" fmla="*/ 1173267 w 1522966"/>
                <a:gd name="connsiteY9" fmla="*/ 634312 h 975249"/>
                <a:gd name="connsiteX10" fmla="*/ 1250585 w 1522966"/>
                <a:gd name="connsiteY10" fmla="*/ 450008 h 975249"/>
                <a:gd name="connsiteX11" fmla="*/ 984454 w 1522966"/>
                <a:gd name="connsiteY11" fmla="*/ 340826 h 975249"/>
                <a:gd name="connsiteX12" fmla="*/ 909391 w 1522966"/>
                <a:gd name="connsiteY12" fmla="*/ 450008 h 975249"/>
                <a:gd name="connsiteX13" fmla="*/ 766089 w 1522966"/>
                <a:gd name="connsiteY13" fmla="*/ 388593 h 975249"/>
                <a:gd name="connsiteX14" fmla="*/ 800209 w 1522966"/>
                <a:gd name="connsiteY14" fmla="*/ 204349 h 975249"/>
                <a:gd name="connsiteX0" fmla="*/ 800209 w 1538655"/>
                <a:gd name="connsiteY0" fmla="*/ 204349 h 976321"/>
                <a:gd name="connsiteX1" fmla="*/ 196266 w 1538655"/>
                <a:gd name="connsiteY1" fmla="*/ 12686 h 976321"/>
                <a:gd name="connsiteX2" fmla="*/ 147370 w 1538655"/>
                <a:gd name="connsiteY2" fmla="*/ 306113 h 976321"/>
                <a:gd name="connsiteX3" fmla="*/ 12021 w 1538655"/>
                <a:gd name="connsiteY3" fmla="*/ 518188 h 976321"/>
                <a:gd name="connsiteX4" fmla="*/ 636377 w 1538655"/>
                <a:gd name="connsiteY4" fmla="*/ 741181 h 976321"/>
                <a:gd name="connsiteX5" fmla="*/ 705803 w 1538655"/>
                <a:gd name="connsiteY5" fmla="*/ 624047 h 976321"/>
                <a:gd name="connsiteX6" fmla="*/ 859369 w 1538655"/>
                <a:gd name="connsiteY6" fmla="*/ 679765 h 976321"/>
                <a:gd name="connsiteX7" fmla="*/ 1189170 w 1538655"/>
                <a:gd name="connsiteY7" fmla="*/ 914032 h 976321"/>
                <a:gd name="connsiteX8" fmla="*/ 1507637 w 1538655"/>
                <a:gd name="connsiteY8" fmla="*/ 786693 h 976321"/>
                <a:gd name="connsiteX9" fmla="*/ 1173267 w 1538655"/>
                <a:gd name="connsiteY9" fmla="*/ 634312 h 976321"/>
                <a:gd name="connsiteX10" fmla="*/ 1250585 w 1538655"/>
                <a:gd name="connsiteY10" fmla="*/ 450008 h 976321"/>
                <a:gd name="connsiteX11" fmla="*/ 984454 w 1538655"/>
                <a:gd name="connsiteY11" fmla="*/ 340826 h 976321"/>
                <a:gd name="connsiteX12" fmla="*/ 909391 w 1538655"/>
                <a:gd name="connsiteY12" fmla="*/ 450008 h 976321"/>
                <a:gd name="connsiteX13" fmla="*/ 766089 w 1538655"/>
                <a:gd name="connsiteY13" fmla="*/ 388593 h 976321"/>
                <a:gd name="connsiteX14" fmla="*/ 800209 w 1538655"/>
                <a:gd name="connsiteY14" fmla="*/ 204349 h 976321"/>
                <a:gd name="connsiteX0" fmla="*/ 800209 w 1556774"/>
                <a:gd name="connsiteY0" fmla="*/ 204349 h 981339"/>
                <a:gd name="connsiteX1" fmla="*/ 196266 w 1556774"/>
                <a:gd name="connsiteY1" fmla="*/ 12686 h 981339"/>
                <a:gd name="connsiteX2" fmla="*/ 147370 w 1556774"/>
                <a:gd name="connsiteY2" fmla="*/ 306113 h 981339"/>
                <a:gd name="connsiteX3" fmla="*/ 12021 w 1556774"/>
                <a:gd name="connsiteY3" fmla="*/ 518188 h 981339"/>
                <a:gd name="connsiteX4" fmla="*/ 636377 w 1556774"/>
                <a:gd name="connsiteY4" fmla="*/ 741181 h 981339"/>
                <a:gd name="connsiteX5" fmla="*/ 705803 w 1556774"/>
                <a:gd name="connsiteY5" fmla="*/ 624047 h 981339"/>
                <a:gd name="connsiteX6" fmla="*/ 859369 w 1556774"/>
                <a:gd name="connsiteY6" fmla="*/ 679765 h 981339"/>
                <a:gd name="connsiteX7" fmla="*/ 1189170 w 1556774"/>
                <a:gd name="connsiteY7" fmla="*/ 914032 h 981339"/>
                <a:gd name="connsiteX8" fmla="*/ 1507637 w 1556774"/>
                <a:gd name="connsiteY8" fmla="*/ 786693 h 981339"/>
                <a:gd name="connsiteX9" fmla="*/ 1173267 w 1556774"/>
                <a:gd name="connsiteY9" fmla="*/ 634312 h 981339"/>
                <a:gd name="connsiteX10" fmla="*/ 1250585 w 1556774"/>
                <a:gd name="connsiteY10" fmla="*/ 450008 h 981339"/>
                <a:gd name="connsiteX11" fmla="*/ 984454 w 1556774"/>
                <a:gd name="connsiteY11" fmla="*/ 340826 h 981339"/>
                <a:gd name="connsiteX12" fmla="*/ 909391 w 1556774"/>
                <a:gd name="connsiteY12" fmla="*/ 450008 h 981339"/>
                <a:gd name="connsiteX13" fmla="*/ 766089 w 1556774"/>
                <a:gd name="connsiteY13" fmla="*/ 388593 h 981339"/>
                <a:gd name="connsiteX14" fmla="*/ 800209 w 1556774"/>
                <a:gd name="connsiteY14" fmla="*/ 204349 h 981339"/>
                <a:gd name="connsiteX0" fmla="*/ 800209 w 1556774"/>
                <a:gd name="connsiteY0" fmla="*/ 204349 h 981339"/>
                <a:gd name="connsiteX1" fmla="*/ 196266 w 1556774"/>
                <a:gd name="connsiteY1" fmla="*/ 12686 h 981339"/>
                <a:gd name="connsiteX2" fmla="*/ 147370 w 1556774"/>
                <a:gd name="connsiteY2" fmla="*/ 306113 h 981339"/>
                <a:gd name="connsiteX3" fmla="*/ 12021 w 1556774"/>
                <a:gd name="connsiteY3" fmla="*/ 518188 h 981339"/>
                <a:gd name="connsiteX4" fmla="*/ 636377 w 1556774"/>
                <a:gd name="connsiteY4" fmla="*/ 741181 h 981339"/>
                <a:gd name="connsiteX5" fmla="*/ 705803 w 1556774"/>
                <a:gd name="connsiteY5" fmla="*/ 624047 h 981339"/>
                <a:gd name="connsiteX6" fmla="*/ 859369 w 1556774"/>
                <a:gd name="connsiteY6" fmla="*/ 679765 h 981339"/>
                <a:gd name="connsiteX7" fmla="*/ 1189170 w 1556774"/>
                <a:gd name="connsiteY7" fmla="*/ 914032 h 981339"/>
                <a:gd name="connsiteX8" fmla="*/ 1507637 w 1556774"/>
                <a:gd name="connsiteY8" fmla="*/ 786693 h 981339"/>
                <a:gd name="connsiteX9" fmla="*/ 1173267 w 1556774"/>
                <a:gd name="connsiteY9" fmla="*/ 634312 h 981339"/>
                <a:gd name="connsiteX10" fmla="*/ 1250585 w 1556774"/>
                <a:gd name="connsiteY10" fmla="*/ 450008 h 981339"/>
                <a:gd name="connsiteX11" fmla="*/ 984454 w 1556774"/>
                <a:gd name="connsiteY11" fmla="*/ 340826 h 981339"/>
                <a:gd name="connsiteX12" fmla="*/ 909391 w 1556774"/>
                <a:gd name="connsiteY12" fmla="*/ 450008 h 981339"/>
                <a:gd name="connsiteX13" fmla="*/ 766089 w 1556774"/>
                <a:gd name="connsiteY13" fmla="*/ 388593 h 981339"/>
                <a:gd name="connsiteX14" fmla="*/ 800209 w 1556774"/>
                <a:gd name="connsiteY14" fmla="*/ 204349 h 981339"/>
                <a:gd name="connsiteX0" fmla="*/ 800209 w 1556774"/>
                <a:gd name="connsiteY0" fmla="*/ 204349 h 981339"/>
                <a:gd name="connsiteX1" fmla="*/ 196266 w 1556774"/>
                <a:gd name="connsiteY1" fmla="*/ 12686 h 981339"/>
                <a:gd name="connsiteX2" fmla="*/ 147370 w 1556774"/>
                <a:gd name="connsiteY2" fmla="*/ 306113 h 981339"/>
                <a:gd name="connsiteX3" fmla="*/ 12021 w 1556774"/>
                <a:gd name="connsiteY3" fmla="*/ 518188 h 981339"/>
                <a:gd name="connsiteX4" fmla="*/ 636377 w 1556774"/>
                <a:gd name="connsiteY4" fmla="*/ 741181 h 981339"/>
                <a:gd name="connsiteX5" fmla="*/ 705803 w 1556774"/>
                <a:gd name="connsiteY5" fmla="*/ 624047 h 981339"/>
                <a:gd name="connsiteX6" fmla="*/ 859369 w 1556774"/>
                <a:gd name="connsiteY6" fmla="*/ 679765 h 981339"/>
                <a:gd name="connsiteX7" fmla="*/ 1189170 w 1556774"/>
                <a:gd name="connsiteY7" fmla="*/ 914032 h 981339"/>
                <a:gd name="connsiteX8" fmla="*/ 1507637 w 1556774"/>
                <a:gd name="connsiteY8" fmla="*/ 786693 h 981339"/>
                <a:gd name="connsiteX9" fmla="*/ 1173267 w 1556774"/>
                <a:gd name="connsiteY9" fmla="*/ 634312 h 981339"/>
                <a:gd name="connsiteX10" fmla="*/ 1250585 w 1556774"/>
                <a:gd name="connsiteY10" fmla="*/ 450008 h 981339"/>
                <a:gd name="connsiteX11" fmla="*/ 984454 w 1556774"/>
                <a:gd name="connsiteY11" fmla="*/ 340826 h 981339"/>
                <a:gd name="connsiteX12" fmla="*/ 909391 w 1556774"/>
                <a:gd name="connsiteY12" fmla="*/ 450008 h 981339"/>
                <a:gd name="connsiteX13" fmla="*/ 766089 w 1556774"/>
                <a:gd name="connsiteY13" fmla="*/ 388593 h 981339"/>
                <a:gd name="connsiteX14" fmla="*/ 800209 w 1556774"/>
                <a:gd name="connsiteY14" fmla="*/ 204349 h 981339"/>
                <a:gd name="connsiteX0" fmla="*/ 800209 w 1556774"/>
                <a:gd name="connsiteY0" fmla="*/ 204349 h 981339"/>
                <a:gd name="connsiteX1" fmla="*/ 196266 w 1556774"/>
                <a:gd name="connsiteY1" fmla="*/ 12686 h 981339"/>
                <a:gd name="connsiteX2" fmla="*/ 147370 w 1556774"/>
                <a:gd name="connsiteY2" fmla="*/ 306113 h 981339"/>
                <a:gd name="connsiteX3" fmla="*/ 12021 w 1556774"/>
                <a:gd name="connsiteY3" fmla="*/ 518188 h 981339"/>
                <a:gd name="connsiteX4" fmla="*/ 636377 w 1556774"/>
                <a:gd name="connsiteY4" fmla="*/ 741181 h 981339"/>
                <a:gd name="connsiteX5" fmla="*/ 705803 w 1556774"/>
                <a:gd name="connsiteY5" fmla="*/ 624047 h 981339"/>
                <a:gd name="connsiteX6" fmla="*/ 859369 w 1556774"/>
                <a:gd name="connsiteY6" fmla="*/ 679765 h 981339"/>
                <a:gd name="connsiteX7" fmla="*/ 1189170 w 1556774"/>
                <a:gd name="connsiteY7" fmla="*/ 914032 h 981339"/>
                <a:gd name="connsiteX8" fmla="*/ 1507637 w 1556774"/>
                <a:gd name="connsiteY8" fmla="*/ 786693 h 981339"/>
                <a:gd name="connsiteX9" fmla="*/ 1173267 w 1556774"/>
                <a:gd name="connsiteY9" fmla="*/ 634312 h 981339"/>
                <a:gd name="connsiteX10" fmla="*/ 1250585 w 1556774"/>
                <a:gd name="connsiteY10" fmla="*/ 450008 h 981339"/>
                <a:gd name="connsiteX11" fmla="*/ 984454 w 1556774"/>
                <a:gd name="connsiteY11" fmla="*/ 340826 h 981339"/>
                <a:gd name="connsiteX12" fmla="*/ 909391 w 1556774"/>
                <a:gd name="connsiteY12" fmla="*/ 450008 h 981339"/>
                <a:gd name="connsiteX13" fmla="*/ 766089 w 1556774"/>
                <a:gd name="connsiteY13" fmla="*/ 388593 h 981339"/>
                <a:gd name="connsiteX14" fmla="*/ 800209 w 1556774"/>
                <a:gd name="connsiteY14" fmla="*/ 204349 h 981339"/>
                <a:gd name="connsiteX0" fmla="*/ 800209 w 1556774"/>
                <a:gd name="connsiteY0" fmla="*/ 204349 h 981339"/>
                <a:gd name="connsiteX1" fmla="*/ 196266 w 1556774"/>
                <a:gd name="connsiteY1" fmla="*/ 12686 h 981339"/>
                <a:gd name="connsiteX2" fmla="*/ 147370 w 1556774"/>
                <a:gd name="connsiteY2" fmla="*/ 306113 h 981339"/>
                <a:gd name="connsiteX3" fmla="*/ 12021 w 1556774"/>
                <a:gd name="connsiteY3" fmla="*/ 518188 h 981339"/>
                <a:gd name="connsiteX4" fmla="*/ 636377 w 1556774"/>
                <a:gd name="connsiteY4" fmla="*/ 741181 h 981339"/>
                <a:gd name="connsiteX5" fmla="*/ 705803 w 1556774"/>
                <a:gd name="connsiteY5" fmla="*/ 624047 h 981339"/>
                <a:gd name="connsiteX6" fmla="*/ 859369 w 1556774"/>
                <a:gd name="connsiteY6" fmla="*/ 679765 h 981339"/>
                <a:gd name="connsiteX7" fmla="*/ 1189170 w 1556774"/>
                <a:gd name="connsiteY7" fmla="*/ 914032 h 981339"/>
                <a:gd name="connsiteX8" fmla="*/ 1507637 w 1556774"/>
                <a:gd name="connsiteY8" fmla="*/ 786693 h 981339"/>
                <a:gd name="connsiteX9" fmla="*/ 1173267 w 1556774"/>
                <a:gd name="connsiteY9" fmla="*/ 634312 h 981339"/>
                <a:gd name="connsiteX10" fmla="*/ 1250585 w 1556774"/>
                <a:gd name="connsiteY10" fmla="*/ 450008 h 981339"/>
                <a:gd name="connsiteX11" fmla="*/ 964576 w 1556774"/>
                <a:gd name="connsiteY11" fmla="*/ 344802 h 981339"/>
                <a:gd name="connsiteX12" fmla="*/ 909391 w 1556774"/>
                <a:gd name="connsiteY12" fmla="*/ 450008 h 981339"/>
                <a:gd name="connsiteX13" fmla="*/ 766089 w 1556774"/>
                <a:gd name="connsiteY13" fmla="*/ 388593 h 981339"/>
                <a:gd name="connsiteX14" fmla="*/ 800209 w 1556774"/>
                <a:gd name="connsiteY14" fmla="*/ 204349 h 981339"/>
                <a:gd name="connsiteX0" fmla="*/ 800209 w 1556774"/>
                <a:gd name="connsiteY0" fmla="*/ 204349 h 981339"/>
                <a:gd name="connsiteX1" fmla="*/ 196266 w 1556774"/>
                <a:gd name="connsiteY1" fmla="*/ 12686 h 981339"/>
                <a:gd name="connsiteX2" fmla="*/ 147370 w 1556774"/>
                <a:gd name="connsiteY2" fmla="*/ 306113 h 981339"/>
                <a:gd name="connsiteX3" fmla="*/ 12021 w 1556774"/>
                <a:gd name="connsiteY3" fmla="*/ 518188 h 981339"/>
                <a:gd name="connsiteX4" fmla="*/ 636377 w 1556774"/>
                <a:gd name="connsiteY4" fmla="*/ 741181 h 981339"/>
                <a:gd name="connsiteX5" fmla="*/ 705803 w 1556774"/>
                <a:gd name="connsiteY5" fmla="*/ 624047 h 981339"/>
                <a:gd name="connsiteX6" fmla="*/ 859369 w 1556774"/>
                <a:gd name="connsiteY6" fmla="*/ 679765 h 981339"/>
                <a:gd name="connsiteX7" fmla="*/ 1189170 w 1556774"/>
                <a:gd name="connsiteY7" fmla="*/ 914032 h 981339"/>
                <a:gd name="connsiteX8" fmla="*/ 1507637 w 1556774"/>
                <a:gd name="connsiteY8" fmla="*/ 786693 h 981339"/>
                <a:gd name="connsiteX9" fmla="*/ 1173267 w 1556774"/>
                <a:gd name="connsiteY9" fmla="*/ 634312 h 981339"/>
                <a:gd name="connsiteX10" fmla="*/ 1250585 w 1556774"/>
                <a:gd name="connsiteY10" fmla="*/ 450008 h 981339"/>
                <a:gd name="connsiteX11" fmla="*/ 964576 w 1556774"/>
                <a:gd name="connsiteY11" fmla="*/ 344802 h 981339"/>
                <a:gd name="connsiteX12" fmla="*/ 909391 w 1556774"/>
                <a:gd name="connsiteY12" fmla="*/ 450008 h 981339"/>
                <a:gd name="connsiteX13" fmla="*/ 766089 w 1556774"/>
                <a:gd name="connsiteY13" fmla="*/ 388593 h 981339"/>
                <a:gd name="connsiteX14" fmla="*/ 800209 w 1556774"/>
                <a:gd name="connsiteY14" fmla="*/ 204349 h 981339"/>
                <a:gd name="connsiteX0" fmla="*/ 800209 w 1556774"/>
                <a:gd name="connsiteY0" fmla="*/ 204349 h 981339"/>
                <a:gd name="connsiteX1" fmla="*/ 196266 w 1556774"/>
                <a:gd name="connsiteY1" fmla="*/ 12686 h 981339"/>
                <a:gd name="connsiteX2" fmla="*/ 147370 w 1556774"/>
                <a:gd name="connsiteY2" fmla="*/ 306113 h 981339"/>
                <a:gd name="connsiteX3" fmla="*/ 12021 w 1556774"/>
                <a:gd name="connsiteY3" fmla="*/ 518188 h 981339"/>
                <a:gd name="connsiteX4" fmla="*/ 636377 w 1556774"/>
                <a:gd name="connsiteY4" fmla="*/ 741181 h 981339"/>
                <a:gd name="connsiteX5" fmla="*/ 705803 w 1556774"/>
                <a:gd name="connsiteY5" fmla="*/ 624047 h 981339"/>
                <a:gd name="connsiteX6" fmla="*/ 859369 w 1556774"/>
                <a:gd name="connsiteY6" fmla="*/ 679765 h 981339"/>
                <a:gd name="connsiteX7" fmla="*/ 1189170 w 1556774"/>
                <a:gd name="connsiteY7" fmla="*/ 914032 h 981339"/>
                <a:gd name="connsiteX8" fmla="*/ 1507637 w 1556774"/>
                <a:gd name="connsiteY8" fmla="*/ 786693 h 981339"/>
                <a:gd name="connsiteX9" fmla="*/ 1173267 w 1556774"/>
                <a:gd name="connsiteY9" fmla="*/ 634312 h 981339"/>
                <a:gd name="connsiteX10" fmla="*/ 1250585 w 1556774"/>
                <a:gd name="connsiteY10" fmla="*/ 450008 h 981339"/>
                <a:gd name="connsiteX11" fmla="*/ 964576 w 1556774"/>
                <a:gd name="connsiteY11" fmla="*/ 344802 h 981339"/>
                <a:gd name="connsiteX12" fmla="*/ 909391 w 1556774"/>
                <a:gd name="connsiteY12" fmla="*/ 450008 h 981339"/>
                <a:gd name="connsiteX13" fmla="*/ 766089 w 1556774"/>
                <a:gd name="connsiteY13" fmla="*/ 388593 h 981339"/>
                <a:gd name="connsiteX14" fmla="*/ 800209 w 1556774"/>
                <a:gd name="connsiteY14" fmla="*/ 204349 h 981339"/>
                <a:gd name="connsiteX0" fmla="*/ 800209 w 1556774"/>
                <a:gd name="connsiteY0" fmla="*/ 204349 h 981339"/>
                <a:gd name="connsiteX1" fmla="*/ 196266 w 1556774"/>
                <a:gd name="connsiteY1" fmla="*/ 12686 h 981339"/>
                <a:gd name="connsiteX2" fmla="*/ 147370 w 1556774"/>
                <a:gd name="connsiteY2" fmla="*/ 306113 h 981339"/>
                <a:gd name="connsiteX3" fmla="*/ 12021 w 1556774"/>
                <a:gd name="connsiteY3" fmla="*/ 518188 h 981339"/>
                <a:gd name="connsiteX4" fmla="*/ 636377 w 1556774"/>
                <a:gd name="connsiteY4" fmla="*/ 741181 h 981339"/>
                <a:gd name="connsiteX5" fmla="*/ 705803 w 1556774"/>
                <a:gd name="connsiteY5" fmla="*/ 624047 h 981339"/>
                <a:gd name="connsiteX6" fmla="*/ 859369 w 1556774"/>
                <a:gd name="connsiteY6" fmla="*/ 679765 h 981339"/>
                <a:gd name="connsiteX7" fmla="*/ 1189170 w 1556774"/>
                <a:gd name="connsiteY7" fmla="*/ 914032 h 981339"/>
                <a:gd name="connsiteX8" fmla="*/ 1507637 w 1556774"/>
                <a:gd name="connsiteY8" fmla="*/ 786693 h 981339"/>
                <a:gd name="connsiteX9" fmla="*/ 1173267 w 1556774"/>
                <a:gd name="connsiteY9" fmla="*/ 634312 h 981339"/>
                <a:gd name="connsiteX10" fmla="*/ 1250585 w 1556774"/>
                <a:gd name="connsiteY10" fmla="*/ 450008 h 981339"/>
                <a:gd name="connsiteX11" fmla="*/ 964576 w 1556774"/>
                <a:gd name="connsiteY11" fmla="*/ 344802 h 981339"/>
                <a:gd name="connsiteX12" fmla="*/ 909391 w 1556774"/>
                <a:gd name="connsiteY12" fmla="*/ 450008 h 981339"/>
                <a:gd name="connsiteX13" fmla="*/ 766089 w 1556774"/>
                <a:gd name="connsiteY13" fmla="*/ 388593 h 981339"/>
                <a:gd name="connsiteX14" fmla="*/ 800209 w 1556774"/>
                <a:gd name="connsiteY14" fmla="*/ 204349 h 981339"/>
                <a:gd name="connsiteX0" fmla="*/ 800209 w 1556774"/>
                <a:gd name="connsiteY0" fmla="*/ 204349 h 981339"/>
                <a:gd name="connsiteX1" fmla="*/ 196266 w 1556774"/>
                <a:gd name="connsiteY1" fmla="*/ 12686 h 981339"/>
                <a:gd name="connsiteX2" fmla="*/ 147370 w 1556774"/>
                <a:gd name="connsiteY2" fmla="*/ 306113 h 981339"/>
                <a:gd name="connsiteX3" fmla="*/ 12021 w 1556774"/>
                <a:gd name="connsiteY3" fmla="*/ 518188 h 981339"/>
                <a:gd name="connsiteX4" fmla="*/ 636377 w 1556774"/>
                <a:gd name="connsiteY4" fmla="*/ 741181 h 981339"/>
                <a:gd name="connsiteX5" fmla="*/ 705803 w 1556774"/>
                <a:gd name="connsiteY5" fmla="*/ 624047 h 981339"/>
                <a:gd name="connsiteX6" fmla="*/ 859369 w 1556774"/>
                <a:gd name="connsiteY6" fmla="*/ 679765 h 981339"/>
                <a:gd name="connsiteX7" fmla="*/ 1189170 w 1556774"/>
                <a:gd name="connsiteY7" fmla="*/ 914032 h 981339"/>
                <a:gd name="connsiteX8" fmla="*/ 1507637 w 1556774"/>
                <a:gd name="connsiteY8" fmla="*/ 786693 h 981339"/>
                <a:gd name="connsiteX9" fmla="*/ 1173267 w 1556774"/>
                <a:gd name="connsiteY9" fmla="*/ 634312 h 981339"/>
                <a:gd name="connsiteX10" fmla="*/ 1250585 w 1556774"/>
                <a:gd name="connsiteY10" fmla="*/ 438081 h 981339"/>
                <a:gd name="connsiteX11" fmla="*/ 964576 w 1556774"/>
                <a:gd name="connsiteY11" fmla="*/ 344802 h 981339"/>
                <a:gd name="connsiteX12" fmla="*/ 909391 w 1556774"/>
                <a:gd name="connsiteY12" fmla="*/ 450008 h 981339"/>
                <a:gd name="connsiteX13" fmla="*/ 766089 w 1556774"/>
                <a:gd name="connsiteY13" fmla="*/ 388593 h 981339"/>
                <a:gd name="connsiteX14" fmla="*/ 800209 w 1556774"/>
                <a:gd name="connsiteY14" fmla="*/ 204349 h 981339"/>
                <a:gd name="connsiteX0" fmla="*/ 800209 w 1556774"/>
                <a:gd name="connsiteY0" fmla="*/ 204349 h 981339"/>
                <a:gd name="connsiteX1" fmla="*/ 196266 w 1556774"/>
                <a:gd name="connsiteY1" fmla="*/ 12686 h 981339"/>
                <a:gd name="connsiteX2" fmla="*/ 147370 w 1556774"/>
                <a:gd name="connsiteY2" fmla="*/ 306113 h 981339"/>
                <a:gd name="connsiteX3" fmla="*/ 12021 w 1556774"/>
                <a:gd name="connsiteY3" fmla="*/ 518188 h 981339"/>
                <a:gd name="connsiteX4" fmla="*/ 636377 w 1556774"/>
                <a:gd name="connsiteY4" fmla="*/ 741181 h 981339"/>
                <a:gd name="connsiteX5" fmla="*/ 705803 w 1556774"/>
                <a:gd name="connsiteY5" fmla="*/ 624047 h 981339"/>
                <a:gd name="connsiteX6" fmla="*/ 859369 w 1556774"/>
                <a:gd name="connsiteY6" fmla="*/ 679765 h 981339"/>
                <a:gd name="connsiteX7" fmla="*/ 1189170 w 1556774"/>
                <a:gd name="connsiteY7" fmla="*/ 914032 h 981339"/>
                <a:gd name="connsiteX8" fmla="*/ 1507637 w 1556774"/>
                <a:gd name="connsiteY8" fmla="*/ 786693 h 981339"/>
                <a:gd name="connsiteX9" fmla="*/ 1173267 w 1556774"/>
                <a:gd name="connsiteY9" fmla="*/ 634312 h 981339"/>
                <a:gd name="connsiteX10" fmla="*/ 1250585 w 1556774"/>
                <a:gd name="connsiteY10" fmla="*/ 438081 h 981339"/>
                <a:gd name="connsiteX11" fmla="*/ 964576 w 1556774"/>
                <a:gd name="connsiteY11" fmla="*/ 344802 h 981339"/>
                <a:gd name="connsiteX12" fmla="*/ 909391 w 1556774"/>
                <a:gd name="connsiteY12" fmla="*/ 450008 h 981339"/>
                <a:gd name="connsiteX13" fmla="*/ 766089 w 1556774"/>
                <a:gd name="connsiteY13" fmla="*/ 388593 h 981339"/>
                <a:gd name="connsiteX14" fmla="*/ 800209 w 1556774"/>
                <a:gd name="connsiteY14" fmla="*/ 204349 h 981339"/>
                <a:gd name="connsiteX0" fmla="*/ 800209 w 1556774"/>
                <a:gd name="connsiteY0" fmla="*/ 204349 h 981339"/>
                <a:gd name="connsiteX1" fmla="*/ 196266 w 1556774"/>
                <a:gd name="connsiteY1" fmla="*/ 12686 h 981339"/>
                <a:gd name="connsiteX2" fmla="*/ 147370 w 1556774"/>
                <a:gd name="connsiteY2" fmla="*/ 306113 h 981339"/>
                <a:gd name="connsiteX3" fmla="*/ 12021 w 1556774"/>
                <a:gd name="connsiteY3" fmla="*/ 518188 h 981339"/>
                <a:gd name="connsiteX4" fmla="*/ 636377 w 1556774"/>
                <a:gd name="connsiteY4" fmla="*/ 741181 h 981339"/>
                <a:gd name="connsiteX5" fmla="*/ 705803 w 1556774"/>
                <a:gd name="connsiteY5" fmla="*/ 624047 h 981339"/>
                <a:gd name="connsiteX6" fmla="*/ 859369 w 1556774"/>
                <a:gd name="connsiteY6" fmla="*/ 679765 h 981339"/>
                <a:gd name="connsiteX7" fmla="*/ 1189170 w 1556774"/>
                <a:gd name="connsiteY7" fmla="*/ 914032 h 981339"/>
                <a:gd name="connsiteX8" fmla="*/ 1507637 w 1556774"/>
                <a:gd name="connsiteY8" fmla="*/ 786693 h 981339"/>
                <a:gd name="connsiteX9" fmla="*/ 1173267 w 1556774"/>
                <a:gd name="connsiteY9" fmla="*/ 634312 h 981339"/>
                <a:gd name="connsiteX10" fmla="*/ 1250585 w 1556774"/>
                <a:gd name="connsiteY10" fmla="*/ 438081 h 981339"/>
                <a:gd name="connsiteX11" fmla="*/ 964576 w 1556774"/>
                <a:gd name="connsiteY11" fmla="*/ 344802 h 981339"/>
                <a:gd name="connsiteX12" fmla="*/ 909391 w 1556774"/>
                <a:gd name="connsiteY12" fmla="*/ 450008 h 981339"/>
                <a:gd name="connsiteX13" fmla="*/ 766089 w 1556774"/>
                <a:gd name="connsiteY13" fmla="*/ 388593 h 981339"/>
                <a:gd name="connsiteX14" fmla="*/ 800209 w 1556774"/>
                <a:gd name="connsiteY14" fmla="*/ 204349 h 981339"/>
                <a:gd name="connsiteX0" fmla="*/ 800209 w 1527868"/>
                <a:gd name="connsiteY0" fmla="*/ 204349 h 975126"/>
                <a:gd name="connsiteX1" fmla="*/ 196266 w 1527868"/>
                <a:gd name="connsiteY1" fmla="*/ 12686 h 975126"/>
                <a:gd name="connsiteX2" fmla="*/ 147370 w 1527868"/>
                <a:gd name="connsiteY2" fmla="*/ 306113 h 975126"/>
                <a:gd name="connsiteX3" fmla="*/ 12021 w 1527868"/>
                <a:gd name="connsiteY3" fmla="*/ 518188 h 975126"/>
                <a:gd name="connsiteX4" fmla="*/ 636377 w 1527868"/>
                <a:gd name="connsiteY4" fmla="*/ 741181 h 975126"/>
                <a:gd name="connsiteX5" fmla="*/ 705803 w 1527868"/>
                <a:gd name="connsiteY5" fmla="*/ 624047 h 975126"/>
                <a:gd name="connsiteX6" fmla="*/ 859369 w 1527868"/>
                <a:gd name="connsiteY6" fmla="*/ 679765 h 975126"/>
                <a:gd name="connsiteX7" fmla="*/ 1189170 w 1527868"/>
                <a:gd name="connsiteY7" fmla="*/ 914032 h 975126"/>
                <a:gd name="connsiteX8" fmla="*/ 1467881 w 1527868"/>
                <a:gd name="connsiteY8" fmla="*/ 742961 h 975126"/>
                <a:gd name="connsiteX9" fmla="*/ 1173267 w 1527868"/>
                <a:gd name="connsiteY9" fmla="*/ 634312 h 975126"/>
                <a:gd name="connsiteX10" fmla="*/ 1250585 w 1527868"/>
                <a:gd name="connsiteY10" fmla="*/ 438081 h 975126"/>
                <a:gd name="connsiteX11" fmla="*/ 964576 w 1527868"/>
                <a:gd name="connsiteY11" fmla="*/ 344802 h 975126"/>
                <a:gd name="connsiteX12" fmla="*/ 909391 w 1527868"/>
                <a:gd name="connsiteY12" fmla="*/ 450008 h 975126"/>
                <a:gd name="connsiteX13" fmla="*/ 766089 w 1527868"/>
                <a:gd name="connsiteY13" fmla="*/ 388593 h 975126"/>
                <a:gd name="connsiteX14" fmla="*/ 800209 w 1527868"/>
                <a:gd name="connsiteY14" fmla="*/ 204349 h 975126"/>
                <a:gd name="connsiteX0" fmla="*/ 800209 w 1527868"/>
                <a:gd name="connsiteY0" fmla="*/ 204349 h 975126"/>
                <a:gd name="connsiteX1" fmla="*/ 196266 w 1527868"/>
                <a:gd name="connsiteY1" fmla="*/ 12686 h 975126"/>
                <a:gd name="connsiteX2" fmla="*/ 147370 w 1527868"/>
                <a:gd name="connsiteY2" fmla="*/ 306113 h 975126"/>
                <a:gd name="connsiteX3" fmla="*/ 12021 w 1527868"/>
                <a:gd name="connsiteY3" fmla="*/ 518188 h 975126"/>
                <a:gd name="connsiteX4" fmla="*/ 636377 w 1527868"/>
                <a:gd name="connsiteY4" fmla="*/ 741181 h 975126"/>
                <a:gd name="connsiteX5" fmla="*/ 705803 w 1527868"/>
                <a:gd name="connsiteY5" fmla="*/ 624047 h 975126"/>
                <a:gd name="connsiteX6" fmla="*/ 859369 w 1527868"/>
                <a:gd name="connsiteY6" fmla="*/ 679765 h 975126"/>
                <a:gd name="connsiteX7" fmla="*/ 1189170 w 1527868"/>
                <a:gd name="connsiteY7" fmla="*/ 914032 h 975126"/>
                <a:gd name="connsiteX8" fmla="*/ 1467881 w 1527868"/>
                <a:gd name="connsiteY8" fmla="*/ 742961 h 975126"/>
                <a:gd name="connsiteX9" fmla="*/ 1173267 w 1527868"/>
                <a:gd name="connsiteY9" fmla="*/ 634312 h 975126"/>
                <a:gd name="connsiteX10" fmla="*/ 1250585 w 1527868"/>
                <a:gd name="connsiteY10" fmla="*/ 438081 h 975126"/>
                <a:gd name="connsiteX11" fmla="*/ 964576 w 1527868"/>
                <a:gd name="connsiteY11" fmla="*/ 344802 h 975126"/>
                <a:gd name="connsiteX12" fmla="*/ 909391 w 1527868"/>
                <a:gd name="connsiteY12" fmla="*/ 450008 h 975126"/>
                <a:gd name="connsiteX13" fmla="*/ 766089 w 1527868"/>
                <a:gd name="connsiteY13" fmla="*/ 388593 h 975126"/>
                <a:gd name="connsiteX14" fmla="*/ 800209 w 1527868"/>
                <a:gd name="connsiteY14" fmla="*/ 204349 h 975126"/>
                <a:gd name="connsiteX0" fmla="*/ 800209 w 1499884"/>
                <a:gd name="connsiteY0" fmla="*/ 204349 h 986483"/>
                <a:gd name="connsiteX1" fmla="*/ 196266 w 1499884"/>
                <a:gd name="connsiteY1" fmla="*/ 12686 h 986483"/>
                <a:gd name="connsiteX2" fmla="*/ 147370 w 1499884"/>
                <a:gd name="connsiteY2" fmla="*/ 306113 h 986483"/>
                <a:gd name="connsiteX3" fmla="*/ 12021 w 1499884"/>
                <a:gd name="connsiteY3" fmla="*/ 518188 h 986483"/>
                <a:gd name="connsiteX4" fmla="*/ 636377 w 1499884"/>
                <a:gd name="connsiteY4" fmla="*/ 741181 h 986483"/>
                <a:gd name="connsiteX5" fmla="*/ 705803 w 1499884"/>
                <a:gd name="connsiteY5" fmla="*/ 624047 h 986483"/>
                <a:gd name="connsiteX6" fmla="*/ 859369 w 1499884"/>
                <a:gd name="connsiteY6" fmla="*/ 679765 h 986483"/>
                <a:gd name="connsiteX7" fmla="*/ 1189170 w 1499884"/>
                <a:gd name="connsiteY7" fmla="*/ 914032 h 986483"/>
                <a:gd name="connsiteX8" fmla="*/ 1467881 w 1499884"/>
                <a:gd name="connsiteY8" fmla="*/ 742961 h 986483"/>
                <a:gd name="connsiteX9" fmla="*/ 1173267 w 1499884"/>
                <a:gd name="connsiteY9" fmla="*/ 634312 h 986483"/>
                <a:gd name="connsiteX10" fmla="*/ 1250585 w 1499884"/>
                <a:gd name="connsiteY10" fmla="*/ 438081 h 986483"/>
                <a:gd name="connsiteX11" fmla="*/ 964576 w 1499884"/>
                <a:gd name="connsiteY11" fmla="*/ 344802 h 986483"/>
                <a:gd name="connsiteX12" fmla="*/ 909391 w 1499884"/>
                <a:gd name="connsiteY12" fmla="*/ 450008 h 986483"/>
                <a:gd name="connsiteX13" fmla="*/ 766089 w 1499884"/>
                <a:gd name="connsiteY13" fmla="*/ 388593 h 986483"/>
                <a:gd name="connsiteX14" fmla="*/ 800209 w 1499884"/>
                <a:gd name="connsiteY14" fmla="*/ 204349 h 986483"/>
                <a:gd name="connsiteX0" fmla="*/ 800209 w 1505435"/>
                <a:gd name="connsiteY0" fmla="*/ 204349 h 1015754"/>
                <a:gd name="connsiteX1" fmla="*/ 196266 w 1505435"/>
                <a:gd name="connsiteY1" fmla="*/ 12686 h 1015754"/>
                <a:gd name="connsiteX2" fmla="*/ 147370 w 1505435"/>
                <a:gd name="connsiteY2" fmla="*/ 306113 h 1015754"/>
                <a:gd name="connsiteX3" fmla="*/ 12021 w 1505435"/>
                <a:gd name="connsiteY3" fmla="*/ 518188 h 1015754"/>
                <a:gd name="connsiteX4" fmla="*/ 636377 w 1505435"/>
                <a:gd name="connsiteY4" fmla="*/ 741181 h 1015754"/>
                <a:gd name="connsiteX5" fmla="*/ 705803 w 1505435"/>
                <a:gd name="connsiteY5" fmla="*/ 624047 h 1015754"/>
                <a:gd name="connsiteX6" fmla="*/ 859369 w 1505435"/>
                <a:gd name="connsiteY6" fmla="*/ 679765 h 1015754"/>
                <a:gd name="connsiteX7" fmla="*/ 1189170 w 1505435"/>
                <a:gd name="connsiteY7" fmla="*/ 914032 h 1015754"/>
                <a:gd name="connsiteX8" fmla="*/ 1467881 w 1505435"/>
                <a:gd name="connsiteY8" fmla="*/ 742961 h 1015754"/>
                <a:gd name="connsiteX9" fmla="*/ 1173267 w 1505435"/>
                <a:gd name="connsiteY9" fmla="*/ 634312 h 1015754"/>
                <a:gd name="connsiteX10" fmla="*/ 1250585 w 1505435"/>
                <a:gd name="connsiteY10" fmla="*/ 438081 h 1015754"/>
                <a:gd name="connsiteX11" fmla="*/ 964576 w 1505435"/>
                <a:gd name="connsiteY11" fmla="*/ 344802 h 1015754"/>
                <a:gd name="connsiteX12" fmla="*/ 909391 w 1505435"/>
                <a:gd name="connsiteY12" fmla="*/ 450008 h 1015754"/>
                <a:gd name="connsiteX13" fmla="*/ 766089 w 1505435"/>
                <a:gd name="connsiteY13" fmla="*/ 388593 h 1015754"/>
                <a:gd name="connsiteX14" fmla="*/ 800209 w 1505435"/>
                <a:gd name="connsiteY14" fmla="*/ 204349 h 1015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05435" h="1015754">
                  <a:moveTo>
                    <a:pt x="800209" y="204349"/>
                  </a:moveTo>
                  <a:cubicBezTo>
                    <a:pt x="598895" y="140461"/>
                    <a:pt x="302164" y="-50647"/>
                    <a:pt x="196266" y="12686"/>
                  </a:cubicBezTo>
                  <a:cubicBezTo>
                    <a:pt x="103106" y="72064"/>
                    <a:pt x="168969" y="214930"/>
                    <a:pt x="147370" y="306113"/>
                  </a:cubicBezTo>
                  <a:cubicBezTo>
                    <a:pt x="102254" y="376805"/>
                    <a:pt x="-42253" y="455447"/>
                    <a:pt x="12021" y="518188"/>
                  </a:cubicBezTo>
                  <a:cubicBezTo>
                    <a:pt x="164480" y="669383"/>
                    <a:pt x="559454" y="713233"/>
                    <a:pt x="636377" y="741181"/>
                  </a:cubicBezTo>
                  <a:cubicBezTo>
                    <a:pt x="696624" y="733941"/>
                    <a:pt x="677361" y="671042"/>
                    <a:pt x="705803" y="624047"/>
                  </a:cubicBezTo>
                  <a:lnTo>
                    <a:pt x="859369" y="679765"/>
                  </a:lnTo>
                  <a:cubicBezTo>
                    <a:pt x="850034" y="889051"/>
                    <a:pt x="1063333" y="847870"/>
                    <a:pt x="1189170" y="914032"/>
                  </a:cubicBezTo>
                  <a:cubicBezTo>
                    <a:pt x="1618678" y="1176386"/>
                    <a:pt x="1495571" y="862271"/>
                    <a:pt x="1467881" y="742961"/>
                  </a:cubicBezTo>
                  <a:cubicBezTo>
                    <a:pt x="1356424" y="685542"/>
                    <a:pt x="1304603" y="671853"/>
                    <a:pt x="1173267" y="634312"/>
                  </a:cubicBezTo>
                  <a:cubicBezTo>
                    <a:pt x="1199040" y="568902"/>
                    <a:pt x="1292398" y="479637"/>
                    <a:pt x="1250585" y="438081"/>
                  </a:cubicBezTo>
                  <a:cubicBezTo>
                    <a:pt x="1165850" y="405662"/>
                    <a:pt x="1045335" y="381196"/>
                    <a:pt x="964576" y="344802"/>
                  </a:cubicBezTo>
                  <a:cubicBezTo>
                    <a:pt x="930279" y="379871"/>
                    <a:pt x="927786" y="414939"/>
                    <a:pt x="909391" y="450008"/>
                  </a:cubicBezTo>
                  <a:lnTo>
                    <a:pt x="766089" y="388593"/>
                  </a:lnTo>
                  <a:lnTo>
                    <a:pt x="800209" y="204349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/>
            </a:p>
          </p:txBody>
        </p:sp>
        <p:sp>
          <p:nvSpPr>
            <p:cNvPr id="66" name="Freeform 104">
              <a:extLst>
                <a:ext uri="{FF2B5EF4-FFF2-40B4-BE49-F238E27FC236}">
                  <a16:creationId xmlns:a16="http://schemas.microsoft.com/office/drawing/2014/main" id="{1D56ED84-718A-4F64-9201-3371A122B353}"/>
                </a:ext>
              </a:extLst>
            </p:cNvPr>
            <p:cNvSpPr/>
            <p:nvPr/>
          </p:nvSpPr>
          <p:spPr>
            <a:xfrm rot="21253755">
              <a:off x="2170737" y="2710023"/>
              <a:ext cx="1505435" cy="1015754"/>
            </a:xfrm>
            <a:custGeom>
              <a:avLst/>
              <a:gdLst>
                <a:gd name="connsiteX0" fmla="*/ 812042 w 1535373"/>
                <a:gd name="connsiteY0" fmla="*/ 211541 h 921224"/>
                <a:gd name="connsiteX1" fmla="*/ 184245 w 1535373"/>
                <a:gd name="connsiteY1" fmla="*/ 0 h 921224"/>
                <a:gd name="connsiteX2" fmla="*/ 143301 w 1535373"/>
                <a:gd name="connsiteY2" fmla="*/ 293427 h 921224"/>
                <a:gd name="connsiteX3" fmla="*/ 0 w 1535373"/>
                <a:gd name="connsiteY3" fmla="*/ 477672 h 921224"/>
                <a:gd name="connsiteX4" fmla="*/ 600501 w 1535373"/>
                <a:gd name="connsiteY4" fmla="*/ 764275 h 921224"/>
                <a:gd name="connsiteX5" fmla="*/ 709684 w 1535373"/>
                <a:gd name="connsiteY5" fmla="*/ 655093 h 921224"/>
                <a:gd name="connsiteX6" fmla="*/ 887104 w 1535373"/>
                <a:gd name="connsiteY6" fmla="*/ 702860 h 921224"/>
                <a:gd name="connsiteX7" fmla="*/ 1201003 w 1535373"/>
                <a:gd name="connsiteY7" fmla="*/ 921224 h 921224"/>
                <a:gd name="connsiteX8" fmla="*/ 1535373 w 1535373"/>
                <a:gd name="connsiteY8" fmla="*/ 825690 h 921224"/>
                <a:gd name="connsiteX9" fmla="*/ 1201003 w 1535373"/>
                <a:gd name="connsiteY9" fmla="*/ 689212 h 921224"/>
                <a:gd name="connsiteX10" fmla="*/ 1262418 w 1535373"/>
                <a:gd name="connsiteY10" fmla="*/ 457200 h 921224"/>
                <a:gd name="connsiteX11" fmla="*/ 996287 w 1535373"/>
                <a:gd name="connsiteY11" fmla="*/ 348018 h 921224"/>
                <a:gd name="connsiteX12" fmla="*/ 921224 w 1535373"/>
                <a:gd name="connsiteY12" fmla="*/ 457200 h 921224"/>
                <a:gd name="connsiteX13" fmla="*/ 777922 w 1535373"/>
                <a:gd name="connsiteY13" fmla="*/ 395785 h 921224"/>
                <a:gd name="connsiteX14" fmla="*/ 812042 w 1535373"/>
                <a:gd name="connsiteY14" fmla="*/ 211541 h 921224"/>
                <a:gd name="connsiteX0" fmla="*/ 812042 w 1535373"/>
                <a:gd name="connsiteY0" fmla="*/ 191663 h 901346"/>
                <a:gd name="connsiteX1" fmla="*/ 208099 w 1535373"/>
                <a:gd name="connsiteY1" fmla="*/ 0 h 901346"/>
                <a:gd name="connsiteX2" fmla="*/ 143301 w 1535373"/>
                <a:gd name="connsiteY2" fmla="*/ 273549 h 901346"/>
                <a:gd name="connsiteX3" fmla="*/ 0 w 1535373"/>
                <a:gd name="connsiteY3" fmla="*/ 457794 h 901346"/>
                <a:gd name="connsiteX4" fmla="*/ 600501 w 1535373"/>
                <a:gd name="connsiteY4" fmla="*/ 744397 h 901346"/>
                <a:gd name="connsiteX5" fmla="*/ 709684 w 1535373"/>
                <a:gd name="connsiteY5" fmla="*/ 635215 h 901346"/>
                <a:gd name="connsiteX6" fmla="*/ 887104 w 1535373"/>
                <a:gd name="connsiteY6" fmla="*/ 682982 h 901346"/>
                <a:gd name="connsiteX7" fmla="*/ 1201003 w 1535373"/>
                <a:gd name="connsiteY7" fmla="*/ 901346 h 901346"/>
                <a:gd name="connsiteX8" fmla="*/ 1535373 w 1535373"/>
                <a:gd name="connsiteY8" fmla="*/ 805812 h 901346"/>
                <a:gd name="connsiteX9" fmla="*/ 1201003 w 1535373"/>
                <a:gd name="connsiteY9" fmla="*/ 669334 h 901346"/>
                <a:gd name="connsiteX10" fmla="*/ 1262418 w 1535373"/>
                <a:gd name="connsiteY10" fmla="*/ 437322 h 901346"/>
                <a:gd name="connsiteX11" fmla="*/ 996287 w 1535373"/>
                <a:gd name="connsiteY11" fmla="*/ 328140 h 901346"/>
                <a:gd name="connsiteX12" fmla="*/ 921224 w 1535373"/>
                <a:gd name="connsiteY12" fmla="*/ 437322 h 901346"/>
                <a:gd name="connsiteX13" fmla="*/ 777922 w 1535373"/>
                <a:gd name="connsiteY13" fmla="*/ 375907 h 901346"/>
                <a:gd name="connsiteX14" fmla="*/ 812042 w 1535373"/>
                <a:gd name="connsiteY14" fmla="*/ 191663 h 901346"/>
                <a:gd name="connsiteX0" fmla="*/ 812042 w 1535373"/>
                <a:gd name="connsiteY0" fmla="*/ 204349 h 914032"/>
                <a:gd name="connsiteX1" fmla="*/ 208099 w 1535373"/>
                <a:gd name="connsiteY1" fmla="*/ 12686 h 914032"/>
                <a:gd name="connsiteX2" fmla="*/ 143301 w 1535373"/>
                <a:gd name="connsiteY2" fmla="*/ 286235 h 914032"/>
                <a:gd name="connsiteX3" fmla="*/ 0 w 1535373"/>
                <a:gd name="connsiteY3" fmla="*/ 470480 h 914032"/>
                <a:gd name="connsiteX4" fmla="*/ 600501 w 1535373"/>
                <a:gd name="connsiteY4" fmla="*/ 757083 h 914032"/>
                <a:gd name="connsiteX5" fmla="*/ 709684 w 1535373"/>
                <a:gd name="connsiteY5" fmla="*/ 647901 h 914032"/>
                <a:gd name="connsiteX6" fmla="*/ 887104 w 1535373"/>
                <a:gd name="connsiteY6" fmla="*/ 695668 h 914032"/>
                <a:gd name="connsiteX7" fmla="*/ 1201003 w 1535373"/>
                <a:gd name="connsiteY7" fmla="*/ 914032 h 914032"/>
                <a:gd name="connsiteX8" fmla="*/ 1535373 w 1535373"/>
                <a:gd name="connsiteY8" fmla="*/ 818498 h 914032"/>
                <a:gd name="connsiteX9" fmla="*/ 1201003 w 1535373"/>
                <a:gd name="connsiteY9" fmla="*/ 682020 h 914032"/>
                <a:gd name="connsiteX10" fmla="*/ 1262418 w 1535373"/>
                <a:gd name="connsiteY10" fmla="*/ 450008 h 914032"/>
                <a:gd name="connsiteX11" fmla="*/ 996287 w 1535373"/>
                <a:gd name="connsiteY11" fmla="*/ 340826 h 914032"/>
                <a:gd name="connsiteX12" fmla="*/ 921224 w 1535373"/>
                <a:gd name="connsiteY12" fmla="*/ 450008 h 914032"/>
                <a:gd name="connsiteX13" fmla="*/ 777922 w 1535373"/>
                <a:gd name="connsiteY13" fmla="*/ 388593 h 914032"/>
                <a:gd name="connsiteX14" fmla="*/ 812042 w 1535373"/>
                <a:gd name="connsiteY14" fmla="*/ 204349 h 914032"/>
                <a:gd name="connsiteX0" fmla="*/ 812042 w 1535373"/>
                <a:gd name="connsiteY0" fmla="*/ 204349 h 914032"/>
                <a:gd name="connsiteX1" fmla="*/ 208099 w 1535373"/>
                <a:gd name="connsiteY1" fmla="*/ 12686 h 914032"/>
                <a:gd name="connsiteX2" fmla="*/ 143301 w 1535373"/>
                <a:gd name="connsiteY2" fmla="*/ 286235 h 914032"/>
                <a:gd name="connsiteX3" fmla="*/ 0 w 1535373"/>
                <a:gd name="connsiteY3" fmla="*/ 470480 h 914032"/>
                <a:gd name="connsiteX4" fmla="*/ 600501 w 1535373"/>
                <a:gd name="connsiteY4" fmla="*/ 757083 h 914032"/>
                <a:gd name="connsiteX5" fmla="*/ 709684 w 1535373"/>
                <a:gd name="connsiteY5" fmla="*/ 647901 h 914032"/>
                <a:gd name="connsiteX6" fmla="*/ 887104 w 1535373"/>
                <a:gd name="connsiteY6" fmla="*/ 695668 h 914032"/>
                <a:gd name="connsiteX7" fmla="*/ 1201003 w 1535373"/>
                <a:gd name="connsiteY7" fmla="*/ 914032 h 914032"/>
                <a:gd name="connsiteX8" fmla="*/ 1535373 w 1535373"/>
                <a:gd name="connsiteY8" fmla="*/ 818498 h 914032"/>
                <a:gd name="connsiteX9" fmla="*/ 1201003 w 1535373"/>
                <a:gd name="connsiteY9" fmla="*/ 682020 h 914032"/>
                <a:gd name="connsiteX10" fmla="*/ 1262418 w 1535373"/>
                <a:gd name="connsiteY10" fmla="*/ 450008 h 914032"/>
                <a:gd name="connsiteX11" fmla="*/ 996287 w 1535373"/>
                <a:gd name="connsiteY11" fmla="*/ 340826 h 914032"/>
                <a:gd name="connsiteX12" fmla="*/ 921224 w 1535373"/>
                <a:gd name="connsiteY12" fmla="*/ 450008 h 914032"/>
                <a:gd name="connsiteX13" fmla="*/ 777922 w 1535373"/>
                <a:gd name="connsiteY13" fmla="*/ 388593 h 914032"/>
                <a:gd name="connsiteX14" fmla="*/ 812042 w 1535373"/>
                <a:gd name="connsiteY14" fmla="*/ 204349 h 914032"/>
                <a:gd name="connsiteX0" fmla="*/ 812042 w 1535373"/>
                <a:gd name="connsiteY0" fmla="*/ 204349 h 914032"/>
                <a:gd name="connsiteX1" fmla="*/ 208099 w 1535373"/>
                <a:gd name="connsiteY1" fmla="*/ 12686 h 914032"/>
                <a:gd name="connsiteX2" fmla="*/ 159203 w 1535373"/>
                <a:gd name="connsiteY2" fmla="*/ 306113 h 914032"/>
                <a:gd name="connsiteX3" fmla="*/ 0 w 1535373"/>
                <a:gd name="connsiteY3" fmla="*/ 470480 h 914032"/>
                <a:gd name="connsiteX4" fmla="*/ 600501 w 1535373"/>
                <a:gd name="connsiteY4" fmla="*/ 757083 h 914032"/>
                <a:gd name="connsiteX5" fmla="*/ 709684 w 1535373"/>
                <a:gd name="connsiteY5" fmla="*/ 647901 h 914032"/>
                <a:gd name="connsiteX6" fmla="*/ 887104 w 1535373"/>
                <a:gd name="connsiteY6" fmla="*/ 695668 h 914032"/>
                <a:gd name="connsiteX7" fmla="*/ 1201003 w 1535373"/>
                <a:gd name="connsiteY7" fmla="*/ 914032 h 914032"/>
                <a:gd name="connsiteX8" fmla="*/ 1535373 w 1535373"/>
                <a:gd name="connsiteY8" fmla="*/ 818498 h 914032"/>
                <a:gd name="connsiteX9" fmla="*/ 1201003 w 1535373"/>
                <a:gd name="connsiteY9" fmla="*/ 682020 h 914032"/>
                <a:gd name="connsiteX10" fmla="*/ 1262418 w 1535373"/>
                <a:gd name="connsiteY10" fmla="*/ 450008 h 914032"/>
                <a:gd name="connsiteX11" fmla="*/ 996287 w 1535373"/>
                <a:gd name="connsiteY11" fmla="*/ 340826 h 914032"/>
                <a:gd name="connsiteX12" fmla="*/ 921224 w 1535373"/>
                <a:gd name="connsiteY12" fmla="*/ 450008 h 914032"/>
                <a:gd name="connsiteX13" fmla="*/ 777922 w 1535373"/>
                <a:gd name="connsiteY13" fmla="*/ 388593 h 914032"/>
                <a:gd name="connsiteX14" fmla="*/ 812042 w 1535373"/>
                <a:gd name="connsiteY14" fmla="*/ 204349 h 914032"/>
                <a:gd name="connsiteX0" fmla="*/ 788188 w 1511519"/>
                <a:gd name="connsiteY0" fmla="*/ 204349 h 914032"/>
                <a:gd name="connsiteX1" fmla="*/ 184245 w 1511519"/>
                <a:gd name="connsiteY1" fmla="*/ 12686 h 914032"/>
                <a:gd name="connsiteX2" fmla="*/ 135349 w 1511519"/>
                <a:gd name="connsiteY2" fmla="*/ 306113 h 914032"/>
                <a:gd name="connsiteX3" fmla="*/ 0 w 1511519"/>
                <a:gd name="connsiteY3" fmla="*/ 518188 h 914032"/>
                <a:gd name="connsiteX4" fmla="*/ 576647 w 1511519"/>
                <a:gd name="connsiteY4" fmla="*/ 757083 h 914032"/>
                <a:gd name="connsiteX5" fmla="*/ 685830 w 1511519"/>
                <a:gd name="connsiteY5" fmla="*/ 647901 h 914032"/>
                <a:gd name="connsiteX6" fmla="*/ 863250 w 1511519"/>
                <a:gd name="connsiteY6" fmla="*/ 695668 h 914032"/>
                <a:gd name="connsiteX7" fmla="*/ 1177149 w 1511519"/>
                <a:gd name="connsiteY7" fmla="*/ 914032 h 914032"/>
                <a:gd name="connsiteX8" fmla="*/ 1511519 w 1511519"/>
                <a:gd name="connsiteY8" fmla="*/ 818498 h 914032"/>
                <a:gd name="connsiteX9" fmla="*/ 1177149 w 1511519"/>
                <a:gd name="connsiteY9" fmla="*/ 682020 h 914032"/>
                <a:gd name="connsiteX10" fmla="*/ 1238564 w 1511519"/>
                <a:gd name="connsiteY10" fmla="*/ 450008 h 914032"/>
                <a:gd name="connsiteX11" fmla="*/ 972433 w 1511519"/>
                <a:gd name="connsiteY11" fmla="*/ 340826 h 914032"/>
                <a:gd name="connsiteX12" fmla="*/ 897370 w 1511519"/>
                <a:gd name="connsiteY12" fmla="*/ 450008 h 914032"/>
                <a:gd name="connsiteX13" fmla="*/ 754068 w 1511519"/>
                <a:gd name="connsiteY13" fmla="*/ 388593 h 914032"/>
                <a:gd name="connsiteX14" fmla="*/ 788188 w 1511519"/>
                <a:gd name="connsiteY14" fmla="*/ 204349 h 914032"/>
                <a:gd name="connsiteX0" fmla="*/ 802902 w 1526233"/>
                <a:gd name="connsiteY0" fmla="*/ 204349 h 914032"/>
                <a:gd name="connsiteX1" fmla="*/ 198959 w 1526233"/>
                <a:gd name="connsiteY1" fmla="*/ 12686 h 914032"/>
                <a:gd name="connsiteX2" fmla="*/ 150063 w 1526233"/>
                <a:gd name="connsiteY2" fmla="*/ 306113 h 914032"/>
                <a:gd name="connsiteX3" fmla="*/ 14714 w 1526233"/>
                <a:gd name="connsiteY3" fmla="*/ 518188 h 914032"/>
                <a:gd name="connsiteX4" fmla="*/ 591361 w 1526233"/>
                <a:gd name="connsiteY4" fmla="*/ 757083 h 914032"/>
                <a:gd name="connsiteX5" fmla="*/ 700544 w 1526233"/>
                <a:gd name="connsiteY5" fmla="*/ 647901 h 914032"/>
                <a:gd name="connsiteX6" fmla="*/ 877964 w 1526233"/>
                <a:gd name="connsiteY6" fmla="*/ 695668 h 914032"/>
                <a:gd name="connsiteX7" fmla="*/ 1191863 w 1526233"/>
                <a:gd name="connsiteY7" fmla="*/ 914032 h 914032"/>
                <a:gd name="connsiteX8" fmla="*/ 1526233 w 1526233"/>
                <a:gd name="connsiteY8" fmla="*/ 818498 h 914032"/>
                <a:gd name="connsiteX9" fmla="*/ 1191863 w 1526233"/>
                <a:gd name="connsiteY9" fmla="*/ 682020 h 914032"/>
                <a:gd name="connsiteX10" fmla="*/ 1253278 w 1526233"/>
                <a:gd name="connsiteY10" fmla="*/ 450008 h 914032"/>
                <a:gd name="connsiteX11" fmla="*/ 987147 w 1526233"/>
                <a:gd name="connsiteY11" fmla="*/ 340826 h 914032"/>
                <a:gd name="connsiteX12" fmla="*/ 912084 w 1526233"/>
                <a:gd name="connsiteY12" fmla="*/ 450008 h 914032"/>
                <a:gd name="connsiteX13" fmla="*/ 768782 w 1526233"/>
                <a:gd name="connsiteY13" fmla="*/ 388593 h 914032"/>
                <a:gd name="connsiteX14" fmla="*/ 802902 w 1526233"/>
                <a:gd name="connsiteY14" fmla="*/ 204349 h 914032"/>
                <a:gd name="connsiteX0" fmla="*/ 802902 w 1526233"/>
                <a:gd name="connsiteY0" fmla="*/ 204349 h 914032"/>
                <a:gd name="connsiteX1" fmla="*/ 198959 w 1526233"/>
                <a:gd name="connsiteY1" fmla="*/ 12686 h 914032"/>
                <a:gd name="connsiteX2" fmla="*/ 150063 w 1526233"/>
                <a:gd name="connsiteY2" fmla="*/ 306113 h 914032"/>
                <a:gd name="connsiteX3" fmla="*/ 14714 w 1526233"/>
                <a:gd name="connsiteY3" fmla="*/ 518188 h 914032"/>
                <a:gd name="connsiteX4" fmla="*/ 591361 w 1526233"/>
                <a:gd name="connsiteY4" fmla="*/ 757083 h 914032"/>
                <a:gd name="connsiteX5" fmla="*/ 700544 w 1526233"/>
                <a:gd name="connsiteY5" fmla="*/ 647901 h 914032"/>
                <a:gd name="connsiteX6" fmla="*/ 877964 w 1526233"/>
                <a:gd name="connsiteY6" fmla="*/ 695668 h 914032"/>
                <a:gd name="connsiteX7" fmla="*/ 1191863 w 1526233"/>
                <a:gd name="connsiteY7" fmla="*/ 914032 h 914032"/>
                <a:gd name="connsiteX8" fmla="*/ 1526233 w 1526233"/>
                <a:gd name="connsiteY8" fmla="*/ 818498 h 914032"/>
                <a:gd name="connsiteX9" fmla="*/ 1191863 w 1526233"/>
                <a:gd name="connsiteY9" fmla="*/ 682020 h 914032"/>
                <a:gd name="connsiteX10" fmla="*/ 1253278 w 1526233"/>
                <a:gd name="connsiteY10" fmla="*/ 450008 h 914032"/>
                <a:gd name="connsiteX11" fmla="*/ 987147 w 1526233"/>
                <a:gd name="connsiteY11" fmla="*/ 340826 h 914032"/>
                <a:gd name="connsiteX12" fmla="*/ 912084 w 1526233"/>
                <a:gd name="connsiteY12" fmla="*/ 450008 h 914032"/>
                <a:gd name="connsiteX13" fmla="*/ 768782 w 1526233"/>
                <a:gd name="connsiteY13" fmla="*/ 388593 h 914032"/>
                <a:gd name="connsiteX14" fmla="*/ 802902 w 1526233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588668 w 1523540"/>
                <a:gd name="connsiteY4" fmla="*/ 757083 h 914032"/>
                <a:gd name="connsiteX5" fmla="*/ 697851 w 1523540"/>
                <a:gd name="connsiteY5" fmla="*/ 647901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52279 w 1523540"/>
                <a:gd name="connsiteY4" fmla="*/ 757083 h 914032"/>
                <a:gd name="connsiteX5" fmla="*/ 697851 w 1523540"/>
                <a:gd name="connsiteY5" fmla="*/ 647901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52279 w 1523540"/>
                <a:gd name="connsiteY4" fmla="*/ 757083 h 914032"/>
                <a:gd name="connsiteX5" fmla="*/ 697851 w 1523540"/>
                <a:gd name="connsiteY5" fmla="*/ 647901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52279 w 1523540"/>
                <a:gd name="connsiteY4" fmla="*/ 757083 h 914032"/>
                <a:gd name="connsiteX5" fmla="*/ 697851 w 1523540"/>
                <a:gd name="connsiteY5" fmla="*/ 647901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36377 w 1523540"/>
                <a:gd name="connsiteY4" fmla="*/ 741181 h 914032"/>
                <a:gd name="connsiteX5" fmla="*/ 697851 w 1523540"/>
                <a:gd name="connsiteY5" fmla="*/ 647901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36377 w 1523540"/>
                <a:gd name="connsiteY4" fmla="*/ 741181 h 914032"/>
                <a:gd name="connsiteX5" fmla="*/ 697851 w 1523540"/>
                <a:gd name="connsiteY5" fmla="*/ 647901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36377 w 1523540"/>
                <a:gd name="connsiteY4" fmla="*/ 741181 h 914032"/>
                <a:gd name="connsiteX5" fmla="*/ 697851 w 1523540"/>
                <a:gd name="connsiteY5" fmla="*/ 647901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36377 w 1523540"/>
                <a:gd name="connsiteY4" fmla="*/ 741181 h 914032"/>
                <a:gd name="connsiteX5" fmla="*/ 697851 w 1523540"/>
                <a:gd name="connsiteY5" fmla="*/ 647901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36377 w 1523540"/>
                <a:gd name="connsiteY4" fmla="*/ 741181 h 914032"/>
                <a:gd name="connsiteX5" fmla="*/ 697851 w 1523540"/>
                <a:gd name="connsiteY5" fmla="*/ 647901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36377 w 1523540"/>
                <a:gd name="connsiteY4" fmla="*/ 741181 h 914032"/>
                <a:gd name="connsiteX5" fmla="*/ 697851 w 1523540"/>
                <a:gd name="connsiteY5" fmla="*/ 647901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36377 w 1523540"/>
                <a:gd name="connsiteY4" fmla="*/ 741181 h 914032"/>
                <a:gd name="connsiteX5" fmla="*/ 705803 w 1523540"/>
                <a:gd name="connsiteY5" fmla="*/ 624047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36377 w 1523540"/>
                <a:gd name="connsiteY4" fmla="*/ 741181 h 914032"/>
                <a:gd name="connsiteX5" fmla="*/ 705803 w 1523540"/>
                <a:gd name="connsiteY5" fmla="*/ 624047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36377 w 1523540"/>
                <a:gd name="connsiteY4" fmla="*/ 741181 h 914032"/>
                <a:gd name="connsiteX5" fmla="*/ 705803 w 1523540"/>
                <a:gd name="connsiteY5" fmla="*/ 624047 h 914032"/>
                <a:gd name="connsiteX6" fmla="*/ 859369 w 1523540"/>
                <a:gd name="connsiteY6" fmla="*/ 679765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36377 w 1523540"/>
                <a:gd name="connsiteY4" fmla="*/ 741181 h 914032"/>
                <a:gd name="connsiteX5" fmla="*/ 705803 w 1523540"/>
                <a:gd name="connsiteY5" fmla="*/ 624047 h 914032"/>
                <a:gd name="connsiteX6" fmla="*/ 859369 w 1523540"/>
                <a:gd name="connsiteY6" fmla="*/ 679765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36377 w 1523540"/>
                <a:gd name="connsiteY4" fmla="*/ 741181 h 914032"/>
                <a:gd name="connsiteX5" fmla="*/ 705803 w 1523540"/>
                <a:gd name="connsiteY5" fmla="*/ 624047 h 914032"/>
                <a:gd name="connsiteX6" fmla="*/ 859369 w 1523540"/>
                <a:gd name="connsiteY6" fmla="*/ 679765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82628"/>
                <a:gd name="connsiteX1" fmla="*/ 196266 w 1523540"/>
                <a:gd name="connsiteY1" fmla="*/ 12686 h 982628"/>
                <a:gd name="connsiteX2" fmla="*/ 147370 w 1523540"/>
                <a:gd name="connsiteY2" fmla="*/ 306113 h 982628"/>
                <a:gd name="connsiteX3" fmla="*/ 12021 w 1523540"/>
                <a:gd name="connsiteY3" fmla="*/ 518188 h 982628"/>
                <a:gd name="connsiteX4" fmla="*/ 636377 w 1523540"/>
                <a:gd name="connsiteY4" fmla="*/ 741181 h 982628"/>
                <a:gd name="connsiteX5" fmla="*/ 705803 w 1523540"/>
                <a:gd name="connsiteY5" fmla="*/ 624047 h 982628"/>
                <a:gd name="connsiteX6" fmla="*/ 859369 w 1523540"/>
                <a:gd name="connsiteY6" fmla="*/ 679765 h 982628"/>
                <a:gd name="connsiteX7" fmla="*/ 1189170 w 1523540"/>
                <a:gd name="connsiteY7" fmla="*/ 914032 h 982628"/>
                <a:gd name="connsiteX8" fmla="*/ 1523540 w 1523540"/>
                <a:gd name="connsiteY8" fmla="*/ 818498 h 982628"/>
                <a:gd name="connsiteX9" fmla="*/ 1189170 w 1523540"/>
                <a:gd name="connsiteY9" fmla="*/ 682020 h 982628"/>
                <a:gd name="connsiteX10" fmla="*/ 1250585 w 1523540"/>
                <a:gd name="connsiteY10" fmla="*/ 450008 h 982628"/>
                <a:gd name="connsiteX11" fmla="*/ 984454 w 1523540"/>
                <a:gd name="connsiteY11" fmla="*/ 340826 h 982628"/>
                <a:gd name="connsiteX12" fmla="*/ 909391 w 1523540"/>
                <a:gd name="connsiteY12" fmla="*/ 450008 h 982628"/>
                <a:gd name="connsiteX13" fmla="*/ 766089 w 1523540"/>
                <a:gd name="connsiteY13" fmla="*/ 388593 h 982628"/>
                <a:gd name="connsiteX14" fmla="*/ 800209 w 1523540"/>
                <a:gd name="connsiteY14" fmla="*/ 204349 h 982628"/>
                <a:gd name="connsiteX0" fmla="*/ 800209 w 1554538"/>
                <a:gd name="connsiteY0" fmla="*/ 204349 h 982009"/>
                <a:gd name="connsiteX1" fmla="*/ 196266 w 1554538"/>
                <a:gd name="connsiteY1" fmla="*/ 12686 h 982009"/>
                <a:gd name="connsiteX2" fmla="*/ 147370 w 1554538"/>
                <a:gd name="connsiteY2" fmla="*/ 306113 h 982009"/>
                <a:gd name="connsiteX3" fmla="*/ 12021 w 1554538"/>
                <a:gd name="connsiteY3" fmla="*/ 518188 h 982009"/>
                <a:gd name="connsiteX4" fmla="*/ 636377 w 1554538"/>
                <a:gd name="connsiteY4" fmla="*/ 741181 h 982009"/>
                <a:gd name="connsiteX5" fmla="*/ 705803 w 1554538"/>
                <a:gd name="connsiteY5" fmla="*/ 624047 h 982009"/>
                <a:gd name="connsiteX6" fmla="*/ 859369 w 1554538"/>
                <a:gd name="connsiteY6" fmla="*/ 679765 h 982009"/>
                <a:gd name="connsiteX7" fmla="*/ 1189170 w 1554538"/>
                <a:gd name="connsiteY7" fmla="*/ 914032 h 982009"/>
                <a:gd name="connsiteX8" fmla="*/ 1523540 w 1554538"/>
                <a:gd name="connsiteY8" fmla="*/ 818498 h 982009"/>
                <a:gd name="connsiteX9" fmla="*/ 1189170 w 1554538"/>
                <a:gd name="connsiteY9" fmla="*/ 682020 h 982009"/>
                <a:gd name="connsiteX10" fmla="*/ 1250585 w 1554538"/>
                <a:gd name="connsiteY10" fmla="*/ 450008 h 982009"/>
                <a:gd name="connsiteX11" fmla="*/ 984454 w 1554538"/>
                <a:gd name="connsiteY11" fmla="*/ 340826 h 982009"/>
                <a:gd name="connsiteX12" fmla="*/ 909391 w 1554538"/>
                <a:gd name="connsiteY12" fmla="*/ 450008 h 982009"/>
                <a:gd name="connsiteX13" fmla="*/ 766089 w 1554538"/>
                <a:gd name="connsiteY13" fmla="*/ 388593 h 982009"/>
                <a:gd name="connsiteX14" fmla="*/ 800209 w 1554538"/>
                <a:gd name="connsiteY14" fmla="*/ 204349 h 982009"/>
                <a:gd name="connsiteX0" fmla="*/ 800209 w 1554538"/>
                <a:gd name="connsiteY0" fmla="*/ 204349 h 982009"/>
                <a:gd name="connsiteX1" fmla="*/ 196266 w 1554538"/>
                <a:gd name="connsiteY1" fmla="*/ 12686 h 982009"/>
                <a:gd name="connsiteX2" fmla="*/ 147370 w 1554538"/>
                <a:gd name="connsiteY2" fmla="*/ 306113 h 982009"/>
                <a:gd name="connsiteX3" fmla="*/ 12021 w 1554538"/>
                <a:gd name="connsiteY3" fmla="*/ 518188 h 982009"/>
                <a:gd name="connsiteX4" fmla="*/ 636377 w 1554538"/>
                <a:gd name="connsiteY4" fmla="*/ 741181 h 982009"/>
                <a:gd name="connsiteX5" fmla="*/ 705803 w 1554538"/>
                <a:gd name="connsiteY5" fmla="*/ 624047 h 982009"/>
                <a:gd name="connsiteX6" fmla="*/ 859369 w 1554538"/>
                <a:gd name="connsiteY6" fmla="*/ 679765 h 982009"/>
                <a:gd name="connsiteX7" fmla="*/ 1189170 w 1554538"/>
                <a:gd name="connsiteY7" fmla="*/ 914032 h 982009"/>
                <a:gd name="connsiteX8" fmla="*/ 1523540 w 1554538"/>
                <a:gd name="connsiteY8" fmla="*/ 818498 h 982009"/>
                <a:gd name="connsiteX9" fmla="*/ 1189170 w 1554538"/>
                <a:gd name="connsiteY9" fmla="*/ 682020 h 982009"/>
                <a:gd name="connsiteX10" fmla="*/ 1250585 w 1554538"/>
                <a:gd name="connsiteY10" fmla="*/ 450008 h 982009"/>
                <a:gd name="connsiteX11" fmla="*/ 984454 w 1554538"/>
                <a:gd name="connsiteY11" fmla="*/ 340826 h 982009"/>
                <a:gd name="connsiteX12" fmla="*/ 909391 w 1554538"/>
                <a:gd name="connsiteY12" fmla="*/ 450008 h 982009"/>
                <a:gd name="connsiteX13" fmla="*/ 766089 w 1554538"/>
                <a:gd name="connsiteY13" fmla="*/ 388593 h 982009"/>
                <a:gd name="connsiteX14" fmla="*/ 800209 w 1554538"/>
                <a:gd name="connsiteY14" fmla="*/ 204349 h 982009"/>
                <a:gd name="connsiteX0" fmla="*/ 800209 w 1554538"/>
                <a:gd name="connsiteY0" fmla="*/ 204349 h 982009"/>
                <a:gd name="connsiteX1" fmla="*/ 196266 w 1554538"/>
                <a:gd name="connsiteY1" fmla="*/ 12686 h 982009"/>
                <a:gd name="connsiteX2" fmla="*/ 147370 w 1554538"/>
                <a:gd name="connsiteY2" fmla="*/ 306113 h 982009"/>
                <a:gd name="connsiteX3" fmla="*/ 12021 w 1554538"/>
                <a:gd name="connsiteY3" fmla="*/ 518188 h 982009"/>
                <a:gd name="connsiteX4" fmla="*/ 636377 w 1554538"/>
                <a:gd name="connsiteY4" fmla="*/ 741181 h 982009"/>
                <a:gd name="connsiteX5" fmla="*/ 705803 w 1554538"/>
                <a:gd name="connsiteY5" fmla="*/ 624047 h 982009"/>
                <a:gd name="connsiteX6" fmla="*/ 859369 w 1554538"/>
                <a:gd name="connsiteY6" fmla="*/ 679765 h 982009"/>
                <a:gd name="connsiteX7" fmla="*/ 1189170 w 1554538"/>
                <a:gd name="connsiteY7" fmla="*/ 914032 h 982009"/>
                <a:gd name="connsiteX8" fmla="*/ 1523540 w 1554538"/>
                <a:gd name="connsiteY8" fmla="*/ 818498 h 982009"/>
                <a:gd name="connsiteX9" fmla="*/ 1173267 w 1554538"/>
                <a:gd name="connsiteY9" fmla="*/ 634312 h 982009"/>
                <a:gd name="connsiteX10" fmla="*/ 1250585 w 1554538"/>
                <a:gd name="connsiteY10" fmla="*/ 450008 h 982009"/>
                <a:gd name="connsiteX11" fmla="*/ 984454 w 1554538"/>
                <a:gd name="connsiteY11" fmla="*/ 340826 h 982009"/>
                <a:gd name="connsiteX12" fmla="*/ 909391 w 1554538"/>
                <a:gd name="connsiteY12" fmla="*/ 450008 h 982009"/>
                <a:gd name="connsiteX13" fmla="*/ 766089 w 1554538"/>
                <a:gd name="connsiteY13" fmla="*/ 388593 h 982009"/>
                <a:gd name="connsiteX14" fmla="*/ 800209 w 1554538"/>
                <a:gd name="connsiteY14" fmla="*/ 204349 h 982009"/>
                <a:gd name="connsiteX0" fmla="*/ 800209 w 1554538"/>
                <a:gd name="connsiteY0" fmla="*/ 204349 h 982009"/>
                <a:gd name="connsiteX1" fmla="*/ 196266 w 1554538"/>
                <a:gd name="connsiteY1" fmla="*/ 12686 h 982009"/>
                <a:gd name="connsiteX2" fmla="*/ 147370 w 1554538"/>
                <a:gd name="connsiteY2" fmla="*/ 306113 h 982009"/>
                <a:gd name="connsiteX3" fmla="*/ 12021 w 1554538"/>
                <a:gd name="connsiteY3" fmla="*/ 518188 h 982009"/>
                <a:gd name="connsiteX4" fmla="*/ 636377 w 1554538"/>
                <a:gd name="connsiteY4" fmla="*/ 741181 h 982009"/>
                <a:gd name="connsiteX5" fmla="*/ 705803 w 1554538"/>
                <a:gd name="connsiteY5" fmla="*/ 624047 h 982009"/>
                <a:gd name="connsiteX6" fmla="*/ 859369 w 1554538"/>
                <a:gd name="connsiteY6" fmla="*/ 679765 h 982009"/>
                <a:gd name="connsiteX7" fmla="*/ 1189170 w 1554538"/>
                <a:gd name="connsiteY7" fmla="*/ 914032 h 982009"/>
                <a:gd name="connsiteX8" fmla="*/ 1523540 w 1554538"/>
                <a:gd name="connsiteY8" fmla="*/ 818498 h 982009"/>
                <a:gd name="connsiteX9" fmla="*/ 1173267 w 1554538"/>
                <a:gd name="connsiteY9" fmla="*/ 634312 h 982009"/>
                <a:gd name="connsiteX10" fmla="*/ 1250585 w 1554538"/>
                <a:gd name="connsiteY10" fmla="*/ 450008 h 982009"/>
                <a:gd name="connsiteX11" fmla="*/ 984454 w 1554538"/>
                <a:gd name="connsiteY11" fmla="*/ 340826 h 982009"/>
                <a:gd name="connsiteX12" fmla="*/ 909391 w 1554538"/>
                <a:gd name="connsiteY12" fmla="*/ 450008 h 982009"/>
                <a:gd name="connsiteX13" fmla="*/ 766089 w 1554538"/>
                <a:gd name="connsiteY13" fmla="*/ 388593 h 982009"/>
                <a:gd name="connsiteX14" fmla="*/ 800209 w 1554538"/>
                <a:gd name="connsiteY14" fmla="*/ 204349 h 982009"/>
                <a:gd name="connsiteX0" fmla="*/ 800209 w 1542543"/>
                <a:gd name="connsiteY0" fmla="*/ 204349 h 976908"/>
                <a:gd name="connsiteX1" fmla="*/ 196266 w 1542543"/>
                <a:gd name="connsiteY1" fmla="*/ 12686 h 976908"/>
                <a:gd name="connsiteX2" fmla="*/ 147370 w 1542543"/>
                <a:gd name="connsiteY2" fmla="*/ 306113 h 976908"/>
                <a:gd name="connsiteX3" fmla="*/ 12021 w 1542543"/>
                <a:gd name="connsiteY3" fmla="*/ 518188 h 976908"/>
                <a:gd name="connsiteX4" fmla="*/ 636377 w 1542543"/>
                <a:gd name="connsiteY4" fmla="*/ 741181 h 976908"/>
                <a:gd name="connsiteX5" fmla="*/ 705803 w 1542543"/>
                <a:gd name="connsiteY5" fmla="*/ 624047 h 976908"/>
                <a:gd name="connsiteX6" fmla="*/ 859369 w 1542543"/>
                <a:gd name="connsiteY6" fmla="*/ 679765 h 976908"/>
                <a:gd name="connsiteX7" fmla="*/ 1189170 w 1542543"/>
                <a:gd name="connsiteY7" fmla="*/ 914032 h 976908"/>
                <a:gd name="connsiteX8" fmla="*/ 1507637 w 1542543"/>
                <a:gd name="connsiteY8" fmla="*/ 786693 h 976908"/>
                <a:gd name="connsiteX9" fmla="*/ 1173267 w 1542543"/>
                <a:gd name="connsiteY9" fmla="*/ 634312 h 976908"/>
                <a:gd name="connsiteX10" fmla="*/ 1250585 w 1542543"/>
                <a:gd name="connsiteY10" fmla="*/ 450008 h 976908"/>
                <a:gd name="connsiteX11" fmla="*/ 984454 w 1542543"/>
                <a:gd name="connsiteY11" fmla="*/ 340826 h 976908"/>
                <a:gd name="connsiteX12" fmla="*/ 909391 w 1542543"/>
                <a:gd name="connsiteY12" fmla="*/ 450008 h 976908"/>
                <a:gd name="connsiteX13" fmla="*/ 766089 w 1542543"/>
                <a:gd name="connsiteY13" fmla="*/ 388593 h 976908"/>
                <a:gd name="connsiteX14" fmla="*/ 800209 w 1542543"/>
                <a:gd name="connsiteY14" fmla="*/ 204349 h 976908"/>
                <a:gd name="connsiteX0" fmla="*/ 800209 w 1542543"/>
                <a:gd name="connsiteY0" fmla="*/ 204349 h 976908"/>
                <a:gd name="connsiteX1" fmla="*/ 196266 w 1542543"/>
                <a:gd name="connsiteY1" fmla="*/ 12686 h 976908"/>
                <a:gd name="connsiteX2" fmla="*/ 147370 w 1542543"/>
                <a:gd name="connsiteY2" fmla="*/ 306113 h 976908"/>
                <a:gd name="connsiteX3" fmla="*/ 12021 w 1542543"/>
                <a:gd name="connsiteY3" fmla="*/ 518188 h 976908"/>
                <a:gd name="connsiteX4" fmla="*/ 636377 w 1542543"/>
                <a:gd name="connsiteY4" fmla="*/ 741181 h 976908"/>
                <a:gd name="connsiteX5" fmla="*/ 705803 w 1542543"/>
                <a:gd name="connsiteY5" fmla="*/ 624047 h 976908"/>
                <a:gd name="connsiteX6" fmla="*/ 859369 w 1542543"/>
                <a:gd name="connsiteY6" fmla="*/ 679765 h 976908"/>
                <a:gd name="connsiteX7" fmla="*/ 1189170 w 1542543"/>
                <a:gd name="connsiteY7" fmla="*/ 914032 h 976908"/>
                <a:gd name="connsiteX8" fmla="*/ 1507637 w 1542543"/>
                <a:gd name="connsiteY8" fmla="*/ 786693 h 976908"/>
                <a:gd name="connsiteX9" fmla="*/ 1173267 w 1542543"/>
                <a:gd name="connsiteY9" fmla="*/ 634312 h 976908"/>
                <a:gd name="connsiteX10" fmla="*/ 1250585 w 1542543"/>
                <a:gd name="connsiteY10" fmla="*/ 450008 h 976908"/>
                <a:gd name="connsiteX11" fmla="*/ 984454 w 1542543"/>
                <a:gd name="connsiteY11" fmla="*/ 340826 h 976908"/>
                <a:gd name="connsiteX12" fmla="*/ 909391 w 1542543"/>
                <a:gd name="connsiteY12" fmla="*/ 450008 h 976908"/>
                <a:gd name="connsiteX13" fmla="*/ 766089 w 1542543"/>
                <a:gd name="connsiteY13" fmla="*/ 388593 h 976908"/>
                <a:gd name="connsiteX14" fmla="*/ 800209 w 1542543"/>
                <a:gd name="connsiteY14" fmla="*/ 204349 h 976908"/>
                <a:gd name="connsiteX0" fmla="*/ 800209 w 1522966"/>
                <a:gd name="connsiteY0" fmla="*/ 204349 h 975249"/>
                <a:gd name="connsiteX1" fmla="*/ 196266 w 1522966"/>
                <a:gd name="connsiteY1" fmla="*/ 12686 h 975249"/>
                <a:gd name="connsiteX2" fmla="*/ 147370 w 1522966"/>
                <a:gd name="connsiteY2" fmla="*/ 306113 h 975249"/>
                <a:gd name="connsiteX3" fmla="*/ 12021 w 1522966"/>
                <a:gd name="connsiteY3" fmla="*/ 518188 h 975249"/>
                <a:gd name="connsiteX4" fmla="*/ 636377 w 1522966"/>
                <a:gd name="connsiteY4" fmla="*/ 741181 h 975249"/>
                <a:gd name="connsiteX5" fmla="*/ 705803 w 1522966"/>
                <a:gd name="connsiteY5" fmla="*/ 624047 h 975249"/>
                <a:gd name="connsiteX6" fmla="*/ 859369 w 1522966"/>
                <a:gd name="connsiteY6" fmla="*/ 679765 h 975249"/>
                <a:gd name="connsiteX7" fmla="*/ 1189170 w 1522966"/>
                <a:gd name="connsiteY7" fmla="*/ 914032 h 975249"/>
                <a:gd name="connsiteX8" fmla="*/ 1507637 w 1522966"/>
                <a:gd name="connsiteY8" fmla="*/ 786693 h 975249"/>
                <a:gd name="connsiteX9" fmla="*/ 1173267 w 1522966"/>
                <a:gd name="connsiteY9" fmla="*/ 634312 h 975249"/>
                <a:gd name="connsiteX10" fmla="*/ 1250585 w 1522966"/>
                <a:gd name="connsiteY10" fmla="*/ 450008 h 975249"/>
                <a:gd name="connsiteX11" fmla="*/ 984454 w 1522966"/>
                <a:gd name="connsiteY11" fmla="*/ 340826 h 975249"/>
                <a:gd name="connsiteX12" fmla="*/ 909391 w 1522966"/>
                <a:gd name="connsiteY12" fmla="*/ 450008 h 975249"/>
                <a:gd name="connsiteX13" fmla="*/ 766089 w 1522966"/>
                <a:gd name="connsiteY13" fmla="*/ 388593 h 975249"/>
                <a:gd name="connsiteX14" fmla="*/ 800209 w 1522966"/>
                <a:gd name="connsiteY14" fmla="*/ 204349 h 975249"/>
                <a:gd name="connsiteX0" fmla="*/ 800209 w 1538655"/>
                <a:gd name="connsiteY0" fmla="*/ 204349 h 976321"/>
                <a:gd name="connsiteX1" fmla="*/ 196266 w 1538655"/>
                <a:gd name="connsiteY1" fmla="*/ 12686 h 976321"/>
                <a:gd name="connsiteX2" fmla="*/ 147370 w 1538655"/>
                <a:gd name="connsiteY2" fmla="*/ 306113 h 976321"/>
                <a:gd name="connsiteX3" fmla="*/ 12021 w 1538655"/>
                <a:gd name="connsiteY3" fmla="*/ 518188 h 976321"/>
                <a:gd name="connsiteX4" fmla="*/ 636377 w 1538655"/>
                <a:gd name="connsiteY4" fmla="*/ 741181 h 976321"/>
                <a:gd name="connsiteX5" fmla="*/ 705803 w 1538655"/>
                <a:gd name="connsiteY5" fmla="*/ 624047 h 976321"/>
                <a:gd name="connsiteX6" fmla="*/ 859369 w 1538655"/>
                <a:gd name="connsiteY6" fmla="*/ 679765 h 976321"/>
                <a:gd name="connsiteX7" fmla="*/ 1189170 w 1538655"/>
                <a:gd name="connsiteY7" fmla="*/ 914032 h 976321"/>
                <a:gd name="connsiteX8" fmla="*/ 1507637 w 1538655"/>
                <a:gd name="connsiteY8" fmla="*/ 786693 h 976321"/>
                <a:gd name="connsiteX9" fmla="*/ 1173267 w 1538655"/>
                <a:gd name="connsiteY9" fmla="*/ 634312 h 976321"/>
                <a:gd name="connsiteX10" fmla="*/ 1250585 w 1538655"/>
                <a:gd name="connsiteY10" fmla="*/ 450008 h 976321"/>
                <a:gd name="connsiteX11" fmla="*/ 984454 w 1538655"/>
                <a:gd name="connsiteY11" fmla="*/ 340826 h 976321"/>
                <a:gd name="connsiteX12" fmla="*/ 909391 w 1538655"/>
                <a:gd name="connsiteY12" fmla="*/ 450008 h 976321"/>
                <a:gd name="connsiteX13" fmla="*/ 766089 w 1538655"/>
                <a:gd name="connsiteY13" fmla="*/ 388593 h 976321"/>
                <a:gd name="connsiteX14" fmla="*/ 800209 w 1538655"/>
                <a:gd name="connsiteY14" fmla="*/ 204349 h 976321"/>
                <a:gd name="connsiteX0" fmla="*/ 800209 w 1556774"/>
                <a:gd name="connsiteY0" fmla="*/ 204349 h 981339"/>
                <a:gd name="connsiteX1" fmla="*/ 196266 w 1556774"/>
                <a:gd name="connsiteY1" fmla="*/ 12686 h 981339"/>
                <a:gd name="connsiteX2" fmla="*/ 147370 w 1556774"/>
                <a:gd name="connsiteY2" fmla="*/ 306113 h 981339"/>
                <a:gd name="connsiteX3" fmla="*/ 12021 w 1556774"/>
                <a:gd name="connsiteY3" fmla="*/ 518188 h 981339"/>
                <a:gd name="connsiteX4" fmla="*/ 636377 w 1556774"/>
                <a:gd name="connsiteY4" fmla="*/ 741181 h 981339"/>
                <a:gd name="connsiteX5" fmla="*/ 705803 w 1556774"/>
                <a:gd name="connsiteY5" fmla="*/ 624047 h 981339"/>
                <a:gd name="connsiteX6" fmla="*/ 859369 w 1556774"/>
                <a:gd name="connsiteY6" fmla="*/ 679765 h 981339"/>
                <a:gd name="connsiteX7" fmla="*/ 1189170 w 1556774"/>
                <a:gd name="connsiteY7" fmla="*/ 914032 h 981339"/>
                <a:gd name="connsiteX8" fmla="*/ 1507637 w 1556774"/>
                <a:gd name="connsiteY8" fmla="*/ 786693 h 981339"/>
                <a:gd name="connsiteX9" fmla="*/ 1173267 w 1556774"/>
                <a:gd name="connsiteY9" fmla="*/ 634312 h 981339"/>
                <a:gd name="connsiteX10" fmla="*/ 1250585 w 1556774"/>
                <a:gd name="connsiteY10" fmla="*/ 450008 h 981339"/>
                <a:gd name="connsiteX11" fmla="*/ 984454 w 1556774"/>
                <a:gd name="connsiteY11" fmla="*/ 340826 h 981339"/>
                <a:gd name="connsiteX12" fmla="*/ 909391 w 1556774"/>
                <a:gd name="connsiteY12" fmla="*/ 450008 h 981339"/>
                <a:gd name="connsiteX13" fmla="*/ 766089 w 1556774"/>
                <a:gd name="connsiteY13" fmla="*/ 388593 h 981339"/>
                <a:gd name="connsiteX14" fmla="*/ 800209 w 1556774"/>
                <a:gd name="connsiteY14" fmla="*/ 204349 h 981339"/>
                <a:gd name="connsiteX0" fmla="*/ 800209 w 1556774"/>
                <a:gd name="connsiteY0" fmla="*/ 204349 h 981339"/>
                <a:gd name="connsiteX1" fmla="*/ 196266 w 1556774"/>
                <a:gd name="connsiteY1" fmla="*/ 12686 h 981339"/>
                <a:gd name="connsiteX2" fmla="*/ 147370 w 1556774"/>
                <a:gd name="connsiteY2" fmla="*/ 306113 h 981339"/>
                <a:gd name="connsiteX3" fmla="*/ 12021 w 1556774"/>
                <a:gd name="connsiteY3" fmla="*/ 518188 h 981339"/>
                <a:gd name="connsiteX4" fmla="*/ 636377 w 1556774"/>
                <a:gd name="connsiteY4" fmla="*/ 741181 h 981339"/>
                <a:gd name="connsiteX5" fmla="*/ 705803 w 1556774"/>
                <a:gd name="connsiteY5" fmla="*/ 624047 h 981339"/>
                <a:gd name="connsiteX6" fmla="*/ 859369 w 1556774"/>
                <a:gd name="connsiteY6" fmla="*/ 679765 h 981339"/>
                <a:gd name="connsiteX7" fmla="*/ 1189170 w 1556774"/>
                <a:gd name="connsiteY7" fmla="*/ 914032 h 981339"/>
                <a:gd name="connsiteX8" fmla="*/ 1507637 w 1556774"/>
                <a:gd name="connsiteY8" fmla="*/ 786693 h 981339"/>
                <a:gd name="connsiteX9" fmla="*/ 1173267 w 1556774"/>
                <a:gd name="connsiteY9" fmla="*/ 634312 h 981339"/>
                <a:gd name="connsiteX10" fmla="*/ 1250585 w 1556774"/>
                <a:gd name="connsiteY10" fmla="*/ 450008 h 981339"/>
                <a:gd name="connsiteX11" fmla="*/ 984454 w 1556774"/>
                <a:gd name="connsiteY11" fmla="*/ 340826 h 981339"/>
                <a:gd name="connsiteX12" fmla="*/ 909391 w 1556774"/>
                <a:gd name="connsiteY12" fmla="*/ 450008 h 981339"/>
                <a:gd name="connsiteX13" fmla="*/ 766089 w 1556774"/>
                <a:gd name="connsiteY13" fmla="*/ 388593 h 981339"/>
                <a:gd name="connsiteX14" fmla="*/ 800209 w 1556774"/>
                <a:gd name="connsiteY14" fmla="*/ 204349 h 981339"/>
                <a:gd name="connsiteX0" fmla="*/ 800209 w 1556774"/>
                <a:gd name="connsiteY0" fmla="*/ 204349 h 981339"/>
                <a:gd name="connsiteX1" fmla="*/ 196266 w 1556774"/>
                <a:gd name="connsiteY1" fmla="*/ 12686 h 981339"/>
                <a:gd name="connsiteX2" fmla="*/ 147370 w 1556774"/>
                <a:gd name="connsiteY2" fmla="*/ 306113 h 981339"/>
                <a:gd name="connsiteX3" fmla="*/ 12021 w 1556774"/>
                <a:gd name="connsiteY3" fmla="*/ 518188 h 981339"/>
                <a:gd name="connsiteX4" fmla="*/ 636377 w 1556774"/>
                <a:gd name="connsiteY4" fmla="*/ 741181 h 981339"/>
                <a:gd name="connsiteX5" fmla="*/ 705803 w 1556774"/>
                <a:gd name="connsiteY5" fmla="*/ 624047 h 981339"/>
                <a:gd name="connsiteX6" fmla="*/ 859369 w 1556774"/>
                <a:gd name="connsiteY6" fmla="*/ 679765 h 981339"/>
                <a:gd name="connsiteX7" fmla="*/ 1189170 w 1556774"/>
                <a:gd name="connsiteY7" fmla="*/ 914032 h 981339"/>
                <a:gd name="connsiteX8" fmla="*/ 1507637 w 1556774"/>
                <a:gd name="connsiteY8" fmla="*/ 786693 h 981339"/>
                <a:gd name="connsiteX9" fmla="*/ 1173267 w 1556774"/>
                <a:gd name="connsiteY9" fmla="*/ 634312 h 981339"/>
                <a:gd name="connsiteX10" fmla="*/ 1250585 w 1556774"/>
                <a:gd name="connsiteY10" fmla="*/ 450008 h 981339"/>
                <a:gd name="connsiteX11" fmla="*/ 984454 w 1556774"/>
                <a:gd name="connsiteY11" fmla="*/ 340826 h 981339"/>
                <a:gd name="connsiteX12" fmla="*/ 909391 w 1556774"/>
                <a:gd name="connsiteY12" fmla="*/ 450008 h 981339"/>
                <a:gd name="connsiteX13" fmla="*/ 766089 w 1556774"/>
                <a:gd name="connsiteY13" fmla="*/ 388593 h 981339"/>
                <a:gd name="connsiteX14" fmla="*/ 800209 w 1556774"/>
                <a:gd name="connsiteY14" fmla="*/ 204349 h 981339"/>
                <a:gd name="connsiteX0" fmla="*/ 800209 w 1556774"/>
                <a:gd name="connsiteY0" fmla="*/ 204349 h 981339"/>
                <a:gd name="connsiteX1" fmla="*/ 196266 w 1556774"/>
                <a:gd name="connsiteY1" fmla="*/ 12686 h 981339"/>
                <a:gd name="connsiteX2" fmla="*/ 147370 w 1556774"/>
                <a:gd name="connsiteY2" fmla="*/ 306113 h 981339"/>
                <a:gd name="connsiteX3" fmla="*/ 12021 w 1556774"/>
                <a:gd name="connsiteY3" fmla="*/ 518188 h 981339"/>
                <a:gd name="connsiteX4" fmla="*/ 636377 w 1556774"/>
                <a:gd name="connsiteY4" fmla="*/ 741181 h 981339"/>
                <a:gd name="connsiteX5" fmla="*/ 705803 w 1556774"/>
                <a:gd name="connsiteY5" fmla="*/ 624047 h 981339"/>
                <a:gd name="connsiteX6" fmla="*/ 859369 w 1556774"/>
                <a:gd name="connsiteY6" fmla="*/ 679765 h 981339"/>
                <a:gd name="connsiteX7" fmla="*/ 1189170 w 1556774"/>
                <a:gd name="connsiteY7" fmla="*/ 914032 h 981339"/>
                <a:gd name="connsiteX8" fmla="*/ 1507637 w 1556774"/>
                <a:gd name="connsiteY8" fmla="*/ 786693 h 981339"/>
                <a:gd name="connsiteX9" fmla="*/ 1173267 w 1556774"/>
                <a:gd name="connsiteY9" fmla="*/ 634312 h 981339"/>
                <a:gd name="connsiteX10" fmla="*/ 1250585 w 1556774"/>
                <a:gd name="connsiteY10" fmla="*/ 450008 h 981339"/>
                <a:gd name="connsiteX11" fmla="*/ 984454 w 1556774"/>
                <a:gd name="connsiteY11" fmla="*/ 340826 h 981339"/>
                <a:gd name="connsiteX12" fmla="*/ 909391 w 1556774"/>
                <a:gd name="connsiteY12" fmla="*/ 450008 h 981339"/>
                <a:gd name="connsiteX13" fmla="*/ 766089 w 1556774"/>
                <a:gd name="connsiteY13" fmla="*/ 388593 h 981339"/>
                <a:gd name="connsiteX14" fmla="*/ 800209 w 1556774"/>
                <a:gd name="connsiteY14" fmla="*/ 204349 h 981339"/>
                <a:gd name="connsiteX0" fmla="*/ 800209 w 1556774"/>
                <a:gd name="connsiteY0" fmla="*/ 204349 h 981339"/>
                <a:gd name="connsiteX1" fmla="*/ 196266 w 1556774"/>
                <a:gd name="connsiteY1" fmla="*/ 12686 h 981339"/>
                <a:gd name="connsiteX2" fmla="*/ 147370 w 1556774"/>
                <a:gd name="connsiteY2" fmla="*/ 306113 h 981339"/>
                <a:gd name="connsiteX3" fmla="*/ 12021 w 1556774"/>
                <a:gd name="connsiteY3" fmla="*/ 518188 h 981339"/>
                <a:gd name="connsiteX4" fmla="*/ 636377 w 1556774"/>
                <a:gd name="connsiteY4" fmla="*/ 741181 h 981339"/>
                <a:gd name="connsiteX5" fmla="*/ 705803 w 1556774"/>
                <a:gd name="connsiteY5" fmla="*/ 624047 h 981339"/>
                <a:gd name="connsiteX6" fmla="*/ 859369 w 1556774"/>
                <a:gd name="connsiteY6" fmla="*/ 679765 h 981339"/>
                <a:gd name="connsiteX7" fmla="*/ 1189170 w 1556774"/>
                <a:gd name="connsiteY7" fmla="*/ 914032 h 981339"/>
                <a:gd name="connsiteX8" fmla="*/ 1507637 w 1556774"/>
                <a:gd name="connsiteY8" fmla="*/ 786693 h 981339"/>
                <a:gd name="connsiteX9" fmla="*/ 1173267 w 1556774"/>
                <a:gd name="connsiteY9" fmla="*/ 634312 h 981339"/>
                <a:gd name="connsiteX10" fmla="*/ 1250585 w 1556774"/>
                <a:gd name="connsiteY10" fmla="*/ 450008 h 981339"/>
                <a:gd name="connsiteX11" fmla="*/ 964576 w 1556774"/>
                <a:gd name="connsiteY11" fmla="*/ 344802 h 981339"/>
                <a:gd name="connsiteX12" fmla="*/ 909391 w 1556774"/>
                <a:gd name="connsiteY12" fmla="*/ 450008 h 981339"/>
                <a:gd name="connsiteX13" fmla="*/ 766089 w 1556774"/>
                <a:gd name="connsiteY13" fmla="*/ 388593 h 981339"/>
                <a:gd name="connsiteX14" fmla="*/ 800209 w 1556774"/>
                <a:gd name="connsiteY14" fmla="*/ 204349 h 981339"/>
                <a:gd name="connsiteX0" fmla="*/ 800209 w 1556774"/>
                <a:gd name="connsiteY0" fmla="*/ 204349 h 981339"/>
                <a:gd name="connsiteX1" fmla="*/ 196266 w 1556774"/>
                <a:gd name="connsiteY1" fmla="*/ 12686 h 981339"/>
                <a:gd name="connsiteX2" fmla="*/ 147370 w 1556774"/>
                <a:gd name="connsiteY2" fmla="*/ 306113 h 981339"/>
                <a:gd name="connsiteX3" fmla="*/ 12021 w 1556774"/>
                <a:gd name="connsiteY3" fmla="*/ 518188 h 981339"/>
                <a:gd name="connsiteX4" fmla="*/ 636377 w 1556774"/>
                <a:gd name="connsiteY4" fmla="*/ 741181 h 981339"/>
                <a:gd name="connsiteX5" fmla="*/ 705803 w 1556774"/>
                <a:gd name="connsiteY5" fmla="*/ 624047 h 981339"/>
                <a:gd name="connsiteX6" fmla="*/ 859369 w 1556774"/>
                <a:gd name="connsiteY6" fmla="*/ 679765 h 981339"/>
                <a:gd name="connsiteX7" fmla="*/ 1189170 w 1556774"/>
                <a:gd name="connsiteY7" fmla="*/ 914032 h 981339"/>
                <a:gd name="connsiteX8" fmla="*/ 1507637 w 1556774"/>
                <a:gd name="connsiteY8" fmla="*/ 786693 h 981339"/>
                <a:gd name="connsiteX9" fmla="*/ 1173267 w 1556774"/>
                <a:gd name="connsiteY9" fmla="*/ 634312 h 981339"/>
                <a:gd name="connsiteX10" fmla="*/ 1250585 w 1556774"/>
                <a:gd name="connsiteY10" fmla="*/ 450008 h 981339"/>
                <a:gd name="connsiteX11" fmla="*/ 964576 w 1556774"/>
                <a:gd name="connsiteY11" fmla="*/ 344802 h 981339"/>
                <a:gd name="connsiteX12" fmla="*/ 909391 w 1556774"/>
                <a:gd name="connsiteY12" fmla="*/ 450008 h 981339"/>
                <a:gd name="connsiteX13" fmla="*/ 766089 w 1556774"/>
                <a:gd name="connsiteY13" fmla="*/ 388593 h 981339"/>
                <a:gd name="connsiteX14" fmla="*/ 800209 w 1556774"/>
                <a:gd name="connsiteY14" fmla="*/ 204349 h 981339"/>
                <a:gd name="connsiteX0" fmla="*/ 800209 w 1556774"/>
                <a:gd name="connsiteY0" fmla="*/ 204349 h 981339"/>
                <a:gd name="connsiteX1" fmla="*/ 196266 w 1556774"/>
                <a:gd name="connsiteY1" fmla="*/ 12686 h 981339"/>
                <a:gd name="connsiteX2" fmla="*/ 147370 w 1556774"/>
                <a:gd name="connsiteY2" fmla="*/ 306113 h 981339"/>
                <a:gd name="connsiteX3" fmla="*/ 12021 w 1556774"/>
                <a:gd name="connsiteY3" fmla="*/ 518188 h 981339"/>
                <a:gd name="connsiteX4" fmla="*/ 636377 w 1556774"/>
                <a:gd name="connsiteY4" fmla="*/ 741181 h 981339"/>
                <a:gd name="connsiteX5" fmla="*/ 705803 w 1556774"/>
                <a:gd name="connsiteY5" fmla="*/ 624047 h 981339"/>
                <a:gd name="connsiteX6" fmla="*/ 859369 w 1556774"/>
                <a:gd name="connsiteY6" fmla="*/ 679765 h 981339"/>
                <a:gd name="connsiteX7" fmla="*/ 1189170 w 1556774"/>
                <a:gd name="connsiteY7" fmla="*/ 914032 h 981339"/>
                <a:gd name="connsiteX8" fmla="*/ 1507637 w 1556774"/>
                <a:gd name="connsiteY8" fmla="*/ 786693 h 981339"/>
                <a:gd name="connsiteX9" fmla="*/ 1173267 w 1556774"/>
                <a:gd name="connsiteY9" fmla="*/ 634312 h 981339"/>
                <a:gd name="connsiteX10" fmla="*/ 1250585 w 1556774"/>
                <a:gd name="connsiteY10" fmla="*/ 450008 h 981339"/>
                <a:gd name="connsiteX11" fmla="*/ 964576 w 1556774"/>
                <a:gd name="connsiteY11" fmla="*/ 344802 h 981339"/>
                <a:gd name="connsiteX12" fmla="*/ 909391 w 1556774"/>
                <a:gd name="connsiteY12" fmla="*/ 450008 h 981339"/>
                <a:gd name="connsiteX13" fmla="*/ 766089 w 1556774"/>
                <a:gd name="connsiteY13" fmla="*/ 388593 h 981339"/>
                <a:gd name="connsiteX14" fmla="*/ 800209 w 1556774"/>
                <a:gd name="connsiteY14" fmla="*/ 204349 h 981339"/>
                <a:gd name="connsiteX0" fmla="*/ 800209 w 1556774"/>
                <a:gd name="connsiteY0" fmla="*/ 204349 h 981339"/>
                <a:gd name="connsiteX1" fmla="*/ 196266 w 1556774"/>
                <a:gd name="connsiteY1" fmla="*/ 12686 h 981339"/>
                <a:gd name="connsiteX2" fmla="*/ 147370 w 1556774"/>
                <a:gd name="connsiteY2" fmla="*/ 306113 h 981339"/>
                <a:gd name="connsiteX3" fmla="*/ 12021 w 1556774"/>
                <a:gd name="connsiteY3" fmla="*/ 518188 h 981339"/>
                <a:gd name="connsiteX4" fmla="*/ 636377 w 1556774"/>
                <a:gd name="connsiteY4" fmla="*/ 741181 h 981339"/>
                <a:gd name="connsiteX5" fmla="*/ 705803 w 1556774"/>
                <a:gd name="connsiteY5" fmla="*/ 624047 h 981339"/>
                <a:gd name="connsiteX6" fmla="*/ 859369 w 1556774"/>
                <a:gd name="connsiteY6" fmla="*/ 679765 h 981339"/>
                <a:gd name="connsiteX7" fmla="*/ 1189170 w 1556774"/>
                <a:gd name="connsiteY7" fmla="*/ 914032 h 981339"/>
                <a:gd name="connsiteX8" fmla="*/ 1507637 w 1556774"/>
                <a:gd name="connsiteY8" fmla="*/ 786693 h 981339"/>
                <a:gd name="connsiteX9" fmla="*/ 1173267 w 1556774"/>
                <a:gd name="connsiteY9" fmla="*/ 634312 h 981339"/>
                <a:gd name="connsiteX10" fmla="*/ 1250585 w 1556774"/>
                <a:gd name="connsiteY10" fmla="*/ 450008 h 981339"/>
                <a:gd name="connsiteX11" fmla="*/ 964576 w 1556774"/>
                <a:gd name="connsiteY11" fmla="*/ 344802 h 981339"/>
                <a:gd name="connsiteX12" fmla="*/ 909391 w 1556774"/>
                <a:gd name="connsiteY12" fmla="*/ 450008 h 981339"/>
                <a:gd name="connsiteX13" fmla="*/ 766089 w 1556774"/>
                <a:gd name="connsiteY13" fmla="*/ 388593 h 981339"/>
                <a:gd name="connsiteX14" fmla="*/ 800209 w 1556774"/>
                <a:gd name="connsiteY14" fmla="*/ 204349 h 981339"/>
                <a:gd name="connsiteX0" fmla="*/ 800209 w 1556774"/>
                <a:gd name="connsiteY0" fmla="*/ 204349 h 981339"/>
                <a:gd name="connsiteX1" fmla="*/ 196266 w 1556774"/>
                <a:gd name="connsiteY1" fmla="*/ 12686 h 981339"/>
                <a:gd name="connsiteX2" fmla="*/ 147370 w 1556774"/>
                <a:gd name="connsiteY2" fmla="*/ 306113 h 981339"/>
                <a:gd name="connsiteX3" fmla="*/ 12021 w 1556774"/>
                <a:gd name="connsiteY3" fmla="*/ 518188 h 981339"/>
                <a:gd name="connsiteX4" fmla="*/ 636377 w 1556774"/>
                <a:gd name="connsiteY4" fmla="*/ 741181 h 981339"/>
                <a:gd name="connsiteX5" fmla="*/ 705803 w 1556774"/>
                <a:gd name="connsiteY5" fmla="*/ 624047 h 981339"/>
                <a:gd name="connsiteX6" fmla="*/ 859369 w 1556774"/>
                <a:gd name="connsiteY6" fmla="*/ 679765 h 981339"/>
                <a:gd name="connsiteX7" fmla="*/ 1189170 w 1556774"/>
                <a:gd name="connsiteY7" fmla="*/ 914032 h 981339"/>
                <a:gd name="connsiteX8" fmla="*/ 1507637 w 1556774"/>
                <a:gd name="connsiteY8" fmla="*/ 786693 h 981339"/>
                <a:gd name="connsiteX9" fmla="*/ 1173267 w 1556774"/>
                <a:gd name="connsiteY9" fmla="*/ 634312 h 981339"/>
                <a:gd name="connsiteX10" fmla="*/ 1250585 w 1556774"/>
                <a:gd name="connsiteY10" fmla="*/ 438081 h 981339"/>
                <a:gd name="connsiteX11" fmla="*/ 964576 w 1556774"/>
                <a:gd name="connsiteY11" fmla="*/ 344802 h 981339"/>
                <a:gd name="connsiteX12" fmla="*/ 909391 w 1556774"/>
                <a:gd name="connsiteY12" fmla="*/ 450008 h 981339"/>
                <a:gd name="connsiteX13" fmla="*/ 766089 w 1556774"/>
                <a:gd name="connsiteY13" fmla="*/ 388593 h 981339"/>
                <a:gd name="connsiteX14" fmla="*/ 800209 w 1556774"/>
                <a:gd name="connsiteY14" fmla="*/ 204349 h 981339"/>
                <a:gd name="connsiteX0" fmla="*/ 800209 w 1556774"/>
                <a:gd name="connsiteY0" fmla="*/ 204349 h 981339"/>
                <a:gd name="connsiteX1" fmla="*/ 196266 w 1556774"/>
                <a:gd name="connsiteY1" fmla="*/ 12686 h 981339"/>
                <a:gd name="connsiteX2" fmla="*/ 147370 w 1556774"/>
                <a:gd name="connsiteY2" fmla="*/ 306113 h 981339"/>
                <a:gd name="connsiteX3" fmla="*/ 12021 w 1556774"/>
                <a:gd name="connsiteY3" fmla="*/ 518188 h 981339"/>
                <a:gd name="connsiteX4" fmla="*/ 636377 w 1556774"/>
                <a:gd name="connsiteY4" fmla="*/ 741181 h 981339"/>
                <a:gd name="connsiteX5" fmla="*/ 705803 w 1556774"/>
                <a:gd name="connsiteY5" fmla="*/ 624047 h 981339"/>
                <a:gd name="connsiteX6" fmla="*/ 859369 w 1556774"/>
                <a:gd name="connsiteY6" fmla="*/ 679765 h 981339"/>
                <a:gd name="connsiteX7" fmla="*/ 1189170 w 1556774"/>
                <a:gd name="connsiteY7" fmla="*/ 914032 h 981339"/>
                <a:gd name="connsiteX8" fmla="*/ 1507637 w 1556774"/>
                <a:gd name="connsiteY8" fmla="*/ 786693 h 981339"/>
                <a:gd name="connsiteX9" fmla="*/ 1173267 w 1556774"/>
                <a:gd name="connsiteY9" fmla="*/ 634312 h 981339"/>
                <a:gd name="connsiteX10" fmla="*/ 1250585 w 1556774"/>
                <a:gd name="connsiteY10" fmla="*/ 438081 h 981339"/>
                <a:gd name="connsiteX11" fmla="*/ 964576 w 1556774"/>
                <a:gd name="connsiteY11" fmla="*/ 344802 h 981339"/>
                <a:gd name="connsiteX12" fmla="*/ 909391 w 1556774"/>
                <a:gd name="connsiteY12" fmla="*/ 450008 h 981339"/>
                <a:gd name="connsiteX13" fmla="*/ 766089 w 1556774"/>
                <a:gd name="connsiteY13" fmla="*/ 388593 h 981339"/>
                <a:gd name="connsiteX14" fmla="*/ 800209 w 1556774"/>
                <a:gd name="connsiteY14" fmla="*/ 204349 h 981339"/>
                <a:gd name="connsiteX0" fmla="*/ 800209 w 1556774"/>
                <a:gd name="connsiteY0" fmla="*/ 204349 h 981339"/>
                <a:gd name="connsiteX1" fmla="*/ 196266 w 1556774"/>
                <a:gd name="connsiteY1" fmla="*/ 12686 h 981339"/>
                <a:gd name="connsiteX2" fmla="*/ 147370 w 1556774"/>
                <a:gd name="connsiteY2" fmla="*/ 306113 h 981339"/>
                <a:gd name="connsiteX3" fmla="*/ 12021 w 1556774"/>
                <a:gd name="connsiteY3" fmla="*/ 518188 h 981339"/>
                <a:gd name="connsiteX4" fmla="*/ 636377 w 1556774"/>
                <a:gd name="connsiteY4" fmla="*/ 741181 h 981339"/>
                <a:gd name="connsiteX5" fmla="*/ 705803 w 1556774"/>
                <a:gd name="connsiteY5" fmla="*/ 624047 h 981339"/>
                <a:gd name="connsiteX6" fmla="*/ 859369 w 1556774"/>
                <a:gd name="connsiteY6" fmla="*/ 679765 h 981339"/>
                <a:gd name="connsiteX7" fmla="*/ 1189170 w 1556774"/>
                <a:gd name="connsiteY7" fmla="*/ 914032 h 981339"/>
                <a:gd name="connsiteX8" fmla="*/ 1507637 w 1556774"/>
                <a:gd name="connsiteY8" fmla="*/ 786693 h 981339"/>
                <a:gd name="connsiteX9" fmla="*/ 1173267 w 1556774"/>
                <a:gd name="connsiteY9" fmla="*/ 634312 h 981339"/>
                <a:gd name="connsiteX10" fmla="*/ 1250585 w 1556774"/>
                <a:gd name="connsiteY10" fmla="*/ 438081 h 981339"/>
                <a:gd name="connsiteX11" fmla="*/ 964576 w 1556774"/>
                <a:gd name="connsiteY11" fmla="*/ 344802 h 981339"/>
                <a:gd name="connsiteX12" fmla="*/ 909391 w 1556774"/>
                <a:gd name="connsiteY12" fmla="*/ 450008 h 981339"/>
                <a:gd name="connsiteX13" fmla="*/ 766089 w 1556774"/>
                <a:gd name="connsiteY13" fmla="*/ 388593 h 981339"/>
                <a:gd name="connsiteX14" fmla="*/ 800209 w 1556774"/>
                <a:gd name="connsiteY14" fmla="*/ 204349 h 981339"/>
                <a:gd name="connsiteX0" fmla="*/ 800209 w 1527868"/>
                <a:gd name="connsiteY0" fmla="*/ 204349 h 975126"/>
                <a:gd name="connsiteX1" fmla="*/ 196266 w 1527868"/>
                <a:gd name="connsiteY1" fmla="*/ 12686 h 975126"/>
                <a:gd name="connsiteX2" fmla="*/ 147370 w 1527868"/>
                <a:gd name="connsiteY2" fmla="*/ 306113 h 975126"/>
                <a:gd name="connsiteX3" fmla="*/ 12021 w 1527868"/>
                <a:gd name="connsiteY3" fmla="*/ 518188 h 975126"/>
                <a:gd name="connsiteX4" fmla="*/ 636377 w 1527868"/>
                <a:gd name="connsiteY4" fmla="*/ 741181 h 975126"/>
                <a:gd name="connsiteX5" fmla="*/ 705803 w 1527868"/>
                <a:gd name="connsiteY5" fmla="*/ 624047 h 975126"/>
                <a:gd name="connsiteX6" fmla="*/ 859369 w 1527868"/>
                <a:gd name="connsiteY6" fmla="*/ 679765 h 975126"/>
                <a:gd name="connsiteX7" fmla="*/ 1189170 w 1527868"/>
                <a:gd name="connsiteY7" fmla="*/ 914032 h 975126"/>
                <a:gd name="connsiteX8" fmla="*/ 1467881 w 1527868"/>
                <a:gd name="connsiteY8" fmla="*/ 742961 h 975126"/>
                <a:gd name="connsiteX9" fmla="*/ 1173267 w 1527868"/>
                <a:gd name="connsiteY9" fmla="*/ 634312 h 975126"/>
                <a:gd name="connsiteX10" fmla="*/ 1250585 w 1527868"/>
                <a:gd name="connsiteY10" fmla="*/ 438081 h 975126"/>
                <a:gd name="connsiteX11" fmla="*/ 964576 w 1527868"/>
                <a:gd name="connsiteY11" fmla="*/ 344802 h 975126"/>
                <a:gd name="connsiteX12" fmla="*/ 909391 w 1527868"/>
                <a:gd name="connsiteY12" fmla="*/ 450008 h 975126"/>
                <a:gd name="connsiteX13" fmla="*/ 766089 w 1527868"/>
                <a:gd name="connsiteY13" fmla="*/ 388593 h 975126"/>
                <a:gd name="connsiteX14" fmla="*/ 800209 w 1527868"/>
                <a:gd name="connsiteY14" fmla="*/ 204349 h 975126"/>
                <a:gd name="connsiteX0" fmla="*/ 800209 w 1527868"/>
                <a:gd name="connsiteY0" fmla="*/ 204349 h 975126"/>
                <a:gd name="connsiteX1" fmla="*/ 196266 w 1527868"/>
                <a:gd name="connsiteY1" fmla="*/ 12686 h 975126"/>
                <a:gd name="connsiteX2" fmla="*/ 147370 w 1527868"/>
                <a:gd name="connsiteY2" fmla="*/ 306113 h 975126"/>
                <a:gd name="connsiteX3" fmla="*/ 12021 w 1527868"/>
                <a:gd name="connsiteY3" fmla="*/ 518188 h 975126"/>
                <a:gd name="connsiteX4" fmla="*/ 636377 w 1527868"/>
                <a:gd name="connsiteY4" fmla="*/ 741181 h 975126"/>
                <a:gd name="connsiteX5" fmla="*/ 705803 w 1527868"/>
                <a:gd name="connsiteY5" fmla="*/ 624047 h 975126"/>
                <a:gd name="connsiteX6" fmla="*/ 859369 w 1527868"/>
                <a:gd name="connsiteY6" fmla="*/ 679765 h 975126"/>
                <a:gd name="connsiteX7" fmla="*/ 1189170 w 1527868"/>
                <a:gd name="connsiteY7" fmla="*/ 914032 h 975126"/>
                <a:gd name="connsiteX8" fmla="*/ 1467881 w 1527868"/>
                <a:gd name="connsiteY8" fmla="*/ 742961 h 975126"/>
                <a:gd name="connsiteX9" fmla="*/ 1173267 w 1527868"/>
                <a:gd name="connsiteY9" fmla="*/ 634312 h 975126"/>
                <a:gd name="connsiteX10" fmla="*/ 1250585 w 1527868"/>
                <a:gd name="connsiteY10" fmla="*/ 438081 h 975126"/>
                <a:gd name="connsiteX11" fmla="*/ 964576 w 1527868"/>
                <a:gd name="connsiteY11" fmla="*/ 344802 h 975126"/>
                <a:gd name="connsiteX12" fmla="*/ 909391 w 1527868"/>
                <a:gd name="connsiteY12" fmla="*/ 450008 h 975126"/>
                <a:gd name="connsiteX13" fmla="*/ 766089 w 1527868"/>
                <a:gd name="connsiteY13" fmla="*/ 388593 h 975126"/>
                <a:gd name="connsiteX14" fmla="*/ 800209 w 1527868"/>
                <a:gd name="connsiteY14" fmla="*/ 204349 h 975126"/>
                <a:gd name="connsiteX0" fmla="*/ 800209 w 1499884"/>
                <a:gd name="connsiteY0" fmla="*/ 204349 h 986483"/>
                <a:gd name="connsiteX1" fmla="*/ 196266 w 1499884"/>
                <a:gd name="connsiteY1" fmla="*/ 12686 h 986483"/>
                <a:gd name="connsiteX2" fmla="*/ 147370 w 1499884"/>
                <a:gd name="connsiteY2" fmla="*/ 306113 h 986483"/>
                <a:gd name="connsiteX3" fmla="*/ 12021 w 1499884"/>
                <a:gd name="connsiteY3" fmla="*/ 518188 h 986483"/>
                <a:gd name="connsiteX4" fmla="*/ 636377 w 1499884"/>
                <a:gd name="connsiteY4" fmla="*/ 741181 h 986483"/>
                <a:gd name="connsiteX5" fmla="*/ 705803 w 1499884"/>
                <a:gd name="connsiteY5" fmla="*/ 624047 h 986483"/>
                <a:gd name="connsiteX6" fmla="*/ 859369 w 1499884"/>
                <a:gd name="connsiteY6" fmla="*/ 679765 h 986483"/>
                <a:gd name="connsiteX7" fmla="*/ 1189170 w 1499884"/>
                <a:gd name="connsiteY7" fmla="*/ 914032 h 986483"/>
                <a:gd name="connsiteX8" fmla="*/ 1467881 w 1499884"/>
                <a:gd name="connsiteY8" fmla="*/ 742961 h 986483"/>
                <a:gd name="connsiteX9" fmla="*/ 1173267 w 1499884"/>
                <a:gd name="connsiteY9" fmla="*/ 634312 h 986483"/>
                <a:gd name="connsiteX10" fmla="*/ 1250585 w 1499884"/>
                <a:gd name="connsiteY10" fmla="*/ 438081 h 986483"/>
                <a:gd name="connsiteX11" fmla="*/ 964576 w 1499884"/>
                <a:gd name="connsiteY11" fmla="*/ 344802 h 986483"/>
                <a:gd name="connsiteX12" fmla="*/ 909391 w 1499884"/>
                <a:gd name="connsiteY12" fmla="*/ 450008 h 986483"/>
                <a:gd name="connsiteX13" fmla="*/ 766089 w 1499884"/>
                <a:gd name="connsiteY13" fmla="*/ 388593 h 986483"/>
                <a:gd name="connsiteX14" fmla="*/ 800209 w 1499884"/>
                <a:gd name="connsiteY14" fmla="*/ 204349 h 986483"/>
                <a:gd name="connsiteX0" fmla="*/ 800209 w 1505435"/>
                <a:gd name="connsiteY0" fmla="*/ 204349 h 1015754"/>
                <a:gd name="connsiteX1" fmla="*/ 196266 w 1505435"/>
                <a:gd name="connsiteY1" fmla="*/ 12686 h 1015754"/>
                <a:gd name="connsiteX2" fmla="*/ 147370 w 1505435"/>
                <a:gd name="connsiteY2" fmla="*/ 306113 h 1015754"/>
                <a:gd name="connsiteX3" fmla="*/ 12021 w 1505435"/>
                <a:gd name="connsiteY3" fmla="*/ 518188 h 1015754"/>
                <a:gd name="connsiteX4" fmla="*/ 636377 w 1505435"/>
                <a:gd name="connsiteY4" fmla="*/ 741181 h 1015754"/>
                <a:gd name="connsiteX5" fmla="*/ 705803 w 1505435"/>
                <a:gd name="connsiteY5" fmla="*/ 624047 h 1015754"/>
                <a:gd name="connsiteX6" fmla="*/ 859369 w 1505435"/>
                <a:gd name="connsiteY6" fmla="*/ 679765 h 1015754"/>
                <a:gd name="connsiteX7" fmla="*/ 1189170 w 1505435"/>
                <a:gd name="connsiteY7" fmla="*/ 914032 h 1015754"/>
                <a:gd name="connsiteX8" fmla="*/ 1467881 w 1505435"/>
                <a:gd name="connsiteY8" fmla="*/ 742961 h 1015754"/>
                <a:gd name="connsiteX9" fmla="*/ 1173267 w 1505435"/>
                <a:gd name="connsiteY9" fmla="*/ 634312 h 1015754"/>
                <a:gd name="connsiteX10" fmla="*/ 1250585 w 1505435"/>
                <a:gd name="connsiteY10" fmla="*/ 438081 h 1015754"/>
                <a:gd name="connsiteX11" fmla="*/ 964576 w 1505435"/>
                <a:gd name="connsiteY11" fmla="*/ 344802 h 1015754"/>
                <a:gd name="connsiteX12" fmla="*/ 909391 w 1505435"/>
                <a:gd name="connsiteY12" fmla="*/ 450008 h 1015754"/>
                <a:gd name="connsiteX13" fmla="*/ 766089 w 1505435"/>
                <a:gd name="connsiteY13" fmla="*/ 388593 h 1015754"/>
                <a:gd name="connsiteX14" fmla="*/ 800209 w 1505435"/>
                <a:gd name="connsiteY14" fmla="*/ 204349 h 1015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05435" h="1015754">
                  <a:moveTo>
                    <a:pt x="800209" y="204349"/>
                  </a:moveTo>
                  <a:cubicBezTo>
                    <a:pt x="598895" y="140461"/>
                    <a:pt x="302164" y="-50647"/>
                    <a:pt x="196266" y="12686"/>
                  </a:cubicBezTo>
                  <a:cubicBezTo>
                    <a:pt x="103106" y="72064"/>
                    <a:pt x="168969" y="214930"/>
                    <a:pt x="147370" y="306113"/>
                  </a:cubicBezTo>
                  <a:cubicBezTo>
                    <a:pt x="102254" y="376805"/>
                    <a:pt x="-42253" y="455447"/>
                    <a:pt x="12021" y="518188"/>
                  </a:cubicBezTo>
                  <a:cubicBezTo>
                    <a:pt x="164480" y="669383"/>
                    <a:pt x="559454" y="713233"/>
                    <a:pt x="636377" y="741181"/>
                  </a:cubicBezTo>
                  <a:cubicBezTo>
                    <a:pt x="696624" y="733941"/>
                    <a:pt x="677361" y="671042"/>
                    <a:pt x="705803" y="624047"/>
                  </a:cubicBezTo>
                  <a:lnTo>
                    <a:pt x="859369" y="679765"/>
                  </a:lnTo>
                  <a:cubicBezTo>
                    <a:pt x="850034" y="889051"/>
                    <a:pt x="1063333" y="847870"/>
                    <a:pt x="1189170" y="914032"/>
                  </a:cubicBezTo>
                  <a:cubicBezTo>
                    <a:pt x="1618678" y="1176386"/>
                    <a:pt x="1495571" y="862271"/>
                    <a:pt x="1467881" y="742961"/>
                  </a:cubicBezTo>
                  <a:cubicBezTo>
                    <a:pt x="1356424" y="685542"/>
                    <a:pt x="1304603" y="671853"/>
                    <a:pt x="1173267" y="634312"/>
                  </a:cubicBezTo>
                  <a:cubicBezTo>
                    <a:pt x="1199040" y="568902"/>
                    <a:pt x="1292398" y="479637"/>
                    <a:pt x="1250585" y="438081"/>
                  </a:cubicBezTo>
                  <a:cubicBezTo>
                    <a:pt x="1165850" y="405662"/>
                    <a:pt x="1045335" y="381196"/>
                    <a:pt x="964576" y="344802"/>
                  </a:cubicBezTo>
                  <a:cubicBezTo>
                    <a:pt x="930279" y="379871"/>
                    <a:pt x="927786" y="414939"/>
                    <a:pt x="909391" y="450008"/>
                  </a:cubicBezTo>
                  <a:lnTo>
                    <a:pt x="766089" y="388593"/>
                  </a:lnTo>
                  <a:lnTo>
                    <a:pt x="800209" y="204349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/>
            </a:p>
          </p:txBody>
        </p:sp>
        <p:sp>
          <p:nvSpPr>
            <p:cNvPr id="67" name="Freeform 105">
              <a:extLst>
                <a:ext uri="{FF2B5EF4-FFF2-40B4-BE49-F238E27FC236}">
                  <a16:creationId xmlns:a16="http://schemas.microsoft.com/office/drawing/2014/main" id="{C13BBB19-70FE-4952-97D0-FDEBC2A1BBF6}"/>
                </a:ext>
              </a:extLst>
            </p:cNvPr>
            <p:cNvSpPr/>
            <p:nvPr/>
          </p:nvSpPr>
          <p:spPr>
            <a:xfrm rot="20634645">
              <a:off x="2071598" y="3466865"/>
              <a:ext cx="1505435" cy="1015754"/>
            </a:xfrm>
            <a:custGeom>
              <a:avLst/>
              <a:gdLst>
                <a:gd name="connsiteX0" fmla="*/ 812042 w 1535373"/>
                <a:gd name="connsiteY0" fmla="*/ 211541 h 921224"/>
                <a:gd name="connsiteX1" fmla="*/ 184245 w 1535373"/>
                <a:gd name="connsiteY1" fmla="*/ 0 h 921224"/>
                <a:gd name="connsiteX2" fmla="*/ 143301 w 1535373"/>
                <a:gd name="connsiteY2" fmla="*/ 293427 h 921224"/>
                <a:gd name="connsiteX3" fmla="*/ 0 w 1535373"/>
                <a:gd name="connsiteY3" fmla="*/ 477672 h 921224"/>
                <a:gd name="connsiteX4" fmla="*/ 600501 w 1535373"/>
                <a:gd name="connsiteY4" fmla="*/ 764275 h 921224"/>
                <a:gd name="connsiteX5" fmla="*/ 709684 w 1535373"/>
                <a:gd name="connsiteY5" fmla="*/ 655093 h 921224"/>
                <a:gd name="connsiteX6" fmla="*/ 887104 w 1535373"/>
                <a:gd name="connsiteY6" fmla="*/ 702860 h 921224"/>
                <a:gd name="connsiteX7" fmla="*/ 1201003 w 1535373"/>
                <a:gd name="connsiteY7" fmla="*/ 921224 h 921224"/>
                <a:gd name="connsiteX8" fmla="*/ 1535373 w 1535373"/>
                <a:gd name="connsiteY8" fmla="*/ 825690 h 921224"/>
                <a:gd name="connsiteX9" fmla="*/ 1201003 w 1535373"/>
                <a:gd name="connsiteY9" fmla="*/ 689212 h 921224"/>
                <a:gd name="connsiteX10" fmla="*/ 1262418 w 1535373"/>
                <a:gd name="connsiteY10" fmla="*/ 457200 h 921224"/>
                <a:gd name="connsiteX11" fmla="*/ 996287 w 1535373"/>
                <a:gd name="connsiteY11" fmla="*/ 348018 h 921224"/>
                <a:gd name="connsiteX12" fmla="*/ 921224 w 1535373"/>
                <a:gd name="connsiteY12" fmla="*/ 457200 h 921224"/>
                <a:gd name="connsiteX13" fmla="*/ 777922 w 1535373"/>
                <a:gd name="connsiteY13" fmla="*/ 395785 h 921224"/>
                <a:gd name="connsiteX14" fmla="*/ 812042 w 1535373"/>
                <a:gd name="connsiteY14" fmla="*/ 211541 h 921224"/>
                <a:gd name="connsiteX0" fmla="*/ 812042 w 1535373"/>
                <a:gd name="connsiteY0" fmla="*/ 191663 h 901346"/>
                <a:gd name="connsiteX1" fmla="*/ 208099 w 1535373"/>
                <a:gd name="connsiteY1" fmla="*/ 0 h 901346"/>
                <a:gd name="connsiteX2" fmla="*/ 143301 w 1535373"/>
                <a:gd name="connsiteY2" fmla="*/ 273549 h 901346"/>
                <a:gd name="connsiteX3" fmla="*/ 0 w 1535373"/>
                <a:gd name="connsiteY3" fmla="*/ 457794 h 901346"/>
                <a:gd name="connsiteX4" fmla="*/ 600501 w 1535373"/>
                <a:gd name="connsiteY4" fmla="*/ 744397 h 901346"/>
                <a:gd name="connsiteX5" fmla="*/ 709684 w 1535373"/>
                <a:gd name="connsiteY5" fmla="*/ 635215 h 901346"/>
                <a:gd name="connsiteX6" fmla="*/ 887104 w 1535373"/>
                <a:gd name="connsiteY6" fmla="*/ 682982 h 901346"/>
                <a:gd name="connsiteX7" fmla="*/ 1201003 w 1535373"/>
                <a:gd name="connsiteY7" fmla="*/ 901346 h 901346"/>
                <a:gd name="connsiteX8" fmla="*/ 1535373 w 1535373"/>
                <a:gd name="connsiteY8" fmla="*/ 805812 h 901346"/>
                <a:gd name="connsiteX9" fmla="*/ 1201003 w 1535373"/>
                <a:gd name="connsiteY9" fmla="*/ 669334 h 901346"/>
                <a:gd name="connsiteX10" fmla="*/ 1262418 w 1535373"/>
                <a:gd name="connsiteY10" fmla="*/ 437322 h 901346"/>
                <a:gd name="connsiteX11" fmla="*/ 996287 w 1535373"/>
                <a:gd name="connsiteY11" fmla="*/ 328140 h 901346"/>
                <a:gd name="connsiteX12" fmla="*/ 921224 w 1535373"/>
                <a:gd name="connsiteY12" fmla="*/ 437322 h 901346"/>
                <a:gd name="connsiteX13" fmla="*/ 777922 w 1535373"/>
                <a:gd name="connsiteY13" fmla="*/ 375907 h 901346"/>
                <a:gd name="connsiteX14" fmla="*/ 812042 w 1535373"/>
                <a:gd name="connsiteY14" fmla="*/ 191663 h 901346"/>
                <a:gd name="connsiteX0" fmla="*/ 812042 w 1535373"/>
                <a:gd name="connsiteY0" fmla="*/ 204349 h 914032"/>
                <a:gd name="connsiteX1" fmla="*/ 208099 w 1535373"/>
                <a:gd name="connsiteY1" fmla="*/ 12686 h 914032"/>
                <a:gd name="connsiteX2" fmla="*/ 143301 w 1535373"/>
                <a:gd name="connsiteY2" fmla="*/ 286235 h 914032"/>
                <a:gd name="connsiteX3" fmla="*/ 0 w 1535373"/>
                <a:gd name="connsiteY3" fmla="*/ 470480 h 914032"/>
                <a:gd name="connsiteX4" fmla="*/ 600501 w 1535373"/>
                <a:gd name="connsiteY4" fmla="*/ 757083 h 914032"/>
                <a:gd name="connsiteX5" fmla="*/ 709684 w 1535373"/>
                <a:gd name="connsiteY5" fmla="*/ 647901 h 914032"/>
                <a:gd name="connsiteX6" fmla="*/ 887104 w 1535373"/>
                <a:gd name="connsiteY6" fmla="*/ 695668 h 914032"/>
                <a:gd name="connsiteX7" fmla="*/ 1201003 w 1535373"/>
                <a:gd name="connsiteY7" fmla="*/ 914032 h 914032"/>
                <a:gd name="connsiteX8" fmla="*/ 1535373 w 1535373"/>
                <a:gd name="connsiteY8" fmla="*/ 818498 h 914032"/>
                <a:gd name="connsiteX9" fmla="*/ 1201003 w 1535373"/>
                <a:gd name="connsiteY9" fmla="*/ 682020 h 914032"/>
                <a:gd name="connsiteX10" fmla="*/ 1262418 w 1535373"/>
                <a:gd name="connsiteY10" fmla="*/ 450008 h 914032"/>
                <a:gd name="connsiteX11" fmla="*/ 996287 w 1535373"/>
                <a:gd name="connsiteY11" fmla="*/ 340826 h 914032"/>
                <a:gd name="connsiteX12" fmla="*/ 921224 w 1535373"/>
                <a:gd name="connsiteY12" fmla="*/ 450008 h 914032"/>
                <a:gd name="connsiteX13" fmla="*/ 777922 w 1535373"/>
                <a:gd name="connsiteY13" fmla="*/ 388593 h 914032"/>
                <a:gd name="connsiteX14" fmla="*/ 812042 w 1535373"/>
                <a:gd name="connsiteY14" fmla="*/ 204349 h 914032"/>
                <a:gd name="connsiteX0" fmla="*/ 812042 w 1535373"/>
                <a:gd name="connsiteY0" fmla="*/ 204349 h 914032"/>
                <a:gd name="connsiteX1" fmla="*/ 208099 w 1535373"/>
                <a:gd name="connsiteY1" fmla="*/ 12686 h 914032"/>
                <a:gd name="connsiteX2" fmla="*/ 143301 w 1535373"/>
                <a:gd name="connsiteY2" fmla="*/ 286235 h 914032"/>
                <a:gd name="connsiteX3" fmla="*/ 0 w 1535373"/>
                <a:gd name="connsiteY3" fmla="*/ 470480 h 914032"/>
                <a:gd name="connsiteX4" fmla="*/ 600501 w 1535373"/>
                <a:gd name="connsiteY4" fmla="*/ 757083 h 914032"/>
                <a:gd name="connsiteX5" fmla="*/ 709684 w 1535373"/>
                <a:gd name="connsiteY5" fmla="*/ 647901 h 914032"/>
                <a:gd name="connsiteX6" fmla="*/ 887104 w 1535373"/>
                <a:gd name="connsiteY6" fmla="*/ 695668 h 914032"/>
                <a:gd name="connsiteX7" fmla="*/ 1201003 w 1535373"/>
                <a:gd name="connsiteY7" fmla="*/ 914032 h 914032"/>
                <a:gd name="connsiteX8" fmla="*/ 1535373 w 1535373"/>
                <a:gd name="connsiteY8" fmla="*/ 818498 h 914032"/>
                <a:gd name="connsiteX9" fmla="*/ 1201003 w 1535373"/>
                <a:gd name="connsiteY9" fmla="*/ 682020 h 914032"/>
                <a:gd name="connsiteX10" fmla="*/ 1262418 w 1535373"/>
                <a:gd name="connsiteY10" fmla="*/ 450008 h 914032"/>
                <a:gd name="connsiteX11" fmla="*/ 996287 w 1535373"/>
                <a:gd name="connsiteY11" fmla="*/ 340826 h 914032"/>
                <a:gd name="connsiteX12" fmla="*/ 921224 w 1535373"/>
                <a:gd name="connsiteY12" fmla="*/ 450008 h 914032"/>
                <a:gd name="connsiteX13" fmla="*/ 777922 w 1535373"/>
                <a:gd name="connsiteY13" fmla="*/ 388593 h 914032"/>
                <a:gd name="connsiteX14" fmla="*/ 812042 w 1535373"/>
                <a:gd name="connsiteY14" fmla="*/ 204349 h 914032"/>
                <a:gd name="connsiteX0" fmla="*/ 812042 w 1535373"/>
                <a:gd name="connsiteY0" fmla="*/ 204349 h 914032"/>
                <a:gd name="connsiteX1" fmla="*/ 208099 w 1535373"/>
                <a:gd name="connsiteY1" fmla="*/ 12686 h 914032"/>
                <a:gd name="connsiteX2" fmla="*/ 159203 w 1535373"/>
                <a:gd name="connsiteY2" fmla="*/ 306113 h 914032"/>
                <a:gd name="connsiteX3" fmla="*/ 0 w 1535373"/>
                <a:gd name="connsiteY3" fmla="*/ 470480 h 914032"/>
                <a:gd name="connsiteX4" fmla="*/ 600501 w 1535373"/>
                <a:gd name="connsiteY4" fmla="*/ 757083 h 914032"/>
                <a:gd name="connsiteX5" fmla="*/ 709684 w 1535373"/>
                <a:gd name="connsiteY5" fmla="*/ 647901 h 914032"/>
                <a:gd name="connsiteX6" fmla="*/ 887104 w 1535373"/>
                <a:gd name="connsiteY6" fmla="*/ 695668 h 914032"/>
                <a:gd name="connsiteX7" fmla="*/ 1201003 w 1535373"/>
                <a:gd name="connsiteY7" fmla="*/ 914032 h 914032"/>
                <a:gd name="connsiteX8" fmla="*/ 1535373 w 1535373"/>
                <a:gd name="connsiteY8" fmla="*/ 818498 h 914032"/>
                <a:gd name="connsiteX9" fmla="*/ 1201003 w 1535373"/>
                <a:gd name="connsiteY9" fmla="*/ 682020 h 914032"/>
                <a:gd name="connsiteX10" fmla="*/ 1262418 w 1535373"/>
                <a:gd name="connsiteY10" fmla="*/ 450008 h 914032"/>
                <a:gd name="connsiteX11" fmla="*/ 996287 w 1535373"/>
                <a:gd name="connsiteY11" fmla="*/ 340826 h 914032"/>
                <a:gd name="connsiteX12" fmla="*/ 921224 w 1535373"/>
                <a:gd name="connsiteY12" fmla="*/ 450008 h 914032"/>
                <a:gd name="connsiteX13" fmla="*/ 777922 w 1535373"/>
                <a:gd name="connsiteY13" fmla="*/ 388593 h 914032"/>
                <a:gd name="connsiteX14" fmla="*/ 812042 w 1535373"/>
                <a:gd name="connsiteY14" fmla="*/ 204349 h 914032"/>
                <a:gd name="connsiteX0" fmla="*/ 788188 w 1511519"/>
                <a:gd name="connsiteY0" fmla="*/ 204349 h 914032"/>
                <a:gd name="connsiteX1" fmla="*/ 184245 w 1511519"/>
                <a:gd name="connsiteY1" fmla="*/ 12686 h 914032"/>
                <a:gd name="connsiteX2" fmla="*/ 135349 w 1511519"/>
                <a:gd name="connsiteY2" fmla="*/ 306113 h 914032"/>
                <a:gd name="connsiteX3" fmla="*/ 0 w 1511519"/>
                <a:gd name="connsiteY3" fmla="*/ 518188 h 914032"/>
                <a:gd name="connsiteX4" fmla="*/ 576647 w 1511519"/>
                <a:gd name="connsiteY4" fmla="*/ 757083 h 914032"/>
                <a:gd name="connsiteX5" fmla="*/ 685830 w 1511519"/>
                <a:gd name="connsiteY5" fmla="*/ 647901 h 914032"/>
                <a:gd name="connsiteX6" fmla="*/ 863250 w 1511519"/>
                <a:gd name="connsiteY6" fmla="*/ 695668 h 914032"/>
                <a:gd name="connsiteX7" fmla="*/ 1177149 w 1511519"/>
                <a:gd name="connsiteY7" fmla="*/ 914032 h 914032"/>
                <a:gd name="connsiteX8" fmla="*/ 1511519 w 1511519"/>
                <a:gd name="connsiteY8" fmla="*/ 818498 h 914032"/>
                <a:gd name="connsiteX9" fmla="*/ 1177149 w 1511519"/>
                <a:gd name="connsiteY9" fmla="*/ 682020 h 914032"/>
                <a:gd name="connsiteX10" fmla="*/ 1238564 w 1511519"/>
                <a:gd name="connsiteY10" fmla="*/ 450008 h 914032"/>
                <a:gd name="connsiteX11" fmla="*/ 972433 w 1511519"/>
                <a:gd name="connsiteY11" fmla="*/ 340826 h 914032"/>
                <a:gd name="connsiteX12" fmla="*/ 897370 w 1511519"/>
                <a:gd name="connsiteY12" fmla="*/ 450008 h 914032"/>
                <a:gd name="connsiteX13" fmla="*/ 754068 w 1511519"/>
                <a:gd name="connsiteY13" fmla="*/ 388593 h 914032"/>
                <a:gd name="connsiteX14" fmla="*/ 788188 w 1511519"/>
                <a:gd name="connsiteY14" fmla="*/ 204349 h 914032"/>
                <a:gd name="connsiteX0" fmla="*/ 802902 w 1526233"/>
                <a:gd name="connsiteY0" fmla="*/ 204349 h 914032"/>
                <a:gd name="connsiteX1" fmla="*/ 198959 w 1526233"/>
                <a:gd name="connsiteY1" fmla="*/ 12686 h 914032"/>
                <a:gd name="connsiteX2" fmla="*/ 150063 w 1526233"/>
                <a:gd name="connsiteY2" fmla="*/ 306113 h 914032"/>
                <a:gd name="connsiteX3" fmla="*/ 14714 w 1526233"/>
                <a:gd name="connsiteY3" fmla="*/ 518188 h 914032"/>
                <a:gd name="connsiteX4" fmla="*/ 591361 w 1526233"/>
                <a:gd name="connsiteY4" fmla="*/ 757083 h 914032"/>
                <a:gd name="connsiteX5" fmla="*/ 700544 w 1526233"/>
                <a:gd name="connsiteY5" fmla="*/ 647901 h 914032"/>
                <a:gd name="connsiteX6" fmla="*/ 877964 w 1526233"/>
                <a:gd name="connsiteY6" fmla="*/ 695668 h 914032"/>
                <a:gd name="connsiteX7" fmla="*/ 1191863 w 1526233"/>
                <a:gd name="connsiteY7" fmla="*/ 914032 h 914032"/>
                <a:gd name="connsiteX8" fmla="*/ 1526233 w 1526233"/>
                <a:gd name="connsiteY8" fmla="*/ 818498 h 914032"/>
                <a:gd name="connsiteX9" fmla="*/ 1191863 w 1526233"/>
                <a:gd name="connsiteY9" fmla="*/ 682020 h 914032"/>
                <a:gd name="connsiteX10" fmla="*/ 1253278 w 1526233"/>
                <a:gd name="connsiteY10" fmla="*/ 450008 h 914032"/>
                <a:gd name="connsiteX11" fmla="*/ 987147 w 1526233"/>
                <a:gd name="connsiteY11" fmla="*/ 340826 h 914032"/>
                <a:gd name="connsiteX12" fmla="*/ 912084 w 1526233"/>
                <a:gd name="connsiteY12" fmla="*/ 450008 h 914032"/>
                <a:gd name="connsiteX13" fmla="*/ 768782 w 1526233"/>
                <a:gd name="connsiteY13" fmla="*/ 388593 h 914032"/>
                <a:gd name="connsiteX14" fmla="*/ 802902 w 1526233"/>
                <a:gd name="connsiteY14" fmla="*/ 204349 h 914032"/>
                <a:gd name="connsiteX0" fmla="*/ 802902 w 1526233"/>
                <a:gd name="connsiteY0" fmla="*/ 204349 h 914032"/>
                <a:gd name="connsiteX1" fmla="*/ 198959 w 1526233"/>
                <a:gd name="connsiteY1" fmla="*/ 12686 h 914032"/>
                <a:gd name="connsiteX2" fmla="*/ 150063 w 1526233"/>
                <a:gd name="connsiteY2" fmla="*/ 306113 h 914032"/>
                <a:gd name="connsiteX3" fmla="*/ 14714 w 1526233"/>
                <a:gd name="connsiteY3" fmla="*/ 518188 h 914032"/>
                <a:gd name="connsiteX4" fmla="*/ 591361 w 1526233"/>
                <a:gd name="connsiteY4" fmla="*/ 757083 h 914032"/>
                <a:gd name="connsiteX5" fmla="*/ 700544 w 1526233"/>
                <a:gd name="connsiteY5" fmla="*/ 647901 h 914032"/>
                <a:gd name="connsiteX6" fmla="*/ 877964 w 1526233"/>
                <a:gd name="connsiteY6" fmla="*/ 695668 h 914032"/>
                <a:gd name="connsiteX7" fmla="*/ 1191863 w 1526233"/>
                <a:gd name="connsiteY7" fmla="*/ 914032 h 914032"/>
                <a:gd name="connsiteX8" fmla="*/ 1526233 w 1526233"/>
                <a:gd name="connsiteY8" fmla="*/ 818498 h 914032"/>
                <a:gd name="connsiteX9" fmla="*/ 1191863 w 1526233"/>
                <a:gd name="connsiteY9" fmla="*/ 682020 h 914032"/>
                <a:gd name="connsiteX10" fmla="*/ 1253278 w 1526233"/>
                <a:gd name="connsiteY10" fmla="*/ 450008 h 914032"/>
                <a:gd name="connsiteX11" fmla="*/ 987147 w 1526233"/>
                <a:gd name="connsiteY11" fmla="*/ 340826 h 914032"/>
                <a:gd name="connsiteX12" fmla="*/ 912084 w 1526233"/>
                <a:gd name="connsiteY12" fmla="*/ 450008 h 914032"/>
                <a:gd name="connsiteX13" fmla="*/ 768782 w 1526233"/>
                <a:gd name="connsiteY13" fmla="*/ 388593 h 914032"/>
                <a:gd name="connsiteX14" fmla="*/ 802902 w 1526233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588668 w 1523540"/>
                <a:gd name="connsiteY4" fmla="*/ 757083 h 914032"/>
                <a:gd name="connsiteX5" fmla="*/ 697851 w 1523540"/>
                <a:gd name="connsiteY5" fmla="*/ 647901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52279 w 1523540"/>
                <a:gd name="connsiteY4" fmla="*/ 757083 h 914032"/>
                <a:gd name="connsiteX5" fmla="*/ 697851 w 1523540"/>
                <a:gd name="connsiteY5" fmla="*/ 647901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52279 w 1523540"/>
                <a:gd name="connsiteY4" fmla="*/ 757083 h 914032"/>
                <a:gd name="connsiteX5" fmla="*/ 697851 w 1523540"/>
                <a:gd name="connsiteY5" fmla="*/ 647901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52279 w 1523540"/>
                <a:gd name="connsiteY4" fmla="*/ 757083 h 914032"/>
                <a:gd name="connsiteX5" fmla="*/ 697851 w 1523540"/>
                <a:gd name="connsiteY5" fmla="*/ 647901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36377 w 1523540"/>
                <a:gd name="connsiteY4" fmla="*/ 741181 h 914032"/>
                <a:gd name="connsiteX5" fmla="*/ 697851 w 1523540"/>
                <a:gd name="connsiteY5" fmla="*/ 647901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36377 w 1523540"/>
                <a:gd name="connsiteY4" fmla="*/ 741181 h 914032"/>
                <a:gd name="connsiteX5" fmla="*/ 697851 w 1523540"/>
                <a:gd name="connsiteY5" fmla="*/ 647901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36377 w 1523540"/>
                <a:gd name="connsiteY4" fmla="*/ 741181 h 914032"/>
                <a:gd name="connsiteX5" fmla="*/ 697851 w 1523540"/>
                <a:gd name="connsiteY5" fmla="*/ 647901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36377 w 1523540"/>
                <a:gd name="connsiteY4" fmla="*/ 741181 h 914032"/>
                <a:gd name="connsiteX5" fmla="*/ 697851 w 1523540"/>
                <a:gd name="connsiteY5" fmla="*/ 647901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36377 w 1523540"/>
                <a:gd name="connsiteY4" fmla="*/ 741181 h 914032"/>
                <a:gd name="connsiteX5" fmla="*/ 697851 w 1523540"/>
                <a:gd name="connsiteY5" fmla="*/ 647901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36377 w 1523540"/>
                <a:gd name="connsiteY4" fmla="*/ 741181 h 914032"/>
                <a:gd name="connsiteX5" fmla="*/ 697851 w 1523540"/>
                <a:gd name="connsiteY5" fmla="*/ 647901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36377 w 1523540"/>
                <a:gd name="connsiteY4" fmla="*/ 741181 h 914032"/>
                <a:gd name="connsiteX5" fmla="*/ 705803 w 1523540"/>
                <a:gd name="connsiteY5" fmla="*/ 624047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36377 w 1523540"/>
                <a:gd name="connsiteY4" fmla="*/ 741181 h 914032"/>
                <a:gd name="connsiteX5" fmla="*/ 705803 w 1523540"/>
                <a:gd name="connsiteY5" fmla="*/ 624047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36377 w 1523540"/>
                <a:gd name="connsiteY4" fmla="*/ 741181 h 914032"/>
                <a:gd name="connsiteX5" fmla="*/ 705803 w 1523540"/>
                <a:gd name="connsiteY5" fmla="*/ 624047 h 914032"/>
                <a:gd name="connsiteX6" fmla="*/ 859369 w 1523540"/>
                <a:gd name="connsiteY6" fmla="*/ 679765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36377 w 1523540"/>
                <a:gd name="connsiteY4" fmla="*/ 741181 h 914032"/>
                <a:gd name="connsiteX5" fmla="*/ 705803 w 1523540"/>
                <a:gd name="connsiteY5" fmla="*/ 624047 h 914032"/>
                <a:gd name="connsiteX6" fmla="*/ 859369 w 1523540"/>
                <a:gd name="connsiteY6" fmla="*/ 679765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36377 w 1523540"/>
                <a:gd name="connsiteY4" fmla="*/ 741181 h 914032"/>
                <a:gd name="connsiteX5" fmla="*/ 705803 w 1523540"/>
                <a:gd name="connsiteY5" fmla="*/ 624047 h 914032"/>
                <a:gd name="connsiteX6" fmla="*/ 859369 w 1523540"/>
                <a:gd name="connsiteY6" fmla="*/ 679765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82628"/>
                <a:gd name="connsiteX1" fmla="*/ 196266 w 1523540"/>
                <a:gd name="connsiteY1" fmla="*/ 12686 h 982628"/>
                <a:gd name="connsiteX2" fmla="*/ 147370 w 1523540"/>
                <a:gd name="connsiteY2" fmla="*/ 306113 h 982628"/>
                <a:gd name="connsiteX3" fmla="*/ 12021 w 1523540"/>
                <a:gd name="connsiteY3" fmla="*/ 518188 h 982628"/>
                <a:gd name="connsiteX4" fmla="*/ 636377 w 1523540"/>
                <a:gd name="connsiteY4" fmla="*/ 741181 h 982628"/>
                <a:gd name="connsiteX5" fmla="*/ 705803 w 1523540"/>
                <a:gd name="connsiteY5" fmla="*/ 624047 h 982628"/>
                <a:gd name="connsiteX6" fmla="*/ 859369 w 1523540"/>
                <a:gd name="connsiteY6" fmla="*/ 679765 h 982628"/>
                <a:gd name="connsiteX7" fmla="*/ 1189170 w 1523540"/>
                <a:gd name="connsiteY7" fmla="*/ 914032 h 982628"/>
                <a:gd name="connsiteX8" fmla="*/ 1523540 w 1523540"/>
                <a:gd name="connsiteY8" fmla="*/ 818498 h 982628"/>
                <a:gd name="connsiteX9" fmla="*/ 1189170 w 1523540"/>
                <a:gd name="connsiteY9" fmla="*/ 682020 h 982628"/>
                <a:gd name="connsiteX10" fmla="*/ 1250585 w 1523540"/>
                <a:gd name="connsiteY10" fmla="*/ 450008 h 982628"/>
                <a:gd name="connsiteX11" fmla="*/ 984454 w 1523540"/>
                <a:gd name="connsiteY11" fmla="*/ 340826 h 982628"/>
                <a:gd name="connsiteX12" fmla="*/ 909391 w 1523540"/>
                <a:gd name="connsiteY12" fmla="*/ 450008 h 982628"/>
                <a:gd name="connsiteX13" fmla="*/ 766089 w 1523540"/>
                <a:gd name="connsiteY13" fmla="*/ 388593 h 982628"/>
                <a:gd name="connsiteX14" fmla="*/ 800209 w 1523540"/>
                <a:gd name="connsiteY14" fmla="*/ 204349 h 982628"/>
                <a:gd name="connsiteX0" fmla="*/ 800209 w 1554538"/>
                <a:gd name="connsiteY0" fmla="*/ 204349 h 982009"/>
                <a:gd name="connsiteX1" fmla="*/ 196266 w 1554538"/>
                <a:gd name="connsiteY1" fmla="*/ 12686 h 982009"/>
                <a:gd name="connsiteX2" fmla="*/ 147370 w 1554538"/>
                <a:gd name="connsiteY2" fmla="*/ 306113 h 982009"/>
                <a:gd name="connsiteX3" fmla="*/ 12021 w 1554538"/>
                <a:gd name="connsiteY3" fmla="*/ 518188 h 982009"/>
                <a:gd name="connsiteX4" fmla="*/ 636377 w 1554538"/>
                <a:gd name="connsiteY4" fmla="*/ 741181 h 982009"/>
                <a:gd name="connsiteX5" fmla="*/ 705803 w 1554538"/>
                <a:gd name="connsiteY5" fmla="*/ 624047 h 982009"/>
                <a:gd name="connsiteX6" fmla="*/ 859369 w 1554538"/>
                <a:gd name="connsiteY6" fmla="*/ 679765 h 982009"/>
                <a:gd name="connsiteX7" fmla="*/ 1189170 w 1554538"/>
                <a:gd name="connsiteY7" fmla="*/ 914032 h 982009"/>
                <a:gd name="connsiteX8" fmla="*/ 1523540 w 1554538"/>
                <a:gd name="connsiteY8" fmla="*/ 818498 h 982009"/>
                <a:gd name="connsiteX9" fmla="*/ 1189170 w 1554538"/>
                <a:gd name="connsiteY9" fmla="*/ 682020 h 982009"/>
                <a:gd name="connsiteX10" fmla="*/ 1250585 w 1554538"/>
                <a:gd name="connsiteY10" fmla="*/ 450008 h 982009"/>
                <a:gd name="connsiteX11" fmla="*/ 984454 w 1554538"/>
                <a:gd name="connsiteY11" fmla="*/ 340826 h 982009"/>
                <a:gd name="connsiteX12" fmla="*/ 909391 w 1554538"/>
                <a:gd name="connsiteY12" fmla="*/ 450008 h 982009"/>
                <a:gd name="connsiteX13" fmla="*/ 766089 w 1554538"/>
                <a:gd name="connsiteY13" fmla="*/ 388593 h 982009"/>
                <a:gd name="connsiteX14" fmla="*/ 800209 w 1554538"/>
                <a:gd name="connsiteY14" fmla="*/ 204349 h 982009"/>
                <a:gd name="connsiteX0" fmla="*/ 800209 w 1554538"/>
                <a:gd name="connsiteY0" fmla="*/ 204349 h 982009"/>
                <a:gd name="connsiteX1" fmla="*/ 196266 w 1554538"/>
                <a:gd name="connsiteY1" fmla="*/ 12686 h 982009"/>
                <a:gd name="connsiteX2" fmla="*/ 147370 w 1554538"/>
                <a:gd name="connsiteY2" fmla="*/ 306113 h 982009"/>
                <a:gd name="connsiteX3" fmla="*/ 12021 w 1554538"/>
                <a:gd name="connsiteY3" fmla="*/ 518188 h 982009"/>
                <a:gd name="connsiteX4" fmla="*/ 636377 w 1554538"/>
                <a:gd name="connsiteY4" fmla="*/ 741181 h 982009"/>
                <a:gd name="connsiteX5" fmla="*/ 705803 w 1554538"/>
                <a:gd name="connsiteY5" fmla="*/ 624047 h 982009"/>
                <a:gd name="connsiteX6" fmla="*/ 859369 w 1554538"/>
                <a:gd name="connsiteY6" fmla="*/ 679765 h 982009"/>
                <a:gd name="connsiteX7" fmla="*/ 1189170 w 1554538"/>
                <a:gd name="connsiteY7" fmla="*/ 914032 h 982009"/>
                <a:gd name="connsiteX8" fmla="*/ 1523540 w 1554538"/>
                <a:gd name="connsiteY8" fmla="*/ 818498 h 982009"/>
                <a:gd name="connsiteX9" fmla="*/ 1189170 w 1554538"/>
                <a:gd name="connsiteY9" fmla="*/ 682020 h 982009"/>
                <a:gd name="connsiteX10" fmla="*/ 1250585 w 1554538"/>
                <a:gd name="connsiteY10" fmla="*/ 450008 h 982009"/>
                <a:gd name="connsiteX11" fmla="*/ 984454 w 1554538"/>
                <a:gd name="connsiteY11" fmla="*/ 340826 h 982009"/>
                <a:gd name="connsiteX12" fmla="*/ 909391 w 1554538"/>
                <a:gd name="connsiteY12" fmla="*/ 450008 h 982009"/>
                <a:gd name="connsiteX13" fmla="*/ 766089 w 1554538"/>
                <a:gd name="connsiteY13" fmla="*/ 388593 h 982009"/>
                <a:gd name="connsiteX14" fmla="*/ 800209 w 1554538"/>
                <a:gd name="connsiteY14" fmla="*/ 204349 h 982009"/>
                <a:gd name="connsiteX0" fmla="*/ 800209 w 1554538"/>
                <a:gd name="connsiteY0" fmla="*/ 204349 h 982009"/>
                <a:gd name="connsiteX1" fmla="*/ 196266 w 1554538"/>
                <a:gd name="connsiteY1" fmla="*/ 12686 h 982009"/>
                <a:gd name="connsiteX2" fmla="*/ 147370 w 1554538"/>
                <a:gd name="connsiteY2" fmla="*/ 306113 h 982009"/>
                <a:gd name="connsiteX3" fmla="*/ 12021 w 1554538"/>
                <a:gd name="connsiteY3" fmla="*/ 518188 h 982009"/>
                <a:gd name="connsiteX4" fmla="*/ 636377 w 1554538"/>
                <a:gd name="connsiteY4" fmla="*/ 741181 h 982009"/>
                <a:gd name="connsiteX5" fmla="*/ 705803 w 1554538"/>
                <a:gd name="connsiteY5" fmla="*/ 624047 h 982009"/>
                <a:gd name="connsiteX6" fmla="*/ 859369 w 1554538"/>
                <a:gd name="connsiteY6" fmla="*/ 679765 h 982009"/>
                <a:gd name="connsiteX7" fmla="*/ 1189170 w 1554538"/>
                <a:gd name="connsiteY7" fmla="*/ 914032 h 982009"/>
                <a:gd name="connsiteX8" fmla="*/ 1523540 w 1554538"/>
                <a:gd name="connsiteY8" fmla="*/ 818498 h 982009"/>
                <a:gd name="connsiteX9" fmla="*/ 1173267 w 1554538"/>
                <a:gd name="connsiteY9" fmla="*/ 634312 h 982009"/>
                <a:gd name="connsiteX10" fmla="*/ 1250585 w 1554538"/>
                <a:gd name="connsiteY10" fmla="*/ 450008 h 982009"/>
                <a:gd name="connsiteX11" fmla="*/ 984454 w 1554538"/>
                <a:gd name="connsiteY11" fmla="*/ 340826 h 982009"/>
                <a:gd name="connsiteX12" fmla="*/ 909391 w 1554538"/>
                <a:gd name="connsiteY12" fmla="*/ 450008 h 982009"/>
                <a:gd name="connsiteX13" fmla="*/ 766089 w 1554538"/>
                <a:gd name="connsiteY13" fmla="*/ 388593 h 982009"/>
                <a:gd name="connsiteX14" fmla="*/ 800209 w 1554538"/>
                <a:gd name="connsiteY14" fmla="*/ 204349 h 982009"/>
                <a:gd name="connsiteX0" fmla="*/ 800209 w 1554538"/>
                <a:gd name="connsiteY0" fmla="*/ 204349 h 982009"/>
                <a:gd name="connsiteX1" fmla="*/ 196266 w 1554538"/>
                <a:gd name="connsiteY1" fmla="*/ 12686 h 982009"/>
                <a:gd name="connsiteX2" fmla="*/ 147370 w 1554538"/>
                <a:gd name="connsiteY2" fmla="*/ 306113 h 982009"/>
                <a:gd name="connsiteX3" fmla="*/ 12021 w 1554538"/>
                <a:gd name="connsiteY3" fmla="*/ 518188 h 982009"/>
                <a:gd name="connsiteX4" fmla="*/ 636377 w 1554538"/>
                <a:gd name="connsiteY4" fmla="*/ 741181 h 982009"/>
                <a:gd name="connsiteX5" fmla="*/ 705803 w 1554538"/>
                <a:gd name="connsiteY5" fmla="*/ 624047 h 982009"/>
                <a:gd name="connsiteX6" fmla="*/ 859369 w 1554538"/>
                <a:gd name="connsiteY6" fmla="*/ 679765 h 982009"/>
                <a:gd name="connsiteX7" fmla="*/ 1189170 w 1554538"/>
                <a:gd name="connsiteY7" fmla="*/ 914032 h 982009"/>
                <a:gd name="connsiteX8" fmla="*/ 1523540 w 1554538"/>
                <a:gd name="connsiteY8" fmla="*/ 818498 h 982009"/>
                <a:gd name="connsiteX9" fmla="*/ 1173267 w 1554538"/>
                <a:gd name="connsiteY9" fmla="*/ 634312 h 982009"/>
                <a:gd name="connsiteX10" fmla="*/ 1250585 w 1554538"/>
                <a:gd name="connsiteY10" fmla="*/ 450008 h 982009"/>
                <a:gd name="connsiteX11" fmla="*/ 984454 w 1554538"/>
                <a:gd name="connsiteY11" fmla="*/ 340826 h 982009"/>
                <a:gd name="connsiteX12" fmla="*/ 909391 w 1554538"/>
                <a:gd name="connsiteY12" fmla="*/ 450008 h 982009"/>
                <a:gd name="connsiteX13" fmla="*/ 766089 w 1554538"/>
                <a:gd name="connsiteY13" fmla="*/ 388593 h 982009"/>
                <a:gd name="connsiteX14" fmla="*/ 800209 w 1554538"/>
                <a:gd name="connsiteY14" fmla="*/ 204349 h 982009"/>
                <a:gd name="connsiteX0" fmla="*/ 800209 w 1542543"/>
                <a:gd name="connsiteY0" fmla="*/ 204349 h 976908"/>
                <a:gd name="connsiteX1" fmla="*/ 196266 w 1542543"/>
                <a:gd name="connsiteY1" fmla="*/ 12686 h 976908"/>
                <a:gd name="connsiteX2" fmla="*/ 147370 w 1542543"/>
                <a:gd name="connsiteY2" fmla="*/ 306113 h 976908"/>
                <a:gd name="connsiteX3" fmla="*/ 12021 w 1542543"/>
                <a:gd name="connsiteY3" fmla="*/ 518188 h 976908"/>
                <a:gd name="connsiteX4" fmla="*/ 636377 w 1542543"/>
                <a:gd name="connsiteY4" fmla="*/ 741181 h 976908"/>
                <a:gd name="connsiteX5" fmla="*/ 705803 w 1542543"/>
                <a:gd name="connsiteY5" fmla="*/ 624047 h 976908"/>
                <a:gd name="connsiteX6" fmla="*/ 859369 w 1542543"/>
                <a:gd name="connsiteY6" fmla="*/ 679765 h 976908"/>
                <a:gd name="connsiteX7" fmla="*/ 1189170 w 1542543"/>
                <a:gd name="connsiteY7" fmla="*/ 914032 h 976908"/>
                <a:gd name="connsiteX8" fmla="*/ 1507637 w 1542543"/>
                <a:gd name="connsiteY8" fmla="*/ 786693 h 976908"/>
                <a:gd name="connsiteX9" fmla="*/ 1173267 w 1542543"/>
                <a:gd name="connsiteY9" fmla="*/ 634312 h 976908"/>
                <a:gd name="connsiteX10" fmla="*/ 1250585 w 1542543"/>
                <a:gd name="connsiteY10" fmla="*/ 450008 h 976908"/>
                <a:gd name="connsiteX11" fmla="*/ 984454 w 1542543"/>
                <a:gd name="connsiteY11" fmla="*/ 340826 h 976908"/>
                <a:gd name="connsiteX12" fmla="*/ 909391 w 1542543"/>
                <a:gd name="connsiteY12" fmla="*/ 450008 h 976908"/>
                <a:gd name="connsiteX13" fmla="*/ 766089 w 1542543"/>
                <a:gd name="connsiteY13" fmla="*/ 388593 h 976908"/>
                <a:gd name="connsiteX14" fmla="*/ 800209 w 1542543"/>
                <a:gd name="connsiteY14" fmla="*/ 204349 h 976908"/>
                <a:gd name="connsiteX0" fmla="*/ 800209 w 1542543"/>
                <a:gd name="connsiteY0" fmla="*/ 204349 h 976908"/>
                <a:gd name="connsiteX1" fmla="*/ 196266 w 1542543"/>
                <a:gd name="connsiteY1" fmla="*/ 12686 h 976908"/>
                <a:gd name="connsiteX2" fmla="*/ 147370 w 1542543"/>
                <a:gd name="connsiteY2" fmla="*/ 306113 h 976908"/>
                <a:gd name="connsiteX3" fmla="*/ 12021 w 1542543"/>
                <a:gd name="connsiteY3" fmla="*/ 518188 h 976908"/>
                <a:gd name="connsiteX4" fmla="*/ 636377 w 1542543"/>
                <a:gd name="connsiteY4" fmla="*/ 741181 h 976908"/>
                <a:gd name="connsiteX5" fmla="*/ 705803 w 1542543"/>
                <a:gd name="connsiteY5" fmla="*/ 624047 h 976908"/>
                <a:gd name="connsiteX6" fmla="*/ 859369 w 1542543"/>
                <a:gd name="connsiteY6" fmla="*/ 679765 h 976908"/>
                <a:gd name="connsiteX7" fmla="*/ 1189170 w 1542543"/>
                <a:gd name="connsiteY7" fmla="*/ 914032 h 976908"/>
                <a:gd name="connsiteX8" fmla="*/ 1507637 w 1542543"/>
                <a:gd name="connsiteY8" fmla="*/ 786693 h 976908"/>
                <a:gd name="connsiteX9" fmla="*/ 1173267 w 1542543"/>
                <a:gd name="connsiteY9" fmla="*/ 634312 h 976908"/>
                <a:gd name="connsiteX10" fmla="*/ 1250585 w 1542543"/>
                <a:gd name="connsiteY10" fmla="*/ 450008 h 976908"/>
                <a:gd name="connsiteX11" fmla="*/ 984454 w 1542543"/>
                <a:gd name="connsiteY11" fmla="*/ 340826 h 976908"/>
                <a:gd name="connsiteX12" fmla="*/ 909391 w 1542543"/>
                <a:gd name="connsiteY12" fmla="*/ 450008 h 976908"/>
                <a:gd name="connsiteX13" fmla="*/ 766089 w 1542543"/>
                <a:gd name="connsiteY13" fmla="*/ 388593 h 976908"/>
                <a:gd name="connsiteX14" fmla="*/ 800209 w 1542543"/>
                <a:gd name="connsiteY14" fmla="*/ 204349 h 976908"/>
                <a:gd name="connsiteX0" fmla="*/ 800209 w 1522966"/>
                <a:gd name="connsiteY0" fmla="*/ 204349 h 975249"/>
                <a:gd name="connsiteX1" fmla="*/ 196266 w 1522966"/>
                <a:gd name="connsiteY1" fmla="*/ 12686 h 975249"/>
                <a:gd name="connsiteX2" fmla="*/ 147370 w 1522966"/>
                <a:gd name="connsiteY2" fmla="*/ 306113 h 975249"/>
                <a:gd name="connsiteX3" fmla="*/ 12021 w 1522966"/>
                <a:gd name="connsiteY3" fmla="*/ 518188 h 975249"/>
                <a:gd name="connsiteX4" fmla="*/ 636377 w 1522966"/>
                <a:gd name="connsiteY4" fmla="*/ 741181 h 975249"/>
                <a:gd name="connsiteX5" fmla="*/ 705803 w 1522966"/>
                <a:gd name="connsiteY5" fmla="*/ 624047 h 975249"/>
                <a:gd name="connsiteX6" fmla="*/ 859369 w 1522966"/>
                <a:gd name="connsiteY6" fmla="*/ 679765 h 975249"/>
                <a:gd name="connsiteX7" fmla="*/ 1189170 w 1522966"/>
                <a:gd name="connsiteY7" fmla="*/ 914032 h 975249"/>
                <a:gd name="connsiteX8" fmla="*/ 1507637 w 1522966"/>
                <a:gd name="connsiteY8" fmla="*/ 786693 h 975249"/>
                <a:gd name="connsiteX9" fmla="*/ 1173267 w 1522966"/>
                <a:gd name="connsiteY9" fmla="*/ 634312 h 975249"/>
                <a:gd name="connsiteX10" fmla="*/ 1250585 w 1522966"/>
                <a:gd name="connsiteY10" fmla="*/ 450008 h 975249"/>
                <a:gd name="connsiteX11" fmla="*/ 984454 w 1522966"/>
                <a:gd name="connsiteY11" fmla="*/ 340826 h 975249"/>
                <a:gd name="connsiteX12" fmla="*/ 909391 w 1522966"/>
                <a:gd name="connsiteY12" fmla="*/ 450008 h 975249"/>
                <a:gd name="connsiteX13" fmla="*/ 766089 w 1522966"/>
                <a:gd name="connsiteY13" fmla="*/ 388593 h 975249"/>
                <a:gd name="connsiteX14" fmla="*/ 800209 w 1522966"/>
                <a:gd name="connsiteY14" fmla="*/ 204349 h 975249"/>
                <a:gd name="connsiteX0" fmla="*/ 800209 w 1538655"/>
                <a:gd name="connsiteY0" fmla="*/ 204349 h 976321"/>
                <a:gd name="connsiteX1" fmla="*/ 196266 w 1538655"/>
                <a:gd name="connsiteY1" fmla="*/ 12686 h 976321"/>
                <a:gd name="connsiteX2" fmla="*/ 147370 w 1538655"/>
                <a:gd name="connsiteY2" fmla="*/ 306113 h 976321"/>
                <a:gd name="connsiteX3" fmla="*/ 12021 w 1538655"/>
                <a:gd name="connsiteY3" fmla="*/ 518188 h 976321"/>
                <a:gd name="connsiteX4" fmla="*/ 636377 w 1538655"/>
                <a:gd name="connsiteY4" fmla="*/ 741181 h 976321"/>
                <a:gd name="connsiteX5" fmla="*/ 705803 w 1538655"/>
                <a:gd name="connsiteY5" fmla="*/ 624047 h 976321"/>
                <a:gd name="connsiteX6" fmla="*/ 859369 w 1538655"/>
                <a:gd name="connsiteY6" fmla="*/ 679765 h 976321"/>
                <a:gd name="connsiteX7" fmla="*/ 1189170 w 1538655"/>
                <a:gd name="connsiteY7" fmla="*/ 914032 h 976321"/>
                <a:gd name="connsiteX8" fmla="*/ 1507637 w 1538655"/>
                <a:gd name="connsiteY8" fmla="*/ 786693 h 976321"/>
                <a:gd name="connsiteX9" fmla="*/ 1173267 w 1538655"/>
                <a:gd name="connsiteY9" fmla="*/ 634312 h 976321"/>
                <a:gd name="connsiteX10" fmla="*/ 1250585 w 1538655"/>
                <a:gd name="connsiteY10" fmla="*/ 450008 h 976321"/>
                <a:gd name="connsiteX11" fmla="*/ 984454 w 1538655"/>
                <a:gd name="connsiteY11" fmla="*/ 340826 h 976321"/>
                <a:gd name="connsiteX12" fmla="*/ 909391 w 1538655"/>
                <a:gd name="connsiteY12" fmla="*/ 450008 h 976321"/>
                <a:gd name="connsiteX13" fmla="*/ 766089 w 1538655"/>
                <a:gd name="connsiteY13" fmla="*/ 388593 h 976321"/>
                <a:gd name="connsiteX14" fmla="*/ 800209 w 1538655"/>
                <a:gd name="connsiteY14" fmla="*/ 204349 h 976321"/>
                <a:gd name="connsiteX0" fmla="*/ 800209 w 1556774"/>
                <a:gd name="connsiteY0" fmla="*/ 204349 h 981339"/>
                <a:gd name="connsiteX1" fmla="*/ 196266 w 1556774"/>
                <a:gd name="connsiteY1" fmla="*/ 12686 h 981339"/>
                <a:gd name="connsiteX2" fmla="*/ 147370 w 1556774"/>
                <a:gd name="connsiteY2" fmla="*/ 306113 h 981339"/>
                <a:gd name="connsiteX3" fmla="*/ 12021 w 1556774"/>
                <a:gd name="connsiteY3" fmla="*/ 518188 h 981339"/>
                <a:gd name="connsiteX4" fmla="*/ 636377 w 1556774"/>
                <a:gd name="connsiteY4" fmla="*/ 741181 h 981339"/>
                <a:gd name="connsiteX5" fmla="*/ 705803 w 1556774"/>
                <a:gd name="connsiteY5" fmla="*/ 624047 h 981339"/>
                <a:gd name="connsiteX6" fmla="*/ 859369 w 1556774"/>
                <a:gd name="connsiteY6" fmla="*/ 679765 h 981339"/>
                <a:gd name="connsiteX7" fmla="*/ 1189170 w 1556774"/>
                <a:gd name="connsiteY7" fmla="*/ 914032 h 981339"/>
                <a:gd name="connsiteX8" fmla="*/ 1507637 w 1556774"/>
                <a:gd name="connsiteY8" fmla="*/ 786693 h 981339"/>
                <a:gd name="connsiteX9" fmla="*/ 1173267 w 1556774"/>
                <a:gd name="connsiteY9" fmla="*/ 634312 h 981339"/>
                <a:gd name="connsiteX10" fmla="*/ 1250585 w 1556774"/>
                <a:gd name="connsiteY10" fmla="*/ 450008 h 981339"/>
                <a:gd name="connsiteX11" fmla="*/ 984454 w 1556774"/>
                <a:gd name="connsiteY11" fmla="*/ 340826 h 981339"/>
                <a:gd name="connsiteX12" fmla="*/ 909391 w 1556774"/>
                <a:gd name="connsiteY12" fmla="*/ 450008 h 981339"/>
                <a:gd name="connsiteX13" fmla="*/ 766089 w 1556774"/>
                <a:gd name="connsiteY13" fmla="*/ 388593 h 981339"/>
                <a:gd name="connsiteX14" fmla="*/ 800209 w 1556774"/>
                <a:gd name="connsiteY14" fmla="*/ 204349 h 981339"/>
                <a:gd name="connsiteX0" fmla="*/ 800209 w 1556774"/>
                <a:gd name="connsiteY0" fmla="*/ 204349 h 981339"/>
                <a:gd name="connsiteX1" fmla="*/ 196266 w 1556774"/>
                <a:gd name="connsiteY1" fmla="*/ 12686 h 981339"/>
                <a:gd name="connsiteX2" fmla="*/ 147370 w 1556774"/>
                <a:gd name="connsiteY2" fmla="*/ 306113 h 981339"/>
                <a:gd name="connsiteX3" fmla="*/ 12021 w 1556774"/>
                <a:gd name="connsiteY3" fmla="*/ 518188 h 981339"/>
                <a:gd name="connsiteX4" fmla="*/ 636377 w 1556774"/>
                <a:gd name="connsiteY4" fmla="*/ 741181 h 981339"/>
                <a:gd name="connsiteX5" fmla="*/ 705803 w 1556774"/>
                <a:gd name="connsiteY5" fmla="*/ 624047 h 981339"/>
                <a:gd name="connsiteX6" fmla="*/ 859369 w 1556774"/>
                <a:gd name="connsiteY6" fmla="*/ 679765 h 981339"/>
                <a:gd name="connsiteX7" fmla="*/ 1189170 w 1556774"/>
                <a:gd name="connsiteY7" fmla="*/ 914032 h 981339"/>
                <a:gd name="connsiteX8" fmla="*/ 1507637 w 1556774"/>
                <a:gd name="connsiteY8" fmla="*/ 786693 h 981339"/>
                <a:gd name="connsiteX9" fmla="*/ 1173267 w 1556774"/>
                <a:gd name="connsiteY9" fmla="*/ 634312 h 981339"/>
                <a:gd name="connsiteX10" fmla="*/ 1250585 w 1556774"/>
                <a:gd name="connsiteY10" fmla="*/ 450008 h 981339"/>
                <a:gd name="connsiteX11" fmla="*/ 984454 w 1556774"/>
                <a:gd name="connsiteY11" fmla="*/ 340826 h 981339"/>
                <a:gd name="connsiteX12" fmla="*/ 909391 w 1556774"/>
                <a:gd name="connsiteY12" fmla="*/ 450008 h 981339"/>
                <a:gd name="connsiteX13" fmla="*/ 766089 w 1556774"/>
                <a:gd name="connsiteY13" fmla="*/ 388593 h 981339"/>
                <a:gd name="connsiteX14" fmla="*/ 800209 w 1556774"/>
                <a:gd name="connsiteY14" fmla="*/ 204349 h 981339"/>
                <a:gd name="connsiteX0" fmla="*/ 800209 w 1556774"/>
                <a:gd name="connsiteY0" fmla="*/ 204349 h 981339"/>
                <a:gd name="connsiteX1" fmla="*/ 196266 w 1556774"/>
                <a:gd name="connsiteY1" fmla="*/ 12686 h 981339"/>
                <a:gd name="connsiteX2" fmla="*/ 147370 w 1556774"/>
                <a:gd name="connsiteY2" fmla="*/ 306113 h 981339"/>
                <a:gd name="connsiteX3" fmla="*/ 12021 w 1556774"/>
                <a:gd name="connsiteY3" fmla="*/ 518188 h 981339"/>
                <a:gd name="connsiteX4" fmla="*/ 636377 w 1556774"/>
                <a:gd name="connsiteY4" fmla="*/ 741181 h 981339"/>
                <a:gd name="connsiteX5" fmla="*/ 705803 w 1556774"/>
                <a:gd name="connsiteY5" fmla="*/ 624047 h 981339"/>
                <a:gd name="connsiteX6" fmla="*/ 859369 w 1556774"/>
                <a:gd name="connsiteY6" fmla="*/ 679765 h 981339"/>
                <a:gd name="connsiteX7" fmla="*/ 1189170 w 1556774"/>
                <a:gd name="connsiteY7" fmla="*/ 914032 h 981339"/>
                <a:gd name="connsiteX8" fmla="*/ 1507637 w 1556774"/>
                <a:gd name="connsiteY8" fmla="*/ 786693 h 981339"/>
                <a:gd name="connsiteX9" fmla="*/ 1173267 w 1556774"/>
                <a:gd name="connsiteY9" fmla="*/ 634312 h 981339"/>
                <a:gd name="connsiteX10" fmla="*/ 1250585 w 1556774"/>
                <a:gd name="connsiteY10" fmla="*/ 450008 h 981339"/>
                <a:gd name="connsiteX11" fmla="*/ 984454 w 1556774"/>
                <a:gd name="connsiteY11" fmla="*/ 340826 h 981339"/>
                <a:gd name="connsiteX12" fmla="*/ 909391 w 1556774"/>
                <a:gd name="connsiteY12" fmla="*/ 450008 h 981339"/>
                <a:gd name="connsiteX13" fmla="*/ 766089 w 1556774"/>
                <a:gd name="connsiteY13" fmla="*/ 388593 h 981339"/>
                <a:gd name="connsiteX14" fmla="*/ 800209 w 1556774"/>
                <a:gd name="connsiteY14" fmla="*/ 204349 h 981339"/>
                <a:gd name="connsiteX0" fmla="*/ 800209 w 1556774"/>
                <a:gd name="connsiteY0" fmla="*/ 204349 h 981339"/>
                <a:gd name="connsiteX1" fmla="*/ 196266 w 1556774"/>
                <a:gd name="connsiteY1" fmla="*/ 12686 h 981339"/>
                <a:gd name="connsiteX2" fmla="*/ 147370 w 1556774"/>
                <a:gd name="connsiteY2" fmla="*/ 306113 h 981339"/>
                <a:gd name="connsiteX3" fmla="*/ 12021 w 1556774"/>
                <a:gd name="connsiteY3" fmla="*/ 518188 h 981339"/>
                <a:gd name="connsiteX4" fmla="*/ 636377 w 1556774"/>
                <a:gd name="connsiteY4" fmla="*/ 741181 h 981339"/>
                <a:gd name="connsiteX5" fmla="*/ 705803 w 1556774"/>
                <a:gd name="connsiteY5" fmla="*/ 624047 h 981339"/>
                <a:gd name="connsiteX6" fmla="*/ 859369 w 1556774"/>
                <a:gd name="connsiteY6" fmla="*/ 679765 h 981339"/>
                <a:gd name="connsiteX7" fmla="*/ 1189170 w 1556774"/>
                <a:gd name="connsiteY7" fmla="*/ 914032 h 981339"/>
                <a:gd name="connsiteX8" fmla="*/ 1507637 w 1556774"/>
                <a:gd name="connsiteY8" fmla="*/ 786693 h 981339"/>
                <a:gd name="connsiteX9" fmla="*/ 1173267 w 1556774"/>
                <a:gd name="connsiteY9" fmla="*/ 634312 h 981339"/>
                <a:gd name="connsiteX10" fmla="*/ 1250585 w 1556774"/>
                <a:gd name="connsiteY10" fmla="*/ 450008 h 981339"/>
                <a:gd name="connsiteX11" fmla="*/ 984454 w 1556774"/>
                <a:gd name="connsiteY11" fmla="*/ 340826 h 981339"/>
                <a:gd name="connsiteX12" fmla="*/ 909391 w 1556774"/>
                <a:gd name="connsiteY12" fmla="*/ 450008 h 981339"/>
                <a:gd name="connsiteX13" fmla="*/ 766089 w 1556774"/>
                <a:gd name="connsiteY13" fmla="*/ 388593 h 981339"/>
                <a:gd name="connsiteX14" fmla="*/ 800209 w 1556774"/>
                <a:gd name="connsiteY14" fmla="*/ 204349 h 981339"/>
                <a:gd name="connsiteX0" fmla="*/ 800209 w 1556774"/>
                <a:gd name="connsiteY0" fmla="*/ 204349 h 981339"/>
                <a:gd name="connsiteX1" fmla="*/ 196266 w 1556774"/>
                <a:gd name="connsiteY1" fmla="*/ 12686 h 981339"/>
                <a:gd name="connsiteX2" fmla="*/ 147370 w 1556774"/>
                <a:gd name="connsiteY2" fmla="*/ 306113 h 981339"/>
                <a:gd name="connsiteX3" fmla="*/ 12021 w 1556774"/>
                <a:gd name="connsiteY3" fmla="*/ 518188 h 981339"/>
                <a:gd name="connsiteX4" fmla="*/ 636377 w 1556774"/>
                <a:gd name="connsiteY4" fmla="*/ 741181 h 981339"/>
                <a:gd name="connsiteX5" fmla="*/ 705803 w 1556774"/>
                <a:gd name="connsiteY5" fmla="*/ 624047 h 981339"/>
                <a:gd name="connsiteX6" fmla="*/ 859369 w 1556774"/>
                <a:gd name="connsiteY6" fmla="*/ 679765 h 981339"/>
                <a:gd name="connsiteX7" fmla="*/ 1189170 w 1556774"/>
                <a:gd name="connsiteY7" fmla="*/ 914032 h 981339"/>
                <a:gd name="connsiteX8" fmla="*/ 1507637 w 1556774"/>
                <a:gd name="connsiteY8" fmla="*/ 786693 h 981339"/>
                <a:gd name="connsiteX9" fmla="*/ 1173267 w 1556774"/>
                <a:gd name="connsiteY9" fmla="*/ 634312 h 981339"/>
                <a:gd name="connsiteX10" fmla="*/ 1250585 w 1556774"/>
                <a:gd name="connsiteY10" fmla="*/ 450008 h 981339"/>
                <a:gd name="connsiteX11" fmla="*/ 964576 w 1556774"/>
                <a:gd name="connsiteY11" fmla="*/ 344802 h 981339"/>
                <a:gd name="connsiteX12" fmla="*/ 909391 w 1556774"/>
                <a:gd name="connsiteY12" fmla="*/ 450008 h 981339"/>
                <a:gd name="connsiteX13" fmla="*/ 766089 w 1556774"/>
                <a:gd name="connsiteY13" fmla="*/ 388593 h 981339"/>
                <a:gd name="connsiteX14" fmla="*/ 800209 w 1556774"/>
                <a:gd name="connsiteY14" fmla="*/ 204349 h 981339"/>
                <a:gd name="connsiteX0" fmla="*/ 800209 w 1556774"/>
                <a:gd name="connsiteY0" fmla="*/ 204349 h 981339"/>
                <a:gd name="connsiteX1" fmla="*/ 196266 w 1556774"/>
                <a:gd name="connsiteY1" fmla="*/ 12686 h 981339"/>
                <a:gd name="connsiteX2" fmla="*/ 147370 w 1556774"/>
                <a:gd name="connsiteY2" fmla="*/ 306113 h 981339"/>
                <a:gd name="connsiteX3" fmla="*/ 12021 w 1556774"/>
                <a:gd name="connsiteY3" fmla="*/ 518188 h 981339"/>
                <a:gd name="connsiteX4" fmla="*/ 636377 w 1556774"/>
                <a:gd name="connsiteY4" fmla="*/ 741181 h 981339"/>
                <a:gd name="connsiteX5" fmla="*/ 705803 w 1556774"/>
                <a:gd name="connsiteY5" fmla="*/ 624047 h 981339"/>
                <a:gd name="connsiteX6" fmla="*/ 859369 w 1556774"/>
                <a:gd name="connsiteY6" fmla="*/ 679765 h 981339"/>
                <a:gd name="connsiteX7" fmla="*/ 1189170 w 1556774"/>
                <a:gd name="connsiteY7" fmla="*/ 914032 h 981339"/>
                <a:gd name="connsiteX8" fmla="*/ 1507637 w 1556774"/>
                <a:gd name="connsiteY8" fmla="*/ 786693 h 981339"/>
                <a:gd name="connsiteX9" fmla="*/ 1173267 w 1556774"/>
                <a:gd name="connsiteY9" fmla="*/ 634312 h 981339"/>
                <a:gd name="connsiteX10" fmla="*/ 1250585 w 1556774"/>
                <a:gd name="connsiteY10" fmla="*/ 450008 h 981339"/>
                <a:gd name="connsiteX11" fmla="*/ 964576 w 1556774"/>
                <a:gd name="connsiteY11" fmla="*/ 344802 h 981339"/>
                <a:gd name="connsiteX12" fmla="*/ 909391 w 1556774"/>
                <a:gd name="connsiteY12" fmla="*/ 450008 h 981339"/>
                <a:gd name="connsiteX13" fmla="*/ 766089 w 1556774"/>
                <a:gd name="connsiteY13" fmla="*/ 388593 h 981339"/>
                <a:gd name="connsiteX14" fmla="*/ 800209 w 1556774"/>
                <a:gd name="connsiteY14" fmla="*/ 204349 h 981339"/>
                <a:gd name="connsiteX0" fmla="*/ 800209 w 1556774"/>
                <a:gd name="connsiteY0" fmla="*/ 204349 h 981339"/>
                <a:gd name="connsiteX1" fmla="*/ 196266 w 1556774"/>
                <a:gd name="connsiteY1" fmla="*/ 12686 h 981339"/>
                <a:gd name="connsiteX2" fmla="*/ 147370 w 1556774"/>
                <a:gd name="connsiteY2" fmla="*/ 306113 h 981339"/>
                <a:gd name="connsiteX3" fmla="*/ 12021 w 1556774"/>
                <a:gd name="connsiteY3" fmla="*/ 518188 h 981339"/>
                <a:gd name="connsiteX4" fmla="*/ 636377 w 1556774"/>
                <a:gd name="connsiteY4" fmla="*/ 741181 h 981339"/>
                <a:gd name="connsiteX5" fmla="*/ 705803 w 1556774"/>
                <a:gd name="connsiteY5" fmla="*/ 624047 h 981339"/>
                <a:gd name="connsiteX6" fmla="*/ 859369 w 1556774"/>
                <a:gd name="connsiteY6" fmla="*/ 679765 h 981339"/>
                <a:gd name="connsiteX7" fmla="*/ 1189170 w 1556774"/>
                <a:gd name="connsiteY7" fmla="*/ 914032 h 981339"/>
                <a:gd name="connsiteX8" fmla="*/ 1507637 w 1556774"/>
                <a:gd name="connsiteY8" fmla="*/ 786693 h 981339"/>
                <a:gd name="connsiteX9" fmla="*/ 1173267 w 1556774"/>
                <a:gd name="connsiteY9" fmla="*/ 634312 h 981339"/>
                <a:gd name="connsiteX10" fmla="*/ 1250585 w 1556774"/>
                <a:gd name="connsiteY10" fmla="*/ 450008 h 981339"/>
                <a:gd name="connsiteX11" fmla="*/ 964576 w 1556774"/>
                <a:gd name="connsiteY11" fmla="*/ 344802 h 981339"/>
                <a:gd name="connsiteX12" fmla="*/ 909391 w 1556774"/>
                <a:gd name="connsiteY12" fmla="*/ 450008 h 981339"/>
                <a:gd name="connsiteX13" fmla="*/ 766089 w 1556774"/>
                <a:gd name="connsiteY13" fmla="*/ 388593 h 981339"/>
                <a:gd name="connsiteX14" fmla="*/ 800209 w 1556774"/>
                <a:gd name="connsiteY14" fmla="*/ 204349 h 981339"/>
                <a:gd name="connsiteX0" fmla="*/ 800209 w 1556774"/>
                <a:gd name="connsiteY0" fmla="*/ 204349 h 981339"/>
                <a:gd name="connsiteX1" fmla="*/ 196266 w 1556774"/>
                <a:gd name="connsiteY1" fmla="*/ 12686 h 981339"/>
                <a:gd name="connsiteX2" fmla="*/ 147370 w 1556774"/>
                <a:gd name="connsiteY2" fmla="*/ 306113 h 981339"/>
                <a:gd name="connsiteX3" fmla="*/ 12021 w 1556774"/>
                <a:gd name="connsiteY3" fmla="*/ 518188 h 981339"/>
                <a:gd name="connsiteX4" fmla="*/ 636377 w 1556774"/>
                <a:gd name="connsiteY4" fmla="*/ 741181 h 981339"/>
                <a:gd name="connsiteX5" fmla="*/ 705803 w 1556774"/>
                <a:gd name="connsiteY5" fmla="*/ 624047 h 981339"/>
                <a:gd name="connsiteX6" fmla="*/ 859369 w 1556774"/>
                <a:gd name="connsiteY6" fmla="*/ 679765 h 981339"/>
                <a:gd name="connsiteX7" fmla="*/ 1189170 w 1556774"/>
                <a:gd name="connsiteY7" fmla="*/ 914032 h 981339"/>
                <a:gd name="connsiteX8" fmla="*/ 1507637 w 1556774"/>
                <a:gd name="connsiteY8" fmla="*/ 786693 h 981339"/>
                <a:gd name="connsiteX9" fmla="*/ 1173267 w 1556774"/>
                <a:gd name="connsiteY9" fmla="*/ 634312 h 981339"/>
                <a:gd name="connsiteX10" fmla="*/ 1250585 w 1556774"/>
                <a:gd name="connsiteY10" fmla="*/ 450008 h 981339"/>
                <a:gd name="connsiteX11" fmla="*/ 964576 w 1556774"/>
                <a:gd name="connsiteY11" fmla="*/ 344802 h 981339"/>
                <a:gd name="connsiteX12" fmla="*/ 909391 w 1556774"/>
                <a:gd name="connsiteY12" fmla="*/ 450008 h 981339"/>
                <a:gd name="connsiteX13" fmla="*/ 766089 w 1556774"/>
                <a:gd name="connsiteY13" fmla="*/ 388593 h 981339"/>
                <a:gd name="connsiteX14" fmla="*/ 800209 w 1556774"/>
                <a:gd name="connsiteY14" fmla="*/ 204349 h 981339"/>
                <a:gd name="connsiteX0" fmla="*/ 800209 w 1556774"/>
                <a:gd name="connsiteY0" fmla="*/ 204349 h 981339"/>
                <a:gd name="connsiteX1" fmla="*/ 196266 w 1556774"/>
                <a:gd name="connsiteY1" fmla="*/ 12686 h 981339"/>
                <a:gd name="connsiteX2" fmla="*/ 147370 w 1556774"/>
                <a:gd name="connsiteY2" fmla="*/ 306113 h 981339"/>
                <a:gd name="connsiteX3" fmla="*/ 12021 w 1556774"/>
                <a:gd name="connsiteY3" fmla="*/ 518188 h 981339"/>
                <a:gd name="connsiteX4" fmla="*/ 636377 w 1556774"/>
                <a:gd name="connsiteY4" fmla="*/ 741181 h 981339"/>
                <a:gd name="connsiteX5" fmla="*/ 705803 w 1556774"/>
                <a:gd name="connsiteY5" fmla="*/ 624047 h 981339"/>
                <a:gd name="connsiteX6" fmla="*/ 859369 w 1556774"/>
                <a:gd name="connsiteY6" fmla="*/ 679765 h 981339"/>
                <a:gd name="connsiteX7" fmla="*/ 1189170 w 1556774"/>
                <a:gd name="connsiteY7" fmla="*/ 914032 h 981339"/>
                <a:gd name="connsiteX8" fmla="*/ 1507637 w 1556774"/>
                <a:gd name="connsiteY8" fmla="*/ 786693 h 981339"/>
                <a:gd name="connsiteX9" fmla="*/ 1173267 w 1556774"/>
                <a:gd name="connsiteY9" fmla="*/ 634312 h 981339"/>
                <a:gd name="connsiteX10" fmla="*/ 1250585 w 1556774"/>
                <a:gd name="connsiteY10" fmla="*/ 438081 h 981339"/>
                <a:gd name="connsiteX11" fmla="*/ 964576 w 1556774"/>
                <a:gd name="connsiteY11" fmla="*/ 344802 h 981339"/>
                <a:gd name="connsiteX12" fmla="*/ 909391 w 1556774"/>
                <a:gd name="connsiteY12" fmla="*/ 450008 h 981339"/>
                <a:gd name="connsiteX13" fmla="*/ 766089 w 1556774"/>
                <a:gd name="connsiteY13" fmla="*/ 388593 h 981339"/>
                <a:gd name="connsiteX14" fmla="*/ 800209 w 1556774"/>
                <a:gd name="connsiteY14" fmla="*/ 204349 h 981339"/>
                <a:gd name="connsiteX0" fmla="*/ 800209 w 1556774"/>
                <a:gd name="connsiteY0" fmla="*/ 204349 h 981339"/>
                <a:gd name="connsiteX1" fmla="*/ 196266 w 1556774"/>
                <a:gd name="connsiteY1" fmla="*/ 12686 h 981339"/>
                <a:gd name="connsiteX2" fmla="*/ 147370 w 1556774"/>
                <a:gd name="connsiteY2" fmla="*/ 306113 h 981339"/>
                <a:gd name="connsiteX3" fmla="*/ 12021 w 1556774"/>
                <a:gd name="connsiteY3" fmla="*/ 518188 h 981339"/>
                <a:gd name="connsiteX4" fmla="*/ 636377 w 1556774"/>
                <a:gd name="connsiteY4" fmla="*/ 741181 h 981339"/>
                <a:gd name="connsiteX5" fmla="*/ 705803 w 1556774"/>
                <a:gd name="connsiteY5" fmla="*/ 624047 h 981339"/>
                <a:gd name="connsiteX6" fmla="*/ 859369 w 1556774"/>
                <a:gd name="connsiteY6" fmla="*/ 679765 h 981339"/>
                <a:gd name="connsiteX7" fmla="*/ 1189170 w 1556774"/>
                <a:gd name="connsiteY7" fmla="*/ 914032 h 981339"/>
                <a:gd name="connsiteX8" fmla="*/ 1507637 w 1556774"/>
                <a:gd name="connsiteY8" fmla="*/ 786693 h 981339"/>
                <a:gd name="connsiteX9" fmla="*/ 1173267 w 1556774"/>
                <a:gd name="connsiteY9" fmla="*/ 634312 h 981339"/>
                <a:gd name="connsiteX10" fmla="*/ 1250585 w 1556774"/>
                <a:gd name="connsiteY10" fmla="*/ 438081 h 981339"/>
                <a:gd name="connsiteX11" fmla="*/ 964576 w 1556774"/>
                <a:gd name="connsiteY11" fmla="*/ 344802 h 981339"/>
                <a:gd name="connsiteX12" fmla="*/ 909391 w 1556774"/>
                <a:gd name="connsiteY12" fmla="*/ 450008 h 981339"/>
                <a:gd name="connsiteX13" fmla="*/ 766089 w 1556774"/>
                <a:gd name="connsiteY13" fmla="*/ 388593 h 981339"/>
                <a:gd name="connsiteX14" fmla="*/ 800209 w 1556774"/>
                <a:gd name="connsiteY14" fmla="*/ 204349 h 981339"/>
                <a:gd name="connsiteX0" fmla="*/ 800209 w 1556774"/>
                <a:gd name="connsiteY0" fmla="*/ 204349 h 981339"/>
                <a:gd name="connsiteX1" fmla="*/ 196266 w 1556774"/>
                <a:gd name="connsiteY1" fmla="*/ 12686 h 981339"/>
                <a:gd name="connsiteX2" fmla="*/ 147370 w 1556774"/>
                <a:gd name="connsiteY2" fmla="*/ 306113 h 981339"/>
                <a:gd name="connsiteX3" fmla="*/ 12021 w 1556774"/>
                <a:gd name="connsiteY3" fmla="*/ 518188 h 981339"/>
                <a:gd name="connsiteX4" fmla="*/ 636377 w 1556774"/>
                <a:gd name="connsiteY4" fmla="*/ 741181 h 981339"/>
                <a:gd name="connsiteX5" fmla="*/ 705803 w 1556774"/>
                <a:gd name="connsiteY5" fmla="*/ 624047 h 981339"/>
                <a:gd name="connsiteX6" fmla="*/ 859369 w 1556774"/>
                <a:gd name="connsiteY6" fmla="*/ 679765 h 981339"/>
                <a:gd name="connsiteX7" fmla="*/ 1189170 w 1556774"/>
                <a:gd name="connsiteY7" fmla="*/ 914032 h 981339"/>
                <a:gd name="connsiteX8" fmla="*/ 1507637 w 1556774"/>
                <a:gd name="connsiteY8" fmla="*/ 786693 h 981339"/>
                <a:gd name="connsiteX9" fmla="*/ 1173267 w 1556774"/>
                <a:gd name="connsiteY9" fmla="*/ 634312 h 981339"/>
                <a:gd name="connsiteX10" fmla="*/ 1250585 w 1556774"/>
                <a:gd name="connsiteY10" fmla="*/ 438081 h 981339"/>
                <a:gd name="connsiteX11" fmla="*/ 964576 w 1556774"/>
                <a:gd name="connsiteY11" fmla="*/ 344802 h 981339"/>
                <a:gd name="connsiteX12" fmla="*/ 909391 w 1556774"/>
                <a:gd name="connsiteY12" fmla="*/ 450008 h 981339"/>
                <a:gd name="connsiteX13" fmla="*/ 766089 w 1556774"/>
                <a:gd name="connsiteY13" fmla="*/ 388593 h 981339"/>
                <a:gd name="connsiteX14" fmla="*/ 800209 w 1556774"/>
                <a:gd name="connsiteY14" fmla="*/ 204349 h 981339"/>
                <a:gd name="connsiteX0" fmla="*/ 800209 w 1527868"/>
                <a:gd name="connsiteY0" fmla="*/ 204349 h 975126"/>
                <a:gd name="connsiteX1" fmla="*/ 196266 w 1527868"/>
                <a:gd name="connsiteY1" fmla="*/ 12686 h 975126"/>
                <a:gd name="connsiteX2" fmla="*/ 147370 w 1527868"/>
                <a:gd name="connsiteY2" fmla="*/ 306113 h 975126"/>
                <a:gd name="connsiteX3" fmla="*/ 12021 w 1527868"/>
                <a:gd name="connsiteY3" fmla="*/ 518188 h 975126"/>
                <a:gd name="connsiteX4" fmla="*/ 636377 w 1527868"/>
                <a:gd name="connsiteY4" fmla="*/ 741181 h 975126"/>
                <a:gd name="connsiteX5" fmla="*/ 705803 w 1527868"/>
                <a:gd name="connsiteY5" fmla="*/ 624047 h 975126"/>
                <a:gd name="connsiteX6" fmla="*/ 859369 w 1527868"/>
                <a:gd name="connsiteY6" fmla="*/ 679765 h 975126"/>
                <a:gd name="connsiteX7" fmla="*/ 1189170 w 1527868"/>
                <a:gd name="connsiteY7" fmla="*/ 914032 h 975126"/>
                <a:gd name="connsiteX8" fmla="*/ 1467881 w 1527868"/>
                <a:gd name="connsiteY8" fmla="*/ 742961 h 975126"/>
                <a:gd name="connsiteX9" fmla="*/ 1173267 w 1527868"/>
                <a:gd name="connsiteY9" fmla="*/ 634312 h 975126"/>
                <a:gd name="connsiteX10" fmla="*/ 1250585 w 1527868"/>
                <a:gd name="connsiteY10" fmla="*/ 438081 h 975126"/>
                <a:gd name="connsiteX11" fmla="*/ 964576 w 1527868"/>
                <a:gd name="connsiteY11" fmla="*/ 344802 h 975126"/>
                <a:gd name="connsiteX12" fmla="*/ 909391 w 1527868"/>
                <a:gd name="connsiteY12" fmla="*/ 450008 h 975126"/>
                <a:gd name="connsiteX13" fmla="*/ 766089 w 1527868"/>
                <a:gd name="connsiteY13" fmla="*/ 388593 h 975126"/>
                <a:gd name="connsiteX14" fmla="*/ 800209 w 1527868"/>
                <a:gd name="connsiteY14" fmla="*/ 204349 h 975126"/>
                <a:gd name="connsiteX0" fmla="*/ 800209 w 1527868"/>
                <a:gd name="connsiteY0" fmla="*/ 204349 h 975126"/>
                <a:gd name="connsiteX1" fmla="*/ 196266 w 1527868"/>
                <a:gd name="connsiteY1" fmla="*/ 12686 h 975126"/>
                <a:gd name="connsiteX2" fmla="*/ 147370 w 1527868"/>
                <a:gd name="connsiteY2" fmla="*/ 306113 h 975126"/>
                <a:gd name="connsiteX3" fmla="*/ 12021 w 1527868"/>
                <a:gd name="connsiteY3" fmla="*/ 518188 h 975126"/>
                <a:gd name="connsiteX4" fmla="*/ 636377 w 1527868"/>
                <a:gd name="connsiteY4" fmla="*/ 741181 h 975126"/>
                <a:gd name="connsiteX5" fmla="*/ 705803 w 1527868"/>
                <a:gd name="connsiteY5" fmla="*/ 624047 h 975126"/>
                <a:gd name="connsiteX6" fmla="*/ 859369 w 1527868"/>
                <a:gd name="connsiteY6" fmla="*/ 679765 h 975126"/>
                <a:gd name="connsiteX7" fmla="*/ 1189170 w 1527868"/>
                <a:gd name="connsiteY7" fmla="*/ 914032 h 975126"/>
                <a:gd name="connsiteX8" fmla="*/ 1467881 w 1527868"/>
                <a:gd name="connsiteY8" fmla="*/ 742961 h 975126"/>
                <a:gd name="connsiteX9" fmla="*/ 1173267 w 1527868"/>
                <a:gd name="connsiteY9" fmla="*/ 634312 h 975126"/>
                <a:gd name="connsiteX10" fmla="*/ 1250585 w 1527868"/>
                <a:gd name="connsiteY10" fmla="*/ 438081 h 975126"/>
                <a:gd name="connsiteX11" fmla="*/ 964576 w 1527868"/>
                <a:gd name="connsiteY11" fmla="*/ 344802 h 975126"/>
                <a:gd name="connsiteX12" fmla="*/ 909391 w 1527868"/>
                <a:gd name="connsiteY12" fmla="*/ 450008 h 975126"/>
                <a:gd name="connsiteX13" fmla="*/ 766089 w 1527868"/>
                <a:gd name="connsiteY13" fmla="*/ 388593 h 975126"/>
                <a:gd name="connsiteX14" fmla="*/ 800209 w 1527868"/>
                <a:gd name="connsiteY14" fmla="*/ 204349 h 975126"/>
                <a:gd name="connsiteX0" fmla="*/ 800209 w 1499884"/>
                <a:gd name="connsiteY0" fmla="*/ 204349 h 986483"/>
                <a:gd name="connsiteX1" fmla="*/ 196266 w 1499884"/>
                <a:gd name="connsiteY1" fmla="*/ 12686 h 986483"/>
                <a:gd name="connsiteX2" fmla="*/ 147370 w 1499884"/>
                <a:gd name="connsiteY2" fmla="*/ 306113 h 986483"/>
                <a:gd name="connsiteX3" fmla="*/ 12021 w 1499884"/>
                <a:gd name="connsiteY3" fmla="*/ 518188 h 986483"/>
                <a:gd name="connsiteX4" fmla="*/ 636377 w 1499884"/>
                <a:gd name="connsiteY4" fmla="*/ 741181 h 986483"/>
                <a:gd name="connsiteX5" fmla="*/ 705803 w 1499884"/>
                <a:gd name="connsiteY5" fmla="*/ 624047 h 986483"/>
                <a:gd name="connsiteX6" fmla="*/ 859369 w 1499884"/>
                <a:gd name="connsiteY6" fmla="*/ 679765 h 986483"/>
                <a:gd name="connsiteX7" fmla="*/ 1189170 w 1499884"/>
                <a:gd name="connsiteY7" fmla="*/ 914032 h 986483"/>
                <a:gd name="connsiteX8" fmla="*/ 1467881 w 1499884"/>
                <a:gd name="connsiteY8" fmla="*/ 742961 h 986483"/>
                <a:gd name="connsiteX9" fmla="*/ 1173267 w 1499884"/>
                <a:gd name="connsiteY9" fmla="*/ 634312 h 986483"/>
                <a:gd name="connsiteX10" fmla="*/ 1250585 w 1499884"/>
                <a:gd name="connsiteY10" fmla="*/ 438081 h 986483"/>
                <a:gd name="connsiteX11" fmla="*/ 964576 w 1499884"/>
                <a:gd name="connsiteY11" fmla="*/ 344802 h 986483"/>
                <a:gd name="connsiteX12" fmla="*/ 909391 w 1499884"/>
                <a:gd name="connsiteY12" fmla="*/ 450008 h 986483"/>
                <a:gd name="connsiteX13" fmla="*/ 766089 w 1499884"/>
                <a:gd name="connsiteY13" fmla="*/ 388593 h 986483"/>
                <a:gd name="connsiteX14" fmla="*/ 800209 w 1499884"/>
                <a:gd name="connsiteY14" fmla="*/ 204349 h 986483"/>
                <a:gd name="connsiteX0" fmla="*/ 800209 w 1505435"/>
                <a:gd name="connsiteY0" fmla="*/ 204349 h 1015754"/>
                <a:gd name="connsiteX1" fmla="*/ 196266 w 1505435"/>
                <a:gd name="connsiteY1" fmla="*/ 12686 h 1015754"/>
                <a:gd name="connsiteX2" fmla="*/ 147370 w 1505435"/>
                <a:gd name="connsiteY2" fmla="*/ 306113 h 1015754"/>
                <a:gd name="connsiteX3" fmla="*/ 12021 w 1505435"/>
                <a:gd name="connsiteY3" fmla="*/ 518188 h 1015754"/>
                <a:gd name="connsiteX4" fmla="*/ 636377 w 1505435"/>
                <a:gd name="connsiteY4" fmla="*/ 741181 h 1015754"/>
                <a:gd name="connsiteX5" fmla="*/ 705803 w 1505435"/>
                <a:gd name="connsiteY5" fmla="*/ 624047 h 1015754"/>
                <a:gd name="connsiteX6" fmla="*/ 859369 w 1505435"/>
                <a:gd name="connsiteY6" fmla="*/ 679765 h 1015754"/>
                <a:gd name="connsiteX7" fmla="*/ 1189170 w 1505435"/>
                <a:gd name="connsiteY7" fmla="*/ 914032 h 1015754"/>
                <a:gd name="connsiteX8" fmla="*/ 1467881 w 1505435"/>
                <a:gd name="connsiteY8" fmla="*/ 742961 h 1015754"/>
                <a:gd name="connsiteX9" fmla="*/ 1173267 w 1505435"/>
                <a:gd name="connsiteY9" fmla="*/ 634312 h 1015754"/>
                <a:gd name="connsiteX10" fmla="*/ 1250585 w 1505435"/>
                <a:gd name="connsiteY10" fmla="*/ 438081 h 1015754"/>
                <a:gd name="connsiteX11" fmla="*/ 964576 w 1505435"/>
                <a:gd name="connsiteY11" fmla="*/ 344802 h 1015754"/>
                <a:gd name="connsiteX12" fmla="*/ 909391 w 1505435"/>
                <a:gd name="connsiteY12" fmla="*/ 450008 h 1015754"/>
                <a:gd name="connsiteX13" fmla="*/ 766089 w 1505435"/>
                <a:gd name="connsiteY13" fmla="*/ 388593 h 1015754"/>
                <a:gd name="connsiteX14" fmla="*/ 800209 w 1505435"/>
                <a:gd name="connsiteY14" fmla="*/ 204349 h 1015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05435" h="1015754">
                  <a:moveTo>
                    <a:pt x="800209" y="204349"/>
                  </a:moveTo>
                  <a:cubicBezTo>
                    <a:pt x="598895" y="140461"/>
                    <a:pt x="302164" y="-50647"/>
                    <a:pt x="196266" y="12686"/>
                  </a:cubicBezTo>
                  <a:cubicBezTo>
                    <a:pt x="103106" y="72064"/>
                    <a:pt x="168969" y="214930"/>
                    <a:pt x="147370" y="306113"/>
                  </a:cubicBezTo>
                  <a:cubicBezTo>
                    <a:pt x="102254" y="376805"/>
                    <a:pt x="-42253" y="455447"/>
                    <a:pt x="12021" y="518188"/>
                  </a:cubicBezTo>
                  <a:cubicBezTo>
                    <a:pt x="164480" y="669383"/>
                    <a:pt x="559454" y="713233"/>
                    <a:pt x="636377" y="741181"/>
                  </a:cubicBezTo>
                  <a:cubicBezTo>
                    <a:pt x="696624" y="733941"/>
                    <a:pt x="677361" y="671042"/>
                    <a:pt x="705803" y="624047"/>
                  </a:cubicBezTo>
                  <a:lnTo>
                    <a:pt x="859369" y="679765"/>
                  </a:lnTo>
                  <a:cubicBezTo>
                    <a:pt x="850034" y="889051"/>
                    <a:pt x="1063333" y="847870"/>
                    <a:pt x="1189170" y="914032"/>
                  </a:cubicBezTo>
                  <a:cubicBezTo>
                    <a:pt x="1618678" y="1176386"/>
                    <a:pt x="1495571" y="862271"/>
                    <a:pt x="1467881" y="742961"/>
                  </a:cubicBezTo>
                  <a:cubicBezTo>
                    <a:pt x="1356424" y="685542"/>
                    <a:pt x="1304603" y="671853"/>
                    <a:pt x="1173267" y="634312"/>
                  </a:cubicBezTo>
                  <a:cubicBezTo>
                    <a:pt x="1199040" y="568902"/>
                    <a:pt x="1292398" y="479637"/>
                    <a:pt x="1250585" y="438081"/>
                  </a:cubicBezTo>
                  <a:cubicBezTo>
                    <a:pt x="1165850" y="405662"/>
                    <a:pt x="1045335" y="381196"/>
                    <a:pt x="964576" y="344802"/>
                  </a:cubicBezTo>
                  <a:cubicBezTo>
                    <a:pt x="930279" y="379871"/>
                    <a:pt x="927786" y="414939"/>
                    <a:pt x="909391" y="450008"/>
                  </a:cubicBezTo>
                  <a:lnTo>
                    <a:pt x="766089" y="388593"/>
                  </a:lnTo>
                  <a:lnTo>
                    <a:pt x="800209" y="204349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/>
            </a:p>
          </p:txBody>
        </p:sp>
        <p:sp>
          <p:nvSpPr>
            <p:cNvPr id="68" name="Freeform 106">
              <a:extLst>
                <a:ext uri="{FF2B5EF4-FFF2-40B4-BE49-F238E27FC236}">
                  <a16:creationId xmlns:a16="http://schemas.microsoft.com/office/drawing/2014/main" id="{7ABD01DA-F7D7-478D-A532-2A1B78A013CF}"/>
                </a:ext>
              </a:extLst>
            </p:cNvPr>
            <p:cNvSpPr/>
            <p:nvPr/>
          </p:nvSpPr>
          <p:spPr>
            <a:xfrm rot="19632933">
              <a:off x="2257651" y="4182238"/>
              <a:ext cx="1505435" cy="1015754"/>
            </a:xfrm>
            <a:custGeom>
              <a:avLst/>
              <a:gdLst>
                <a:gd name="connsiteX0" fmla="*/ 812042 w 1535373"/>
                <a:gd name="connsiteY0" fmla="*/ 211541 h 921224"/>
                <a:gd name="connsiteX1" fmla="*/ 184245 w 1535373"/>
                <a:gd name="connsiteY1" fmla="*/ 0 h 921224"/>
                <a:gd name="connsiteX2" fmla="*/ 143301 w 1535373"/>
                <a:gd name="connsiteY2" fmla="*/ 293427 h 921224"/>
                <a:gd name="connsiteX3" fmla="*/ 0 w 1535373"/>
                <a:gd name="connsiteY3" fmla="*/ 477672 h 921224"/>
                <a:gd name="connsiteX4" fmla="*/ 600501 w 1535373"/>
                <a:gd name="connsiteY4" fmla="*/ 764275 h 921224"/>
                <a:gd name="connsiteX5" fmla="*/ 709684 w 1535373"/>
                <a:gd name="connsiteY5" fmla="*/ 655093 h 921224"/>
                <a:gd name="connsiteX6" fmla="*/ 887104 w 1535373"/>
                <a:gd name="connsiteY6" fmla="*/ 702860 h 921224"/>
                <a:gd name="connsiteX7" fmla="*/ 1201003 w 1535373"/>
                <a:gd name="connsiteY7" fmla="*/ 921224 h 921224"/>
                <a:gd name="connsiteX8" fmla="*/ 1535373 w 1535373"/>
                <a:gd name="connsiteY8" fmla="*/ 825690 h 921224"/>
                <a:gd name="connsiteX9" fmla="*/ 1201003 w 1535373"/>
                <a:gd name="connsiteY9" fmla="*/ 689212 h 921224"/>
                <a:gd name="connsiteX10" fmla="*/ 1262418 w 1535373"/>
                <a:gd name="connsiteY10" fmla="*/ 457200 h 921224"/>
                <a:gd name="connsiteX11" fmla="*/ 996287 w 1535373"/>
                <a:gd name="connsiteY11" fmla="*/ 348018 h 921224"/>
                <a:gd name="connsiteX12" fmla="*/ 921224 w 1535373"/>
                <a:gd name="connsiteY12" fmla="*/ 457200 h 921224"/>
                <a:gd name="connsiteX13" fmla="*/ 777922 w 1535373"/>
                <a:gd name="connsiteY13" fmla="*/ 395785 h 921224"/>
                <a:gd name="connsiteX14" fmla="*/ 812042 w 1535373"/>
                <a:gd name="connsiteY14" fmla="*/ 211541 h 921224"/>
                <a:gd name="connsiteX0" fmla="*/ 812042 w 1535373"/>
                <a:gd name="connsiteY0" fmla="*/ 191663 h 901346"/>
                <a:gd name="connsiteX1" fmla="*/ 208099 w 1535373"/>
                <a:gd name="connsiteY1" fmla="*/ 0 h 901346"/>
                <a:gd name="connsiteX2" fmla="*/ 143301 w 1535373"/>
                <a:gd name="connsiteY2" fmla="*/ 273549 h 901346"/>
                <a:gd name="connsiteX3" fmla="*/ 0 w 1535373"/>
                <a:gd name="connsiteY3" fmla="*/ 457794 h 901346"/>
                <a:gd name="connsiteX4" fmla="*/ 600501 w 1535373"/>
                <a:gd name="connsiteY4" fmla="*/ 744397 h 901346"/>
                <a:gd name="connsiteX5" fmla="*/ 709684 w 1535373"/>
                <a:gd name="connsiteY5" fmla="*/ 635215 h 901346"/>
                <a:gd name="connsiteX6" fmla="*/ 887104 w 1535373"/>
                <a:gd name="connsiteY6" fmla="*/ 682982 h 901346"/>
                <a:gd name="connsiteX7" fmla="*/ 1201003 w 1535373"/>
                <a:gd name="connsiteY7" fmla="*/ 901346 h 901346"/>
                <a:gd name="connsiteX8" fmla="*/ 1535373 w 1535373"/>
                <a:gd name="connsiteY8" fmla="*/ 805812 h 901346"/>
                <a:gd name="connsiteX9" fmla="*/ 1201003 w 1535373"/>
                <a:gd name="connsiteY9" fmla="*/ 669334 h 901346"/>
                <a:gd name="connsiteX10" fmla="*/ 1262418 w 1535373"/>
                <a:gd name="connsiteY10" fmla="*/ 437322 h 901346"/>
                <a:gd name="connsiteX11" fmla="*/ 996287 w 1535373"/>
                <a:gd name="connsiteY11" fmla="*/ 328140 h 901346"/>
                <a:gd name="connsiteX12" fmla="*/ 921224 w 1535373"/>
                <a:gd name="connsiteY12" fmla="*/ 437322 h 901346"/>
                <a:gd name="connsiteX13" fmla="*/ 777922 w 1535373"/>
                <a:gd name="connsiteY13" fmla="*/ 375907 h 901346"/>
                <a:gd name="connsiteX14" fmla="*/ 812042 w 1535373"/>
                <a:gd name="connsiteY14" fmla="*/ 191663 h 901346"/>
                <a:gd name="connsiteX0" fmla="*/ 812042 w 1535373"/>
                <a:gd name="connsiteY0" fmla="*/ 204349 h 914032"/>
                <a:gd name="connsiteX1" fmla="*/ 208099 w 1535373"/>
                <a:gd name="connsiteY1" fmla="*/ 12686 h 914032"/>
                <a:gd name="connsiteX2" fmla="*/ 143301 w 1535373"/>
                <a:gd name="connsiteY2" fmla="*/ 286235 h 914032"/>
                <a:gd name="connsiteX3" fmla="*/ 0 w 1535373"/>
                <a:gd name="connsiteY3" fmla="*/ 470480 h 914032"/>
                <a:gd name="connsiteX4" fmla="*/ 600501 w 1535373"/>
                <a:gd name="connsiteY4" fmla="*/ 757083 h 914032"/>
                <a:gd name="connsiteX5" fmla="*/ 709684 w 1535373"/>
                <a:gd name="connsiteY5" fmla="*/ 647901 h 914032"/>
                <a:gd name="connsiteX6" fmla="*/ 887104 w 1535373"/>
                <a:gd name="connsiteY6" fmla="*/ 695668 h 914032"/>
                <a:gd name="connsiteX7" fmla="*/ 1201003 w 1535373"/>
                <a:gd name="connsiteY7" fmla="*/ 914032 h 914032"/>
                <a:gd name="connsiteX8" fmla="*/ 1535373 w 1535373"/>
                <a:gd name="connsiteY8" fmla="*/ 818498 h 914032"/>
                <a:gd name="connsiteX9" fmla="*/ 1201003 w 1535373"/>
                <a:gd name="connsiteY9" fmla="*/ 682020 h 914032"/>
                <a:gd name="connsiteX10" fmla="*/ 1262418 w 1535373"/>
                <a:gd name="connsiteY10" fmla="*/ 450008 h 914032"/>
                <a:gd name="connsiteX11" fmla="*/ 996287 w 1535373"/>
                <a:gd name="connsiteY11" fmla="*/ 340826 h 914032"/>
                <a:gd name="connsiteX12" fmla="*/ 921224 w 1535373"/>
                <a:gd name="connsiteY12" fmla="*/ 450008 h 914032"/>
                <a:gd name="connsiteX13" fmla="*/ 777922 w 1535373"/>
                <a:gd name="connsiteY13" fmla="*/ 388593 h 914032"/>
                <a:gd name="connsiteX14" fmla="*/ 812042 w 1535373"/>
                <a:gd name="connsiteY14" fmla="*/ 204349 h 914032"/>
                <a:gd name="connsiteX0" fmla="*/ 812042 w 1535373"/>
                <a:gd name="connsiteY0" fmla="*/ 204349 h 914032"/>
                <a:gd name="connsiteX1" fmla="*/ 208099 w 1535373"/>
                <a:gd name="connsiteY1" fmla="*/ 12686 h 914032"/>
                <a:gd name="connsiteX2" fmla="*/ 143301 w 1535373"/>
                <a:gd name="connsiteY2" fmla="*/ 286235 h 914032"/>
                <a:gd name="connsiteX3" fmla="*/ 0 w 1535373"/>
                <a:gd name="connsiteY3" fmla="*/ 470480 h 914032"/>
                <a:gd name="connsiteX4" fmla="*/ 600501 w 1535373"/>
                <a:gd name="connsiteY4" fmla="*/ 757083 h 914032"/>
                <a:gd name="connsiteX5" fmla="*/ 709684 w 1535373"/>
                <a:gd name="connsiteY5" fmla="*/ 647901 h 914032"/>
                <a:gd name="connsiteX6" fmla="*/ 887104 w 1535373"/>
                <a:gd name="connsiteY6" fmla="*/ 695668 h 914032"/>
                <a:gd name="connsiteX7" fmla="*/ 1201003 w 1535373"/>
                <a:gd name="connsiteY7" fmla="*/ 914032 h 914032"/>
                <a:gd name="connsiteX8" fmla="*/ 1535373 w 1535373"/>
                <a:gd name="connsiteY8" fmla="*/ 818498 h 914032"/>
                <a:gd name="connsiteX9" fmla="*/ 1201003 w 1535373"/>
                <a:gd name="connsiteY9" fmla="*/ 682020 h 914032"/>
                <a:gd name="connsiteX10" fmla="*/ 1262418 w 1535373"/>
                <a:gd name="connsiteY10" fmla="*/ 450008 h 914032"/>
                <a:gd name="connsiteX11" fmla="*/ 996287 w 1535373"/>
                <a:gd name="connsiteY11" fmla="*/ 340826 h 914032"/>
                <a:gd name="connsiteX12" fmla="*/ 921224 w 1535373"/>
                <a:gd name="connsiteY12" fmla="*/ 450008 h 914032"/>
                <a:gd name="connsiteX13" fmla="*/ 777922 w 1535373"/>
                <a:gd name="connsiteY13" fmla="*/ 388593 h 914032"/>
                <a:gd name="connsiteX14" fmla="*/ 812042 w 1535373"/>
                <a:gd name="connsiteY14" fmla="*/ 204349 h 914032"/>
                <a:gd name="connsiteX0" fmla="*/ 812042 w 1535373"/>
                <a:gd name="connsiteY0" fmla="*/ 204349 h 914032"/>
                <a:gd name="connsiteX1" fmla="*/ 208099 w 1535373"/>
                <a:gd name="connsiteY1" fmla="*/ 12686 h 914032"/>
                <a:gd name="connsiteX2" fmla="*/ 159203 w 1535373"/>
                <a:gd name="connsiteY2" fmla="*/ 306113 h 914032"/>
                <a:gd name="connsiteX3" fmla="*/ 0 w 1535373"/>
                <a:gd name="connsiteY3" fmla="*/ 470480 h 914032"/>
                <a:gd name="connsiteX4" fmla="*/ 600501 w 1535373"/>
                <a:gd name="connsiteY4" fmla="*/ 757083 h 914032"/>
                <a:gd name="connsiteX5" fmla="*/ 709684 w 1535373"/>
                <a:gd name="connsiteY5" fmla="*/ 647901 h 914032"/>
                <a:gd name="connsiteX6" fmla="*/ 887104 w 1535373"/>
                <a:gd name="connsiteY6" fmla="*/ 695668 h 914032"/>
                <a:gd name="connsiteX7" fmla="*/ 1201003 w 1535373"/>
                <a:gd name="connsiteY7" fmla="*/ 914032 h 914032"/>
                <a:gd name="connsiteX8" fmla="*/ 1535373 w 1535373"/>
                <a:gd name="connsiteY8" fmla="*/ 818498 h 914032"/>
                <a:gd name="connsiteX9" fmla="*/ 1201003 w 1535373"/>
                <a:gd name="connsiteY9" fmla="*/ 682020 h 914032"/>
                <a:gd name="connsiteX10" fmla="*/ 1262418 w 1535373"/>
                <a:gd name="connsiteY10" fmla="*/ 450008 h 914032"/>
                <a:gd name="connsiteX11" fmla="*/ 996287 w 1535373"/>
                <a:gd name="connsiteY11" fmla="*/ 340826 h 914032"/>
                <a:gd name="connsiteX12" fmla="*/ 921224 w 1535373"/>
                <a:gd name="connsiteY12" fmla="*/ 450008 h 914032"/>
                <a:gd name="connsiteX13" fmla="*/ 777922 w 1535373"/>
                <a:gd name="connsiteY13" fmla="*/ 388593 h 914032"/>
                <a:gd name="connsiteX14" fmla="*/ 812042 w 1535373"/>
                <a:gd name="connsiteY14" fmla="*/ 204349 h 914032"/>
                <a:gd name="connsiteX0" fmla="*/ 788188 w 1511519"/>
                <a:gd name="connsiteY0" fmla="*/ 204349 h 914032"/>
                <a:gd name="connsiteX1" fmla="*/ 184245 w 1511519"/>
                <a:gd name="connsiteY1" fmla="*/ 12686 h 914032"/>
                <a:gd name="connsiteX2" fmla="*/ 135349 w 1511519"/>
                <a:gd name="connsiteY2" fmla="*/ 306113 h 914032"/>
                <a:gd name="connsiteX3" fmla="*/ 0 w 1511519"/>
                <a:gd name="connsiteY3" fmla="*/ 518188 h 914032"/>
                <a:gd name="connsiteX4" fmla="*/ 576647 w 1511519"/>
                <a:gd name="connsiteY4" fmla="*/ 757083 h 914032"/>
                <a:gd name="connsiteX5" fmla="*/ 685830 w 1511519"/>
                <a:gd name="connsiteY5" fmla="*/ 647901 h 914032"/>
                <a:gd name="connsiteX6" fmla="*/ 863250 w 1511519"/>
                <a:gd name="connsiteY6" fmla="*/ 695668 h 914032"/>
                <a:gd name="connsiteX7" fmla="*/ 1177149 w 1511519"/>
                <a:gd name="connsiteY7" fmla="*/ 914032 h 914032"/>
                <a:gd name="connsiteX8" fmla="*/ 1511519 w 1511519"/>
                <a:gd name="connsiteY8" fmla="*/ 818498 h 914032"/>
                <a:gd name="connsiteX9" fmla="*/ 1177149 w 1511519"/>
                <a:gd name="connsiteY9" fmla="*/ 682020 h 914032"/>
                <a:gd name="connsiteX10" fmla="*/ 1238564 w 1511519"/>
                <a:gd name="connsiteY10" fmla="*/ 450008 h 914032"/>
                <a:gd name="connsiteX11" fmla="*/ 972433 w 1511519"/>
                <a:gd name="connsiteY11" fmla="*/ 340826 h 914032"/>
                <a:gd name="connsiteX12" fmla="*/ 897370 w 1511519"/>
                <a:gd name="connsiteY12" fmla="*/ 450008 h 914032"/>
                <a:gd name="connsiteX13" fmla="*/ 754068 w 1511519"/>
                <a:gd name="connsiteY13" fmla="*/ 388593 h 914032"/>
                <a:gd name="connsiteX14" fmla="*/ 788188 w 1511519"/>
                <a:gd name="connsiteY14" fmla="*/ 204349 h 914032"/>
                <a:gd name="connsiteX0" fmla="*/ 802902 w 1526233"/>
                <a:gd name="connsiteY0" fmla="*/ 204349 h 914032"/>
                <a:gd name="connsiteX1" fmla="*/ 198959 w 1526233"/>
                <a:gd name="connsiteY1" fmla="*/ 12686 h 914032"/>
                <a:gd name="connsiteX2" fmla="*/ 150063 w 1526233"/>
                <a:gd name="connsiteY2" fmla="*/ 306113 h 914032"/>
                <a:gd name="connsiteX3" fmla="*/ 14714 w 1526233"/>
                <a:gd name="connsiteY3" fmla="*/ 518188 h 914032"/>
                <a:gd name="connsiteX4" fmla="*/ 591361 w 1526233"/>
                <a:gd name="connsiteY4" fmla="*/ 757083 h 914032"/>
                <a:gd name="connsiteX5" fmla="*/ 700544 w 1526233"/>
                <a:gd name="connsiteY5" fmla="*/ 647901 h 914032"/>
                <a:gd name="connsiteX6" fmla="*/ 877964 w 1526233"/>
                <a:gd name="connsiteY6" fmla="*/ 695668 h 914032"/>
                <a:gd name="connsiteX7" fmla="*/ 1191863 w 1526233"/>
                <a:gd name="connsiteY7" fmla="*/ 914032 h 914032"/>
                <a:gd name="connsiteX8" fmla="*/ 1526233 w 1526233"/>
                <a:gd name="connsiteY8" fmla="*/ 818498 h 914032"/>
                <a:gd name="connsiteX9" fmla="*/ 1191863 w 1526233"/>
                <a:gd name="connsiteY9" fmla="*/ 682020 h 914032"/>
                <a:gd name="connsiteX10" fmla="*/ 1253278 w 1526233"/>
                <a:gd name="connsiteY10" fmla="*/ 450008 h 914032"/>
                <a:gd name="connsiteX11" fmla="*/ 987147 w 1526233"/>
                <a:gd name="connsiteY11" fmla="*/ 340826 h 914032"/>
                <a:gd name="connsiteX12" fmla="*/ 912084 w 1526233"/>
                <a:gd name="connsiteY12" fmla="*/ 450008 h 914032"/>
                <a:gd name="connsiteX13" fmla="*/ 768782 w 1526233"/>
                <a:gd name="connsiteY13" fmla="*/ 388593 h 914032"/>
                <a:gd name="connsiteX14" fmla="*/ 802902 w 1526233"/>
                <a:gd name="connsiteY14" fmla="*/ 204349 h 914032"/>
                <a:gd name="connsiteX0" fmla="*/ 802902 w 1526233"/>
                <a:gd name="connsiteY0" fmla="*/ 204349 h 914032"/>
                <a:gd name="connsiteX1" fmla="*/ 198959 w 1526233"/>
                <a:gd name="connsiteY1" fmla="*/ 12686 h 914032"/>
                <a:gd name="connsiteX2" fmla="*/ 150063 w 1526233"/>
                <a:gd name="connsiteY2" fmla="*/ 306113 h 914032"/>
                <a:gd name="connsiteX3" fmla="*/ 14714 w 1526233"/>
                <a:gd name="connsiteY3" fmla="*/ 518188 h 914032"/>
                <a:gd name="connsiteX4" fmla="*/ 591361 w 1526233"/>
                <a:gd name="connsiteY4" fmla="*/ 757083 h 914032"/>
                <a:gd name="connsiteX5" fmla="*/ 700544 w 1526233"/>
                <a:gd name="connsiteY5" fmla="*/ 647901 h 914032"/>
                <a:gd name="connsiteX6" fmla="*/ 877964 w 1526233"/>
                <a:gd name="connsiteY6" fmla="*/ 695668 h 914032"/>
                <a:gd name="connsiteX7" fmla="*/ 1191863 w 1526233"/>
                <a:gd name="connsiteY7" fmla="*/ 914032 h 914032"/>
                <a:gd name="connsiteX8" fmla="*/ 1526233 w 1526233"/>
                <a:gd name="connsiteY8" fmla="*/ 818498 h 914032"/>
                <a:gd name="connsiteX9" fmla="*/ 1191863 w 1526233"/>
                <a:gd name="connsiteY9" fmla="*/ 682020 h 914032"/>
                <a:gd name="connsiteX10" fmla="*/ 1253278 w 1526233"/>
                <a:gd name="connsiteY10" fmla="*/ 450008 h 914032"/>
                <a:gd name="connsiteX11" fmla="*/ 987147 w 1526233"/>
                <a:gd name="connsiteY11" fmla="*/ 340826 h 914032"/>
                <a:gd name="connsiteX12" fmla="*/ 912084 w 1526233"/>
                <a:gd name="connsiteY12" fmla="*/ 450008 h 914032"/>
                <a:gd name="connsiteX13" fmla="*/ 768782 w 1526233"/>
                <a:gd name="connsiteY13" fmla="*/ 388593 h 914032"/>
                <a:gd name="connsiteX14" fmla="*/ 802902 w 1526233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588668 w 1523540"/>
                <a:gd name="connsiteY4" fmla="*/ 757083 h 914032"/>
                <a:gd name="connsiteX5" fmla="*/ 697851 w 1523540"/>
                <a:gd name="connsiteY5" fmla="*/ 647901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52279 w 1523540"/>
                <a:gd name="connsiteY4" fmla="*/ 757083 h 914032"/>
                <a:gd name="connsiteX5" fmla="*/ 697851 w 1523540"/>
                <a:gd name="connsiteY5" fmla="*/ 647901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52279 w 1523540"/>
                <a:gd name="connsiteY4" fmla="*/ 757083 h 914032"/>
                <a:gd name="connsiteX5" fmla="*/ 697851 w 1523540"/>
                <a:gd name="connsiteY5" fmla="*/ 647901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52279 w 1523540"/>
                <a:gd name="connsiteY4" fmla="*/ 757083 h 914032"/>
                <a:gd name="connsiteX5" fmla="*/ 697851 w 1523540"/>
                <a:gd name="connsiteY5" fmla="*/ 647901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36377 w 1523540"/>
                <a:gd name="connsiteY4" fmla="*/ 741181 h 914032"/>
                <a:gd name="connsiteX5" fmla="*/ 697851 w 1523540"/>
                <a:gd name="connsiteY5" fmla="*/ 647901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36377 w 1523540"/>
                <a:gd name="connsiteY4" fmla="*/ 741181 h 914032"/>
                <a:gd name="connsiteX5" fmla="*/ 697851 w 1523540"/>
                <a:gd name="connsiteY5" fmla="*/ 647901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36377 w 1523540"/>
                <a:gd name="connsiteY4" fmla="*/ 741181 h 914032"/>
                <a:gd name="connsiteX5" fmla="*/ 697851 w 1523540"/>
                <a:gd name="connsiteY5" fmla="*/ 647901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36377 w 1523540"/>
                <a:gd name="connsiteY4" fmla="*/ 741181 h 914032"/>
                <a:gd name="connsiteX5" fmla="*/ 697851 w 1523540"/>
                <a:gd name="connsiteY5" fmla="*/ 647901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36377 w 1523540"/>
                <a:gd name="connsiteY4" fmla="*/ 741181 h 914032"/>
                <a:gd name="connsiteX5" fmla="*/ 697851 w 1523540"/>
                <a:gd name="connsiteY5" fmla="*/ 647901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36377 w 1523540"/>
                <a:gd name="connsiteY4" fmla="*/ 741181 h 914032"/>
                <a:gd name="connsiteX5" fmla="*/ 697851 w 1523540"/>
                <a:gd name="connsiteY5" fmla="*/ 647901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36377 w 1523540"/>
                <a:gd name="connsiteY4" fmla="*/ 741181 h 914032"/>
                <a:gd name="connsiteX5" fmla="*/ 705803 w 1523540"/>
                <a:gd name="connsiteY5" fmla="*/ 624047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36377 w 1523540"/>
                <a:gd name="connsiteY4" fmla="*/ 741181 h 914032"/>
                <a:gd name="connsiteX5" fmla="*/ 705803 w 1523540"/>
                <a:gd name="connsiteY5" fmla="*/ 624047 h 914032"/>
                <a:gd name="connsiteX6" fmla="*/ 875271 w 1523540"/>
                <a:gd name="connsiteY6" fmla="*/ 695668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36377 w 1523540"/>
                <a:gd name="connsiteY4" fmla="*/ 741181 h 914032"/>
                <a:gd name="connsiteX5" fmla="*/ 705803 w 1523540"/>
                <a:gd name="connsiteY5" fmla="*/ 624047 h 914032"/>
                <a:gd name="connsiteX6" fmla="*/ 859369 w 1523540"/>
                <a:gd name="connsiteY6" fmla="*/ 679765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36377 w 1523540"/>
                <a:gd name="connsiteY4" fmla="*/ 741181 h 914032"/>
                <a:gd name="connsiteX5" fmla="*/ 705803 w 1523540"/>
                <a:gd name="connsiteY5" fmla="*/ 624047 h 914032"/>
                <a:gd name="connsiteX6" fmla="*/ 859369 w 1523540"/>
                <a:gd name="connsiteY6" fmla="*/ 679765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14032"/>
                <a:gd name="connsiteX1" fmla="*/ 196266 w 1523540"/>
                <a:gd name="connsiteY1" fmla="*/ 12686 h 914032"/>
                <a:gd name="connsiteX2" fmla="*/ 147370 w 1523540"/>
                <a:gd name="connsiteY2" fmla="*/ 306113 h 914032"/>
                <a:gd name="connsiteX3" fmla="*/ 12021 w 1523540"/>
                <a:gd name="connsiteY3" fmla="*/ 518188 h 914032"/>
                <a:gd name="connsiteX4" fmla="*/ 636377 w 1523540"/>
                <a:gd name="connsiteY4" fmla="*/ 741181 h 914032"/>
                <a:gd name="connsiteX5" fmla="*/ 705803 w 1523540"/>
                <a:gd name="connsiteY5" fmla="*/ 624047 h 914032"/>
                <a:gd name="connsiteX6" fmla="*/ 859369 w 1523540"/>
                <a:gd name="connsiteY6" fmla="*/ 679765 h 914032"/>
                <a:gd name="connsiteX7" fmla="*/ 1189170 w 1523540"/>
                <a:gd name="connsiteY7" fmla="*/ 914032 h 914032"/>
                <a:gd name="connsiteX8" fmla="*/ 1523540 w 1523540"/>
                <a:gd name="connsiteY8" fmla="*/ 818498 h 914032"/>
                <a:gd name="connsiteX9" fmla="*/ 1189170 w 1523540"/>
                <a:gd name="connsiteY9" fmla="*/ 682020 h 914032"/>
                <a:gd name="connsiteX10" fmla="*/ 1250585 w 1523540"/>
                <a:gd name="connsiteY10" fmla="*/ 450008 h 914032"/>
                <a:gd name="connsiteX11" fmla="*/ 984454 w 1523540"/>
                <a:gd name="connsiteY11" fmla="*/ 340826 h 914032"/>
                <a:gd name="connsiteX12" fmla="*/ 909391 w 1523540"/>
                <a:gd name="connsiteY12" fmla="*/ 450008 h 914032"/>
                <a:gd name="connsiteX13" fmla="*/ 766089 w 1523540"/>
                <a:gd name="connsiteY13" fmla="*/ 388593 h 914032"/>
                <a:gd name="connsiteX14" fmla="*/ 800209 w 1523540"/>
                <a:gd name="connsiteY14" fmla="*/ 204349 h 914032"/>
                <a:gd name="connsiteX0" fmla="*/ 800209 w 1523540"/>
                <a:gd name="connsiteY0" fmla="*/ 204349 h 982628"/>
                <a:gd name="connsiteX1" fmla="*/ 196266 w 1523540"/>
                <a:gd name="connsiteY1" fmla="*/ 12686 h 982628"/>
                <a:gd name="connsiteX2" fmla="*/ 147370 w 1523540"/>
                <a:gd name="connsiteY2" fmla="*/ 306113 h 982628"/>
                <a:gd name="connsiteX3" fmla="*/ 12021 w 1523540"/>
                <a:gd name="connsiteY3" fmla="*/ 518188 h 982628"/>
                <a:gd name="connsiteX4" fmla="*/ 636377 w 1523540"/>
                <a:gd name="connsiteY4" fmla="*/ 741181 h 982628"/>
                <a:gd name="connsiteX5" fmla="*/ 705803 w 1523540"/>
                <a:gd name="connsiteY5" fmla="*/ 624047 h 982628"/>
                <a:gd name="connsiteX6" fmla="*/ 859369 w 1523540"/>
                <a:gd name="connsiteY6" fmla="*/ 679765 h 982628"/>
                <a:gd name="connsiteX7" fmla="*/ 1189170 w 1523540"/>
                <a:gd name="connsiteY7" fmla="*/ 914032 h 982628"/>
                <a:gd name="connsiteX8" fmla="*/ 1523540 w 1523540"/>
                <a:gd name="connsiteY8" fmla="*/ 818498 h 982628"/>
                <a:gd name="connsiteX9" fmla="*/ 1189170 w 1523540"/>
                <a:gd name="connsiteY9" fmla="*/ 682020 h 982628"/>
                <a:gd name="connsiteX10" fmla="*/ 1250585 w 1523540"/>
                <a:gd name="connsiteY10" fmla="*/ 450008 h 982628"/>
                <a:gd name="connsiteX11" fmla="*/ 984454 w 1523540"/>
                <a:gd name="connsiteY11" fmla="*/ 340826 h 982628"/>
                <a:gd name="connsiteX12" fmla="*/ 909391 w 1523540"/>
                <a:gd name="connsiteY12" fmla="*/ 450008 h 982628"/>
                <a:gd name="connsiteX13" fmla="*/ 766089 w 1523540"/>
                <a:gd name="connsiteY13" fmla="*/ 388593 h 982628"/>
                <a:gd name="connsiteX14" fmla="*/ 800209 w 1523540"/>
                <a:gd name="connsiteY14" fmla="*/ 204349 h 982628"/>
                <a:gd name="connsiteX0" fmla="*/ 800209 w 1554538"/>
                <a:gd name="connsiteY0" fmla="*/ 204349 h 982009"/>
                <a:gd name="connsiteX1" fmla="*/ 196266 w 1554538"/>
                <a:gd name="connsiteY1" fmla="*/ 12686 h 982009"/>
                <a:gd name="connsiteX2" fmla="*/ 147370 w 1554538"/>
                <a:gd name="connsiteY2" fmla="*/ 306113 h 982009"/>
                <a:gd name="connsiteX3" fmla="*/ 12021 w 1554538"/>
                <a:gd name="connsiteY3" fmla="*/ 518188 h 982009"/>
                <a:gd name="connsiteX4" fmla="*/ 636377 w 1554538"/>
                <a:gd name="connsiteY4" fmla="*/ 741181 h 982009"/>
                <a:gd name="connsiteX5" fmla="*/ 705803 w 1554538"/>
                <a:gd name="connsiteY5" fmla="*/ 624047 h 982009"/>
                <a:gd name="connsiteX6" fmla="*/ 859369 w 1554538"/>
                <a:gd name="connsiteY6" fmla="*/ 679765 h 982009"/>
                <a:gd name="connsiteX7" fmla="*/ 1189170 w 1554538"/>
                <a:gd name="connsiteY7" fmla="*/ 914032 h 982009"/>
                <a:gd name="connsiteX8" fmla="*/ 1523540 w 1554538"/>
                <a:gd name="connsiteY8" fmla="*/ 818498 h 982009"/>
                <a:gd name="connsiteX9" fmla="*/ 1189170 w 1554538"/>
                <a:gd name="connsiteY9" fmla="*/ 682020 h 982009"/>
                <a:gd name="connsiteX10" fmla="*/ 1250585 w 1554538"/>
                <a:gd name="connsiteY10" fmla="*/ 450008 h 982009"/>
                <a:gd name="connsiteX11" fmla="*/ 984454 w 1554538"/>
                <a:gd name="connsiteY11" fmla="*/ 340826 h 982009"/>
                <a:gd name="connsiteX12" fmla="*/ 909391 w 1554538"/>
                <a:gd name="connsiteY12" fmla="*/ 450008 h 982009"/>
                <a:gd name="connsiteX13" fmla="*/ 766089 w 1554538"/>
                <a:gd name="connsiteY13" fmla="*/ 388593 h 982009"/>
                <a:gd name="connsiteX14" fmla="*/ 800209 w 1554538"/>
                <a:gd name="connsiteY14" fmla="*/ 204349 h 982009"/>
                <a:gd name="connsiteX0" fmla="*/ 800209 w 1554538"/>
                <a:gd name="connsiteY0" fmla="*/ 204349 h 982009"/>
                <a:gd name="connsiteX1" fmla="*/ 196266 w 1554538"/>
                <a:gd name="connsiteY1" fmla="*/ 12686 h 982009"/>
                <a:gd name="connsiteX2" fmla="*/ 147370 w 1554538"/>
                <a:gd name="connsiteY2" fmla="*/ 306113 h 982009"/>
                <a:gd name="connsiteX3" fmla="*/ 12021 w 1554538"/>
                <a:gd name="connsiteY3" fmla="*/ 518188 h 982009"/>
                <a:gd name="connsiteX4" fmla="*/ 636377 w 1554538"/>
                <a:gd name="connsiteY4" fmla="*/ 741181 h 982009"/>
                <a:gd name="connsiteX5" fmla="*/ 705803 w 1554538"/>
                <a:gd name="connsiteY5" fmla="*/ 624047 h 982009"/>
                <a:gd name="connsiteX6" fmla="*/ 859369 w 1554538"/>
                <a:gd name="connsiteY6" fmla="*/ 679765 h 982009"/>
                <a:gd name="connsiteX7" fmla="*/ 1189170 w 1554538"/>
                <a:gd name="connsiteY7" fmla="*/ 914032 h 982009"/>
                <a:gd name="connsiteX8" fmla="*/ 1523540 w 1554538"/>
                <a:gd name="connsiteY8" fmla="*/ 818498 h 982009"/>
                <a:gd name="connsiteX9" fmla="*/ 1189170 w 1554538"/>
                <a:gd name="connsiteY9" fmla="*/ 682020 h 982009"/>
                <a:gd name="connsiteX10" fmla="*/ 1250585 w 1554538"/>
                <a:gd name="connsiteY10" fmla="*/ 450008 h 982009"/>
                <a:gd name="connsiteX11" fmla="*/ 984454 w 1554538"/>
                <a:gd name="connsiteY11" fmla="*/ 340826 h 982009"/>
                <a:gd name="connsiteX12" fmla="*/ 909391 w 1554538"/>
                <a:gd name="connsiteY12" fmla="*/ 450008 h 982009"/>
                <a:gd name="connsiteX13" fmla="*/ 766089 w 1554538"/>
                <a:gd name="connsiteY13" fmla="*/ 388593 h 982009"/>
                <a:gd name="connsiteX14" fmla="*/ 800209 w 1554538"/>
                <a:gd name="connsiteY14" fmla="*/ 204349 h 982009"/>
                <a:gd name="connsiteX0" fmla="*/ 800209 w 1554538"/>
                <a:gd name="connsiteY0" fmla="*/ 204349 h 982009"/>
                <a:gd name="connsiteX1" fmla="*/ 196266 w 1554538"/>
                <a:gd name="connsiteY1" fmla="*/ 12686 h 982009"/>
                <a:gd name="connsiteX2" fmla="*/ 147370 w 1554538"/>
                <a:gd name="connsiteY2" fmla="*/ 306113 h 982009"/>
                <a:gd name="connsiteX3" fmla="*/ 12021 w 1554538"/>
                <a:gd name="connsiteY3" fmla="*/ 518188 h 982009"/>
                <a:gd name="connsiteX4" fmla="*/ 636377 w 1554538"/>
                <a:gd name="connsiteY4" fmla="*/ 741181 h 982009"/>
                <a:gd name="connsiteX5" fmla="*/ 705803 w 1554538"/>
                <a:gd name="connsiteY5" fmla="*/ 624047 h 982009"/>
                <a:gd name="connsiteX6" fmla="*/ 859369 w 1554538"/>
                <a:gd name="connsiteY6" fmla="*/ 679765 h 982009"/>
                <a:gd name="connsiteX7" fmla="*/ 1189170 w 1554538"/>
                <a:gd name="connsiteY7" fmla="*/ 914032 h 982009"/>
                <a:gd name="connsiteX8" fmla="*/ 1523540 w 1554538"/>
                <a:gd name="connsiteY8" fmla="*/ 818498 h 982009"/>
                <a:gd name="connsiteX9" fmla="*/ 1173267 w 1554538"/>
                <a:gd name="connsiteY9" fmla="*/ 634312 h 982009"/>
                <a:gd name="connsiteX10" fmla="*/ 1250585 w 1554538"/>
                <a:gd name="connsiteY10" fmla="*/ 450008 h 982009"/>
                <a:gd name="connsiteX11" fmla="*/ 984454 w 1554538"/>
                <a:gd name="connsiteY11" fmla="*/ 340826 h 982009"/>
                <a:gd name="connsiteX12" fmla="*/ 909391 w 1554538"/>
                <a:gd name="connsiteY12" fmla="*/ 450008 h 982009"/>
                <a:gd name="connsiteX13" fmla="*/ 766089 w 1554538"/>
                <a:gd name="connsiteY13" fmla="*/ 388593 h 982009"/>
                <a:gd name="connsiteX14" fmla="*/ 800209 w 1554538"/>
                <a:gd name="connsiteY14" fmla="*/ 204349 h 982009"/>
                <a:gd name="connsiteX0" fmla="*/ 800209 w 1554538"/>
                <a:gd name="connsiteY0" fmla="*/ 204349 h 982009"/>
                <a:gd name="connsiteX1" fmla="*/ 196266 w 1554538"/>
                <a:gd name="connsiteY1" fmla="*/ 12686 h 982009"/>
                <a:gd name="connsiteX2" fmla="*/ 147370 w 1554538"/>
                <a:gd name="connsiteY2" fmla="*/ 306113 h 982009"/>
                <a:gd name="connsiteX3" fmla="*/ 12021 w 1554538"/>
                <a:gd name="connsiteY3" fmla="*/ 518188 h 982009"/>
                <a:gd name="connsiteX4" fmla="*/ 636377 w 1554538"/>
                <a:gd name="connsiteY4" fmla="*/ 741181 h 982009"/>
                <a:gd name="connsiteX5" fmla="*/ 705803 w 1554538"/>
                <a:gd name="connsiteY5" fmla="*/ 624047 h 982009"/>
                <a:gd name="connsiteX6" fmla="*/ 859369 w 1554538"/>
                <a:gd name="connsiteY6" fmla="*/ 679765 h 982009"/>
                <a:gd name="connsiteX7" fmla="*/ 1189170 w 1554538"/>
                <a:gd name="connsiteY7" fmla="*/ 914032 h 982009"/>
                <a:gd name="connsiteX8" fmla="*/ 1523540 w 1554538"/>
                <a:gd name="connsiteY8" fmla="*/ 818498 h 982009"/>
                <a:gd name="connsiteX9" fmla="*/ 1173267 w 1554538"/>
                <a:gd name="connsiteY9" fmla="*/ 634312 h 982009"/>
                <a:gd name="connsiteX10" fmla="*/ 1250585 w 1554538"/>
                <a:gd name="connsiteY10" fmla="*/ 450008 h 982009"/>
                <a:gd name="connsiteX11" fmla="*/ 984454 w 1554538"/>
                <a:gd name="connsiteY11" fmla="*/ 340826 h 982009"/>
                <a:gd name="connsiteX12" fmla="*/ 909391 w 1554538"/>
                <a:gd name="connsiteY12" fmla="*/ 450008 h 982009"/>
                <a:gd name="connsiteX13" fmla="*/ 766089 w 1554538"/>
                <a:gd name="connsiteY13" fmla="*/ 388593 h 982009"/>
                <a:gd name="connsiteX14" fmla="*/ 800209 w 1554538"/>
                <a:gd name="connsiteY14" fmla="*/ 204349 h 982009"/>
                <a:gd name="connsiteX0" fmla="*/ 800209 w 1542543"/>
                <a:gd name="connsiteY0" fmla="*/ 204349 h 976908"/>
                <a:gd name="connsiteX1" fmla="*/ 196266 w 1542543"/>
                <a:gd name="connsiteY1" fmla="*/ 12686 h 976908"/>
                <a:gd name="connsiteX2" fmla="*/ 147370 w 1542543"/>
                <a:gd name="connsiteY2" fmla="*/ 306113 h 976908"/>
                <a:gd name="connsiteX3" fmla="*/ 12021 w 1542543"/>
                <a:gd name="connsiteY3" fmla="*/ 518188 h 976908"/>
                <a:gd name="connsiteX4" fmla="*/ 636377 w 1542543"/>
                <a:gd name="connsiteY4" fmla="*/ 741181 h 976908"/>
                <a:gd name="connsiteX5" fmla="*/ 705803 w 1542543"/>
                <a:gd name="connsiteY5" fmla="*/ 624047 h 976908"/>
                <a:gd name="connsiteX6" fmla="*/ 859369 w 1542543"/>
                <a:gd name="connsiteY6" fmla="*/ 679765 h 976908"/>
                <a:gd name="connsiteX7" fmla="*/ 1189170 w 1542543"/>
                <a:gd name="connsiteY7" fmla="*/ 914032 h 976908"/>
                <a:gd name="connsiteX8" fmla="*/ 1507637 w 1542543"/>
                <a:gd name="connsiteY8" fmla="*/ 786693 h 976908"/>
                <a:gd name="connsiteX9" fmla="*/ 1173267 w 1542543"/>
                <a:gd name="connsiteY9" fmla="*/ 634312 h 976908"/>
                <a:gd name="connsiteX10" fmla="*/ 1250585 w 1542543"/>
                <a:gd name="connsiteY10" fmla="*/ 450008 h 976908"/>
                <a:gd name="connsiteX11" fmla="*/ 984454 w 1542543"/>
                <a:gd name="connsiteY11" fmla="*/ 340826 h 976908"/>
                <a:gd name="connsiteX12" fmla="*/ 909391 w 1542543"/>
                <a:gd name="connsiteY12" fmla="*/ 450008 h 976908"/>
                <a:gd name="connsiteX13" fmla="*/ 766089 w 1542543"/>
                <a:gd name="connsiteY13" fmla="*/ 388593 h 976908"/>
                <a:gd name="connsiteX14" fmla="*/ 800209 w 1542543"/>
                <a:gd name="connsiteY14" fmla="*/ 204349 h 976908"/>
                <a:gd name="connsiteX0" fmla="*/ 800209 w 1542543"/>
                <a:gd name="connsiteY0" fmla="*/ 204349 h 976908"/>
                <a:gd name="connsiteX1" fmla="*/ 196266 w 1542543"/>
                <a:gd name="connsiteY1" fmla="*/ 12686 h 976908"/>
                <a:gd name="connsiteX2" fmla="*/ 147370 w 1542543"/>
                <a:gd name="connsiteY2" fmla="*/ 306113 h 976908"/>
                <a:gd name="connsiteX3" fmla="*/ 12021 w 1542543"/>
                <a:gd name="connsiteY3" fmla="*/ 518188 h 976908"/>
                <a:gd name="connsiteX4" fmla="*/ 636377 w 1542543"/>
                <a:gd name="connsiteY4" fmla="*/ 741181 h 976908"/>
                <a:gd name="connsiteX5" fmla="*/ 705803 w 1542543"/>
                <a:gd name="connsiteY5" fmla="*/ 624047 h 976908"/>
                <a:gd name="connsiteX6" fmla="*/ 859369 w 1542543"/>
                <a:gd name="connsiteY6" fmla="*/ 679765 h 976908"/>
                <a:gd name="connsiteX7" fmla="*/ 1189170 w 1542543"/>
                <a:gd name="connsiteY7" fmla="*/ 914032 h 976908"/>
                <a:gd name="connsiteX8" fmla="*/ 1507637 w 1542543"/>
                <a:gd name="connsiteY8" fmla="*/ 786693 h 976908"/>
                <a:gd name="connsiteX9" fmla="*/ 1173267 w 1542543"/>
                <a:gd name="connsiteY9" fmla="*/ 634312 h 976908"/>
                <a:gd name="connsiteX10" fmla="*/ 1250585 w 1542543"/>
                <a:gd name="connsiteY10" fmla="*/ 450008 h 976908"/>
                <a:gd name="connsiteX11" fmla="*/ 984454 w 1542543"/>
                <a:gd name="connsiteY11" fmla="*/ 340826 h 976908"/>
                <a:gd name="connsiteX12" fmla="*/ 909391 w 1542543"/>
                <a:gd name="connsiteY12" fmla="*/ 450008 h 976908"/>
                <a:gd name="connsiteX13" fmla="*/ 766089 w 1542543"/>
                <a:gd name="connsiteY13" fmla="*/ 388593 h 976908"/>
                <a:gd name="connsiteX14" fmla="*/ 800209 w 1542543"/>
                <a:gd name="connsiteY14" fmla="*/ 204349 h 976908"/>
                <a:gd name="connsiteX0" fmla="*/ 800209 w 1522966"/>
                <a:gd name="connsiteY0" fmla="*/ 204349 h 975249"/>
                <a:gd name="connsiteX1" fmla="*/ 196266 w 1522966"/>
                <a:gd name="connsiteY1" fmla="*/ 12686 h 975249"/>
                <a:gd name="connsiteX2" fmla="*/ 147370 w 1522966"/>
                <a:gd name="connsiteY2" fmla="*/ 306113 h 975249"/>
                <a:gd name="connsiteX3" fmla="*/ 12021 w 1522966"/>
                <a:gd name="connsiteY3" fmla="*/ 518188 h 975249"/>
                <a:gd name="connsiteX4" fmla="*/ 636377 w 1522966"/>
                <a:gd name="connsiteY4" fmla="*/ 741181 h 975249"/>
                <a:gd name="connsiteX5" fmla="*/ 705803 w 1522966"/>
                <a:gd name="connsiteY5" fmla="*/ 624047 h 975249"/>
                <a:gd name="connsiteX6" fmla="*/ 859369 w 1522966"/>
                <a:gd name="connsiteY6" fmla="*/ 679765 h 975249"/>
                <a:gd name="connsiteX7" fmla="*/ 1189170 w 1522966"/>
                <a:gd name="connsiteY7" fmla="*/ 914032 h 975249"/>
                <a:gd name="connsiteX8" fmla="*/ 1507637 w 1522966"/>
                <a:gd name="connsiteY8" fmla="*/ 786693 h 975249"/>
                <a:gd name="connsiteX9" fmla="*/ 1173267 w 1522966"/>
                <a:gd name="connsiteY9" fmla="*/ 634312 h 975249"/>
                <a:gd name="connsiteX10" fmla="*/ 1250585 w 1522966"/>
                <a:gd name="connsiteY10" fmla="*/ 450008 h 975249"/>
                <a:gd name="connsiteX11" fmla="*/ 984454 w 1522966"/>
                <a:gd name="connsiteY11" fmla="*/ 340826 h 975249"/>
                <a:gd name="connsiteX12" fmla="*/ 909391 w 1522966"/>
                <a:gd name="connsiteY12" fmla="*/ 450008 h 975249"/>
                <a:gd name="connsiteX13" fmla="*/ 766089 w 1522966"/>
                <a:gd name="connsiteY13" fmla="*/ 388593 h 975249"/>
                <a:gd name="connsiteX14" fmla="*/ 800209 w 1522966"/>
                <a:gd name="connsiteY14" fmla="*/ 204349 h 975249"/>
                <a:gd name="connsiteX0" fmla="*/ 800209 w 1538655"/>
                <a:gd name="connsiteY0" fmla="*/ 204349 h 976321"/>
                <a:gd name="connsiteX1" fmla="*/ 196266 w 1538655"/>
                <a:gd name="connsiteY1" fmla="*/ 12686 h 976321"/>
                <a:gd name="connsiteX2" fmla="*/ 147370 w 1538655"/>
                <a:gd name="connsiteY2" fmla="*/ 306113 h 976321"/>
                <a:gd name="connsiteX3" fmla="*/ 12021 w 1538655"/>
                <a:gd name="connsiteY3" fmla="*/ 518188 h 976321"/>
                <a:gd name="connsiteX4" fmla="*/ 636377 w 1538655"/>
                <a:gd name="connsiteY4" fmla="*/ 741181 h 976321"/>
                <a:gd name="connsiteX5" fmla="*/ 705803 w 1538655"/>
                <a:gd name="connsiteY5" fmla="*/ 624047 h 976321"/>
                <a:gd name="connsiteX6" fmla="*/ 859369 w 1538655"/>
                <a:gd name="connsiteY6" fmla="*/ 679765 h 976321"/>
                <a:gd name="connsiteX7" fmla="*/ 1189170 w 1538655"/>
                <a:gd name="connsiteY7" fmla="*/ 914032 h 976321"/>
                <a:gd name="connsiteX8" fmla="*/ 1507637 w 1538655"/>
                <a:gd name="connsiteY8" fmla="*/ 786693 h 976321"/>
                <a:gd name="connsiteX9" fmla="*/ 1173267 w 1538655"/>
                <a:gd name="connsiteY9" fmla="*/ 634312 h 976321"/>
                <a:gd name="connsiteX10" fmla="*/ 1250585 w 1538655"/>
                <a:gd name="connsiteY10" fmla="*/ 450008 h 976321"/>
                <a:gd name="connsiteX11" fmla="*/ 984454 w 1538655"/>
                <a:gd name="connsiteY11" fmla="*/ 340826 h 976321"/>
                <a:gd name="connsiteX12" fmla="*/ 909391 w 1538655"/>
                <a:gd name="connsiteY12" fmla="*/ 450008 h 976321"/>
                <a:gd name="connsiteX13" fmla="*/ 766089 w 1538655"/>
                <a:gd name="connsiteY13" fmla="*/ 388593 h 976321"/>
                <a:gd name="connsiteX14" fmla="*/ 800209 w 1538655"/>
                <a:gd name="connsiteY14" fmla="*/ 204349 h 976321"/>
                <a:gd name="connsiteX0" fmla="*/ 800209 w 1556774"/>
                <a:gd name="connsiteY0" fmla="*/ 204349 h 981339"/>
                <a:gd name="connsiteX1" fmla="*/ 196266 w 1556774"/>
                <a:gd name="connsiteY1" fmla="*/ 12686 h 981339"/>
                <a:gd name="connsiteX2" fmla="*/ 147370 w 1556774"/>
                <a:gd name="connsiteY2" fmla="*/ 306113 h 981339"/>
                <a:gd name="connsiteX3" fmla="*/ 12021 w 1556774"/>
                <a:gd name="connsiteY3" fmla="*/ 518188 h 981339"/>
                <a:gd name="connsiteX4" fmla="*/ 636377 w 1556774"/>
                <a:gd name="connsiteY4" fmla="*/ 741181 h 981339"/>
                <a:gd name="connsiteX5" fmla="*/ 705803 w 1556774"/>
                <a:gd name="connsiteY5" fmla="*/ 624047 h 981339"/>
                <a:gd name="connsiteX6" fmla="*/ 859369 w 1556774"/>
                <a:gd name="connsiteY6" fmla="*/ 679765 h 981339"/>
                <a:gd name="connsiteX7" fmla="*/ 1189170 w 1556774"/>
                <a:gd name="connsiteY7" fmla="*/ 914032 h 981339"/>
                <a:gd name="connsiteX8" fmla="*/ 1507637 w 1556774"/>
                <a:gd name="connsiteY8" fmla="*/ 786693 h 981339"/>
                <a:gd name="connsiteX9" fmla="*/ 1173267 w 1556774"/>
                <a:gd name="connsiteY9" fmla="*/ 634312 h 981339"/>
                <a:gd name="connsiteX10" fmla="*/ 1250585 w 1556774"/>
                <a:gd name="connsiteY10" fmla="*/ 450008 h 981339"/>
                <a:gd name="connsiteX11" fmla="*/ 984454 w 1556774"/>
                <a:gd name="connsiteY11" fmla="*/ 340826 h 981339"/>
                <a:gd name="connsiteX12" fmla="*/ 909391 w 1556774"/>
                <a:gd name="connsiteY12" fmla="*/ 450008 h 981339"/>
                <a:gd name="connsiteX13" fmla="*/ 766089 w 1556774"/>
                <a:gd name="connsiteY13" fmla="*/ 388593 h 981339"/>
                <a:gd name="connsiteX14" fmla="*/ 800209 w 1556774"/>
                <a:gd name="connsiteY14" fmla="*/ 204349 h 981339"/>
                <a:gd name="connsiteX0" fmla="*/ 800209 w 1556774"/>
                <a:gd name="connsiteY0" fmla="*/ 204349 h 981339"/>
                <a:gd name="connsiteX1" fmla="*/ 196266 w 1556774"/>
                <a:gd name="connsiteY1" fmla="*/ 12686 h 981339"/>
                <a:gd name="connsiteX2" fmla="*/ 147370 w 1556774"/>
                <a:gd name="connsiteY2" fmla="*/ 306113 h 981339"/>
                <a:gd name="connsiteX3" fmla="*/ 12021 w 1556774"/>
                <a:gd name="connsiteY3" fmla="*/ 518188 h 981339"/>
                <a:gd name="connsiteX4" fmla="*/ 636377 w 1556774"/>
                <a:gd name="connsiteY4" fmla="*/ 741181 h 981339"/>
                <a:gd name="connsiteX5" fmla="*/ 705803 w 1556774"/>
                <a:gd name="connsiteY5" fmla="*/ 624047 h 981339"/>
                <a:gd name="connsiteX6" fmla="*/ 859369 w 1556774"/>
                <a:gd name="connsiteY6" fmla="*/ 679765 h 981339"/>
                <a:gd name="connsiteX7" fmla="*/ 1189170 w 1556774"/>
                <a:gd name="connsiteY7" fmla="*/ 914032 h 981339"/>
                <a:gd name="connsiteX8" fmla="*/ 1507637 w 1556774"/>
                <a:gd name="connsiteY8" fmla="*/ 786693 h 981339"/>
                <a:gd name="connsiteX9" fmla="*/ 1173267 w 1556774"/>
                <a:gd name="connsiteY9" fmla="*/ 634312 h 981339"/>
                <a:gd name="connsiteX10" fmla="*/ 1250585 w 1556774"/>
                <a:gd name="connsiteY10" fmla="*/ 450008 h 981339"/>
                <a:gd name="connsiteX11" fmla="*/ 984454 w 1556774"/>
                <a:gd name="connsiteY11" fmla="*/ 340826 h 981339"/>
                <a:gd name="connsiteX12" fmla="*/ 909391 w 1556774"/>
                <a:gd name="connsiteY12" fmla="*/ 450008 h 981339"/>
                <a:gd name="connsiteX13" fmla="*/ 766089 w 1556774"/>
                <a:gd name="connsiteY13" fmla="*/ 388593 h 981339"/>
                <a:gd name="connsiteX14" fmla="*/ 800209 w 1556774"/>
                <a:gd name="connsiteY14" fmla="*/ 204349 h 981339"/>
                <a:gd name="connsiteX0" fmla="*/ 800209 w 1556774"/>
                <a:gd name="connsiteY0" fmla="*/ 204349 h 981339"/>
                <a:gd name="connsiteX1" fmla="*/ 196266 w 1556774"/>
                <a:gd name="connsiteY1" fmla="*/ 12686 h 981339"/>
                <a:gd name="connsiteX2" fmla="*/ 147370 w 1556774"/>
                <a:gd name="connsiteY2" fmla="*/ 306113 h 981339"/>
                <a:gd name="connsiteX3" fmla="*/ 12021 w 1556774"/>
                <a:gd name="connsiteY3" fmla="*/ 518188 h 981339"/>
                <a:gd name="connsiteX4" fmla="*/ 636377 w 1556774"/>
                <a:gd name="connsiteY4" fmla="*/ 741181 h 981339"/>
                <a:gd name="connsiteX5" fmla="*/ 705803 w 1556774"/>
                <a:gd name="connsiteY5" fmla="*/ 624047 h 981339"/>
                <a:gd name="connsiteX6" fmla="*/ 859369 w 1556774"/>
                <a:gd name="connsiteY6" fmla="*/ 679765 h 981339"/>
                <a:gd name="connsiteX7" fmla="*/ 1189170 w 1556774"/>
                <a:gd name="connsiteY7" fmla="*/ 914032 h 981339"/>
                <a:gd name="connsiteX8" fmla="*/ 1507637 w 1556774"/>
                <a:gd name="connsiteY8" fmla="*/ 786693 h 981339"/>
                <a:gd name="connsiteX9" fmla="*/ 1173267 w 1556774"/>
                <a:gd name="connsiteY9" fmla="*/ 634312 h 981339"/>
                <a:gd name="connsiteX10" fmla="*/ 1250585 w 1556774"/>
                <a:gd name="connsiteY10" fmla="*/ 450008 h 981339"/>
                <a:gd name="connsiteX11" fmla="*/ 984454 w 1556774"/>
                <a:gd name="connsiteY11" fmla="*/ 340826 h 981339"/>
                <a:gd name="connsiteX12" fmla="*/ 909391 w 1556774"/>
                <a:gd name="connsiteY12" fmla="*/ 450008 h 981339"/>
                <a:gd name="connsiteX13" fmla="*/ 766089 w 1556774"/>
                <a:gd name="connsiteY13" fmla="*/ 388593 h 981339"/>
                <a:gd name="connsiteX14" fmla="*/ 800209 w 1556774"/>
                <a:gd name="connsiteY14" fmla="*/ 204349 h 981339"/>
                <a:gd name="connsiteX0" fmla="*/ 800209 w 1556774"/>
                <a:gd name="connsiteY0" fmla="*/ 204349 h 981339"/>
                <a:gd name="connsiteX1" fmla="*/ 196266 w 1556774"/>
                <a:gd name="connsiteY1" fmla="*/ 12686 h 981339"/>
                <a:gd name="connsiteX2" fmla="*/ 147370 w 1556774"/>
                <a:gd name="connsiteY2" fmla="*/ 306113 h 981339"/>
                <a:gd name="connsiteX3" fmla="*/ 12021 w 1556774"/>
                <a:gd name="connsiteY3" fmla="*/ 518188 h 981339"/>
                <a:gd name="connsiteX4" fmla="*/ 636377 w 1556774"/>
                <a:gd name="connsiteY4" fmla="*/ 741181 h 981339"/>
                <a:gd name="connsiteX5" fmla="*/ 705803 w 1556774"/>
                <a:gd name="connsiteY5" fmla="*/ 624047 h 981339"/>
                <a:gd name="connsiteX6" fmla="*/ 859369 w 1556774"/>
                <a:gd name="connsiteY6" fmla="*/ 679765 h 981339"/>
                <a:gd name="connsiteX7" fmla="*/ 1189170 w 1556774"/>
                <a:gd name="connsiteY7" fmla="*/ 914032 h 981339"/>
                <a:gd name="connsiteX8" fmla="*/ 1507637 w 1556774"/>
                <a:gd name="connsiteY8" fmla="*/ 786693 h 981339"/>
                <a:gd name="connsiteX9" fmla="*/ 1173267 w 1556774"/>
                <a:gd name="connsiteY9" fmla="*/ 634312 h 981339"/>
                <a:gd name="connsiteX10" fmla="*/ 1250585 w 1556774"/>
                <a:gd name="connsiteY10" fmla="*/ 450008 h 981339"/>
                <a:gd name="connsiteX11" fmla="*/ 984454 w 1556774"/>
                <a:gd name="connsiteY11" fmla="*/ 340826 h 981339"/>
                <a:gd name="connsiteX12" fmla="*/ 909391 w 1556774"/>
                <a:gd name="connsiteY12" fmla="*/ 450008 h 981339"/>
                <a:gd name="connsiteX13" fmla="*/ 766089 w 1556774"/>
                <a:gd name="connsiteY13" fmla="*/ 388593 h 981339"/>
                <a:gd name="connsiteX14" fmla="*/ 800209 w 1556774"/>
                <a:gd name="connsiteY14" fmla="*/ 204349 h 981339"/>
                <a:gd name="connsiteX0" fmla="*/ 800209 w 1556774"/>
                <a:gd name="connsiteY0" fmla="*/ 204349 h 981339"/>
                <a:gd name="connsiteX1" fmla="*/ 196266 w 1556774"/>
                <a:gd name="connsiteY1" fmla="*/ 12686 h 981339"/>
                <a:gd name="connsiteX2" fmla="*/ 147370 w 1556774"/>
                <a:gd name="connsiteY2" fmla="*/ 306113 h 981339"/>
                <a:gd name="connsiteX3" fmla="*/ 12021 w 1556774"/>
                <a:gd name="connsiteY3" fmla="*/ 518188 h 981339"/>
                <a:gd name="connsiteX4" fmla="*/ 636377 w 1556774"/>
                <a:gd name="connsiteY4" fmla="*/ 741181 h 981339"/>
                <a:gd name="connsiteX5" fmla="*/ 705803 w 1556774"/>
                <a:gd name="connsiteY5" fmla="*/ 624047 h 981339"/>
                <a:gd name="connsiteX6" fmla="*/ 859369 w 1556774"/>
                <a:gd name="connsiteY6" fmla="*/ 679765 h 981339"/>
                <a:gd name="connsiteX7" fmla="*/ 1189170 w 1556774"/>
                <a:gd name="connsiteY7" fmla="*/ 914032 h 981339"/>
                <a:gd name="connsiteX8" fmla="*/ 1507637 w 1556774"/>
                <a:gd name="connsiteY8" fmla="*/ 786693 h 981339"/>
                <a:gd name="connsiteX9" fmla="*/ 1173267 w 1556774"/>
                <a:gd name="connsiteY9" fmla="*/ 634312 h 981339"/>
                <a:gd name="connsiteX10" fmla="*/ 1250585 w 1556774"/>
                <a:gd name="connsiteY10" fmla="*/ 450008 h 981339"/>
                <a:gd name="connsiteX11" fmla="*/ 964576 w 1556774"/>
                <a:gd name="connsiteY11" fmla="*/ 344802 h 981339"/>
                <a:gd name="connsiteX12" fmla="*/ 909391 w 1556774"/>
                <a:gd name="connsiteY12" fmla="*/ 450008 h 981339"/>
                <a:gd name="connsiteX13" fmla="*/ 766089 w 1556774"/>
                <a:gd name="connsiteY13" fmla="*/ 388593 h 981339"/>
                <a:gd name="connsiteX14" fmla="*/ 800209 w 1556774"/>
                <a:gd name="connsiteY14" fmla="*/ 204349 h 981339"/>
                <a:gd name="connsiteX0" fmla="*/ 800209 w 1556774"/>
                <a:gd name="connsiteY0" fmla="*/ 204349 h 981339"/>
                <a:gd name="connsiteX1" fmla="*/ 196266 w 1556774"/>
                <a:gd name="connsiteY1" fmla="*/ 12686 h 981339"/>
                <a:gd name="connsiteX2" fmla="*/ 147370 w 1556774"/>
                <a:gd name="connsiteY2" fmla="*/ 306113 h 981339"/>
                <a:gd name="connsiteX3" fmla="*/ 12021 w 1556774"/>
                <a:gd name="connsiteY3" fmla="*/ 518188 h 981339"/>
                <a:gd name="connsiteX4" fmla="*/ 636377 w 1556774"/>
                <a:gd name="connsiteY4" fmla="*/ 741181 h 981339"/>
                <a:gd name="connsiteX5" fmla="*/ 705803 w 1556774"/>
                <a:gd name="connsiteY5" fmla="*/ 624047 h 981339"/>
                <a:gd name="connsiteX6" fmla="*/ 859369 w 1556774"/>
                <a:gd name="connsiteY6" fmla="*/ 679765 h 981339"/>
                <a:gd name="connsiteX7" fmla="*/ 1189170 w 1556774"/>
                <a:gd name="connsiteY7" fmla="*/ 914032 h 981339"/>
                <a:gd name="connsiteX8" fmla="*/ 1507637 w 1556774"/>
                <a:gd name="connsiteY8" fmla="*/ 786693 h 981339"/>
                <a:gd name="connsiteX9" fmla="*/ 1173267 w 1556774"/>
                <a:gd name="connsiteY9" fmla="*/ 634312 h 981339"/>
                <a:gd name="connsiteX10" fmla="*/ 1250585 w 1556774"/>
                <a:gd name="connsiteY10" fmla="*/ 450008 h 981339"/>
                <a:gd name="connsiteX11" fmla="*/ 964576 w 1556774"/>
                <a:gd name="connsiteY11" fmla="*/ 344802 h 981339"/>
                <a:gd name="connsiteX12" fmla="*/ 909391 w 1556774"/>
                <a:gd name="connsiteY12" fmla="*/ 450008 h 981339"/>
                <a:gd name="connsiteX13" fmla="*/ 766089 w 1556774"/>
                <a:gd name="connsiteY13" fmla="*/ 388593 h 981339"/>
                <a:gd name="connsiteX14" fmla="*/ 800209 w 1556774"/>
                <a:gd name="connsiteY14" fmla="*/ 204349 h 981339"/>
                <a:gd name="connsiteX0" fmla="*/ 800209 w 1556774"/>
                <a:gd name="connsiteY0" fmla="*/ 204349 h 981339"/>
                <a:gd name="connsiteX1" fmla="*/ 196266 w 1556774"/>
                <a:gd name="connsiteY1" fmla="*/ 12686 h 981339"/>
                <a:gd name="connsiteX2" fmla="*/ 147370 w 1556774"/>
                <a:gd name="connsiteY2" fmla="*/ 306113 h 981339"/>
                <a:gd name="connsiteX3" fmla="*/ 12021 w 1556774"/>
                <a:gd name="connsiteY3" fmla="*/ 518188 h 981339"/>
                <a:gd name="connsiteX4" fmla="*/ 636377 w 1556774"/>
                <a:gd name="connsiteY4" fmla="*/ 741181 h 981339"/>
                <a:gd name="connsiteX5" fmla="*/ 705803 w 1556774"/>
                <a:gd name="connsiteY5" fmla="*/ 624047 h 981339"/>
                <a:gd name="connsiteX6" fmla="*/ 859369 w 1556774"/>
                <a:gd name="connsiteY6" fmla="*/ 679765 h 981339"/>
                <a:gd name="connsiteX7" fmla="*/ 1189170 w 1556774"/>
                <a:gd name="connsiteY7" fmla="*/ 914032 h 981339"/>
                <a:gd name="connsiteX8" fmla="*/ 1507637 w 1556774"/>
                <a:gd name="connsiteY8" fmla="*/ 786693 h 981339"/>
                <a:gd name="connsiteX9" fmla="*/ 1173267 w 1556774"/>
                <a:gd name="connsiteY9" fmla="*/ 634312 h 981339"/>
                <a:gd name="connsiteX10" fmla="*/ 1250585 w 1556774"/>
                <a:gd name="connsiteY10" fmla="*/ 450008 h 981339"/>
                <a:gd name="connsiteX11" fmla="*/ 964576 w 1556774"/>
                <a:gd name="connsiteY11" fmla="*/ 344802 h 981339"/>
                <a:gd name="connsiteX12" fmla="*/ 909391 w 1556774"/>
                <a:gd name="connsiteY12" fmla="*/ 450008 h 981339"/>
                <a:gd name="connsiteX13" fmla="*/ 766089 w 1556774"/>
                <a:gd name="connsiteY13" fmla="*/ 388593 h 981339"/>
                <a:gd name="connsiteX14" fmla="*/ 800209 w 1556774"/>
                <a:gd name="connsiteY14" fmla="*/ 204349 h 981339"/>
                <a:gd name="connsiteX0" fmla="*/ 800209 w 1556774"/>
                <a:gd name="connsiteY0" fmla="*/ 204349 h 981339"/>
                <a:gd name="connsiteX1" fmla="*/ 196266 w 1556774"/>
                <a:gd name="connsiteY1" fmla="*/ 12686 h 981339"/>
                <a:gd name="connsiteX2" fmla="*/ 147370 w 1556774"/>
                <a:gd name="connsiteY2" fmla="*/ 306113 h 981339"/>
                <a:gd name="connsiteX3" fmla="*/ 12021 w 1556774"/>
                <a:gd name="connsiteY3" fmla="*/ 518188 h 981339"/>
                <a:gd name="connsiteX4" fmla="*/ 636377 w 1556774"/>
                <a:gd name="connsiteY4" fmla="*/ 741181 h 981339"/>
                <a:gd name="connsiteX5" fmla="*/ 705803 w 1556774"/>
                <a:gd name="connsiteY5" fmla="*/ 624047 h 981339"/>
                <a:gd name="connsiteX6" fmla="*/ 859369 w 1556774"/>
                <a:gd name="connsiteY6" fmla="*/ 679765 h 981339"/>
                <a:gd name="connsiteX7" fmla="*/ 1189170 w 1556774"/>
                <a:gd name="connsiteY7" fmla="*/ 914032 h 981339"/>
                <a:gd name="connsiteX8" fmla="*/ 1507637 w 1556774"/>
                <a:gd name="connsiteY8" fmla="*/ 786693 h 981339"/>
                <a:gd name="connsiteX9" fmla="*/ 1173267 w 1556774"/>
                <a:gd name="connsiteY9" fmla="*/ 634312 h 981339"/>
                <a:gd name="connsiteX10" fmla="*/ 1250585 w 1556774"/>
                <a:gd name="connsiteY10" fmla="*/ 450008 h 981339"/>
                <a:gd name="connsiteX11" fmla="*/ 964576 w 1556774"/>
                <a:gd name="connsiteY11" fmla="*/ 344802 h 981339"/>
                <a:gd name="connsiteX12" fmla="*/ 909391 w 1556774"/>
                <a:gd name="connsiteY12" fmla="*/ 450008 h 981339"/>
                <a:gd name="connsiteX13" fmla="*/ 766089 w 1556774"/>
                <a:gd name="connsiteY13" fmla="*/ 388593 h 981339"/>
                <a:gd name="connsiteX14" fmla="*/ 800209 w 1556774"/>
                <a:gd name="connsiteY14" fmla="*/ 204349 h 981339"/>
                <a:gd name="connsiteX0" fmla="*/ 800209 w 1556774"/>
                <a:gd name="connsiteY0" fmla="*/ 204349 h 981339"/>
                <a:gd name="connsiteX1" fmla="*/ 196266 w 1556774"/>
                <a:gd name="connsiteY1" fmla="*/ 12686 h 981339"/>
                <a:gd name="connsiteX2" fmla="*/ 147370 w 1556774"/>
                <a:gd name="connsiteY2" fmla="*/ 306113 h 981339"/>
                <a:gd name="connsiteX3" fmla="*/ 12021 w 1556774"/>
                <a:gd name="connsiteY3" fmla="*/ 518188 h 981339"/>
                <a:gd name="connsiteX4" fmla="*/ 636377 w 1556774"/>
                <a:gd name="connsiteY4" fmla="*/ 741181 h 981339"/>
                <a:gd name="connsiteX5" fmla="*/ 705803 w 1556774"/>
                <a:gd name="connsiteY5" fmla="*/ 624047 h 981339"/>
                <a:gd name="connsiteX6" fmla="*/ 859369 w 1556774"/>
                <a:gd name="connsiteY6" fmla="*/ 679765 h 981339"/>
                <a:gd name="connsiteX7" fmla="*/ 1189170 w 1556774"/>
                <a:gd name="connsiteY7" fmla="*/ 914032 h 981339"/>
                <a:gd name="connsiteX8" fmla="*/ 1507637 w 1556774"/>
                <a:gd name="connsiteY8" fmla="*/ 786693 h 981339"/>
                <a:gd name="connsiteX9" fmla="*/ 1173267 w 1556774"/>
                <a:gd name="connsiteY9" fmla="*/ 634312 h 981339"/>
                <a:gd name="connsiteX10" fmla="*/ 1250585 w 1556774"/>
                <a:gd name="connsiteY10" fmla="*/ 438081 h 981339"/>
                <a:gd name="connsiteX11" fmla="*/ 964576 w 1556774"/>
                <a:gd name="connsiteY11" fmla="*/ 344802 h 981339"/>
                <a:gd name="connsiteX12" fmla="*/ 909391 w 1556774"/>
                <a:gd name="connsiteY12" fmla="*/ 450008 h 981339"/>
                <a:gd name="connsiteX13" fmla="*/ 766089 w 1556774"/>
                <a:gd name="connsiteY13" fmla="*/ 388593 h 981339"/>
                <a:gd name="connsiteX14" fmla="*/ 800209 w 1556774"/>
                <a:gd name="connsiteY14" fmla="*/ 204349 h 981339"/>
                <a:gd name="connsiteX0" fmla="*/ 800209 w 1556774"/>
                <a:gd name="connsiteY0" fmla="*/ 204349 h 981339"/>
                <a:gd name="connsiteX1" fmla="*/ 196266 w 1556774"/>
                <a:gd name="connsiteY1" fmla="*/ 12686 h 981339"/>
                <a:gd name="connsiteX2" fmla="*/ 147370 w 1556774"/>
                <a:gd name="connsiteY2" fmla="*/ 306113 h 981339"/>
                <a:gd name="connsiteX3" fmla="*/ 12021 w 1556774"/>
                <a:gd name="connsiteY3" fmla="*/ 518188 h 981339"/>
                <a:gd name="connsiteX4" fmla="*/ 636377 w 1556774"/>
                <a:gd name="connsiteY4" fmla="*/ 741181 h 981339"/>
                <a:gd name="connsiteX5" fmla="*/ 705803 w 1556774"/>
                <a:gd name="connsiteY5" fmla="*/ 624047 h 981339"/>
                <a:gd name="connsiteX6" fmla="*/ 859369 w 1556774"/>
                <a:gd name="connsiteY6" fmla="*/ 679765 h 981339"/>
                <a:gd name="connsiteX7" fmla="*/ 1189170 w 1556774"/>
                <a:gd name="connsiteY7" fmla="*/ 914032 h 981339"/>
                <a:gd name="connsiteX8" fmla="*/ 1507637 w 1556774"/>
                <a:gd name="connsiteY8" fmla="*/ 786693 h 981339"/>
                <a:gd name="connsiteX9" fmla="*/ 1173267 w 1556774"/>
                <a:gd name="connsiteY9" fmla="*/ 634312 h 981339"/>
                <a:gd name="connsiteX10" fmla="*/ 1250585 w 1556774"/>
                <a:gd name="connsiteY10" fmla="*/ 438081 h 981339"/>
                <a:gd name="connsiteX11" fmla="*/ 964576 w 1556774"/>
                <a:gd name="connsiteY11" fmla="*/ 344802 h 981339"/>
                <a:gd name="connsiteX12" fmla="*/ 909391 w 1556774"/>
                <a:gd name="connsiteY12" fmla="*/ 450008 h 981339"/>
                <a:gd name="connsiteX13" fmla="*/ 766089 w 1556774"/>
                <a:gd name="connsiteY13" fmla="*/ 388593 h 981339"/>
                <a:gd name="connsiteX14" fmla="*/ 800209 w 1556774"/>
                <a:gd name="connsiteY14" fmla="*/ 204349 h 981339"/>
                <a:gd name="connsiteX0" fmla="*/ 800209 w 1556774"/>
                <a:gd name="connsiteY0" fmla="*/ 204349 h 981339"/>
                <a:gd name="connsiteX1" fmla="*/ 196266 w 1556774"/>
                <a:gd name="connsiteY1" fmla="*/ 12686 h 981339"/>
                <a:gd name="connsiteX2" fmla="*/ 147370 w 1556774"/>
                <a:gd name="connsiteY2" fmla="*/ 306113 h 981339"/>
                <a:gd name="connsiteX3" fmla="*/ 12021 w 1556774"/>
                <a:gd name="connsiteY3" fmla="*/ 518188 h 981339"/>
                <a:gd name="connsiteX4" fmla="*/ 636377 w 1556774"/>
                <a:gd name="connsiteY4" fmla="*/ 741181 h 981339"/>
                <a:gd name="connsiteX5" fmla="*/ 705803 w 1556774"/>
                <a:gd name="connsiteY5" fmla="*/ 624047 h 981339"/>
                <a:gd name="connsiteX6" fmla="*/ 859369 w 1556774"/>
                <a:gd name="connsiteY6" fmla="*/ 679765 h 981339"/>
                <a:gd name="connsiteX7" fmla="*/ 1189170 w 1556774"/>
                <a:gd name="connsiteY7" fmla="*/ 914032 h 981339"/>
                <a:gd name="connsiteX8" fmla="*/ 1507637 w 1556774"/>
                <a:gd name="connsiteY8" fmla="*/ 786693 h 981339"/>
                <a:gd name="connsiteX9" fmla="*/ 1173267 w 1556774"/>
                <a:gd name="connsiteY9" fmla="*/ 634312 h 981339"/>
                <a:gd name="connsiteX10" fmla="*/ 1250585 w 1556774"/>
                <a:gd name="connsiteY10" fmla="*/ 438081 h 981339"/>
                <a:gd name="connsiteX11" fmla="*/ 964576 w 1556774"/>
                <a:gd name="connsiteY11" fmla="*/ 344802 h 981339"/>
                <a:gd name="connsiteX12" fmla="*/ 909391 w 1556774"/>
                <a:gd name="connsiteY12" fmla="*/ 450008 h 981339"/>
                <a:gd name="connsiteX13" fmla="*/ 766089 w 1556774"/>
                <a:gd name="connsiteY13" fmla="*/ 388593 h 981339"/>
                <a:gd name="connsiteX14" fmla="*/ 800209 w 1556774"/>
                <a:gd name="connsiteY14" fmla="*/ 204349 h 981339"/>
                <a:gd name="connsiteX0" fmla="*/ 800209 w 1527868"/>
                <a:gd name="connsiteY0" fmla="*/ 204349 h 975126"/>
                <a:gd name="connsiteX1" fmla="*/ 196266 w 1527868"/>
                <a:gd name="connsiteY1" fmla="*/ 12686 h 975126"/>
                <a:gd name="connsiteX2" fmla="*/ 147370 w 1527868"/>
                <a:gd name="connsiteY2" fmla="*/ 306113 h 975126"/>
                <a:gd name="connsiteX3" fmla="*/ 12021 w 1527868"/>
                <a:gd name="connsiteY3" fmla="*/ 518188 h 975126"/>
                <a:gd name="connsiteX4" fmla="*/ 636377 w 1527868"/>
                <a:gd name="connsiteY4" fmla="*/ 741181 h 975126"/>
                <a:gd name="connsiteX5" fmla="*/ 705803 w 1527868"/>
                <a:gd name="connsiteY5" fmla="*/ 624047 h 975126"/>
                <a:gd name="connsiteX6" fmla="*/ 859369 w 1527868"/>
                <a:gd name="connsiteY6" fmla="*/ 679765 h 975126"/>
                <a:gd name="connsiteX7" fmla="*/ 1189170 w 1527868"/>
                <a:gd name="connsiteY7" fmla="*/ 914032 h 975126"/>
                <a:gd name="connsiteX8" fmla="*/ 1467881 w 1527868"/>
                <a:gd name="connsiteY8" fmla="*/ 742961 h 975126"/>
                <a:gd name="connsiteX9" fmla="*/ 1173267 w 1527868"/>
                <a:gd name="connsiteY9" fmla="*/ 634312 h 975126"/>
                <a:gd name="connsiteX10" fmla="*/ 1250585 w 1527868"/>
                <a:gd name="connsiteY10" fmla="*/ 438081 h 975126"/>
                <a:gd name="connsiteX11" fmla="*/ 964576 w 1527868"/>
                <a:gd name="connsiteY11" fmla="*/ 344802 h 975126"/>
                <a:gd name="connsiteX12" fmla="*/ 909391 w 1527868"/>
                <a:gd name="connsiteY12" fmla="*/ 450008 h 975126"/>
                <a:gd name="connsiteX13" fmla="*/ 766089 w 1527868"/>
                <a:gd name="connsiteY13" fmla="*/ 388593 h 975126"/>
                <a:gd name="connsiteX14" fmla="*/ 800209 w 1527868"/>
                <a:gd name="connsiteY14" fmla="*/ 204349 h 975126"/>
                <a:gd name="connsiteX0" fmla="*/ 800209 w 1527868"/>
                <a:gd name="connsiteY0" fmla="*/ 204349 h 975126"/>
                <a:gd name="connsiteX1" fmla="*/ 196266 w 1527868"/>
                <a:gd name="connsiteY1" fmla="*/ 12686 h 975126"/>
                <a:gd name="connsiteX2" fmla="*/ 147370 w 1527868"/>
                <a:gd name="connsiteY2" fmla="*/ 306113 h 975126"/>
                <a:gd name="connsiteX3" fmla="*/ 12021 w 1527868"/>
                <a:gd name="connsiteY3" fmla="*/ 518188 h 975126"/>
                <a:gd name="connsiteX4" fmla="*/ 636377 w 1527868"/>
                <a:gd name="connsiteY4" fmla="*/ 741181 h 975126"/>
                <a:gd name="connsiteX5" fmla="*/ 705803 w 1527868"/>
                <a:gd name="connsiteY5" fmla="*/ 624047 h 975126"/>
                <a:gd name="connsiteX6" fmla="*/ 859369 w 1527868"/>
                <a:gd name="connsiteY6" fmla="*/ 679765 h 975126"/>
                <a:gd name="connsiteX7" fmla="*/ 1189170 w 1527868"/>
                <a:gd name="connsiteY7" fmla="*/ 914032 h 975126"/>
                <a:gd name="connsiteX8" fmla="*/ 1467881 w 1527868"/>
                <a:gd name="connsiteY8" fmla="*/ 742961 h 975126"/>
                <a:gd name="connsiteX9" fmla="*/ 1173267 w 1527868"/>
                <a:gd name="connsiteY9" fmla="*/ 634312 h 975126"/>
                <a:gd name="connsiteX10" fmla="*/ 1250585 w 1527868"/>
                <a:gd name="connsiteY10" fmla="*/ 438081 h 975126"/>
                <a:gd name="connsiteX11" fmla="*/ 964576 w 1527868"/>
                <a:gd name="connsiteY11" fmla="*/ 344802 h 975126"/>
                <a:gd name="connsiteX12" fmla="*/ 909391 w 1527868"/>
                <a:gd name="connsiteY12" fmla="*/ 450008 h 975126"/>
                <a:gd name="connsiteX13" fmla="*/ 766089 w 1527868"/>
                <a:gd name="connsiteY13" fmla="*/ 388593 h 975126"/>
                <a:gd name="connsiteX14" fmla="*/ 800209 w 1527868"/>
                <a:gd name="connsiteY14" fmla="*/ 204349 h 975126"/>
                <a:gd name="connsiteX0" fmla="*/ 800209 w 1499884"/>
                <a:gd name="connsiteY0" fmla="*/ 204349 h 986483"/>
                <a:gd name="connsiteX1" fmla="*/ 196266 w 1499884"/>
                <a:gd name="connsiteY1" fmla="*/ 12686 h 986483"/>
                <a:gd name="connsiteX2" fmla="*/ 147370 w 1499884"/>
                <a:gd name="connsiteY2" fmla="*/ 306113 h 986483"/>
                <a:gd name="connsiteX3" fmla="*/ 12021 w 1499884"/>
                <a:gd name="connsiteY3" fmla="*/ 518188 h 986483"/>
                <a:gd name="connsiteX4" fmla="*/ 636377 w 1499884"/>
                <a:gd name="connsiteY4" fmla="*/ 741181 h 986483"/>
                <a:gd name="connsiteX5" fmla="*/ 705803 w 1499884"/>
                <a:gd name="connsiteY5" fmla="*/ 624047 h 986483"/>
                <a:gd name="connsiteX6" fmla="*/ 859369 w 1499884"/>
                <a:gd name="connsiteY6" fmla="*/ 679765 h 986483"/>
                <a:gd name="connsiteX7" fmla="*/ 1189170 w 1499884"/>
                <a:gd name="connsiteY7" fmla="*/ 914032 h 986483"/>
                <a:gd name="connsiteX8" fmla="*/ 1467881 w 1499884"/>
                <a:gd name="connsiteY8" fmla="*/ 742961 h 986483"/>
                <a:gd name="connsiteX9" fmla="*/ 1173267 w 1499884"/>
                <a:gd name="connsiteY9" fmla="*/ 634312 h 986483"/>
                <a:gd name="connsiteX10" fmla="*/ 1250585 w 1499884"/>
                <a:gd name="connsiteY10" fmla="*/ 438081 h 986483"/>
                <a:gd name="connsiteX11" fmla="*/ 964576 w 1499884"/>
                <a:gd name="connsiteY11" fmla="*/ 344802 h 986483"/>
                <a:gd name="connsiteX12" fmla="*/ 909391 w 1499884"/>
                <a:gd name="connsiteY12" fmla="*/ 450008 h 986483"/>
                <a:gd name="connsiteX13" fmla="*/ 766089 w 1499884"/>
                <a:gd name="connsiteY13" fmla="*/ 388593 h 986483"/>
                <a:gd name="connsiteX14" fmla="*/ 800209 w 1499884"/>
                <a:gd name="connsiteY14" fmla="*/ 204349 h 986483"/>
                <a:gd name="connsiteX0" fmla="*/ 800209 w 1505435"/>
                <a:gd name="connsiteY0" fmla="*/ 204349 h 1015754"/>
                <a:gd name="connsiteX1" fmla="*/ 196266 w 1505435"/>
                <a:gd name="connsiteY1" fmla="*/ 12686 h 1015754"/>
                <a:gd name="connsiteX2" fmla="*/ 147370 w 1505435"/>
                <a:gd name="connsiteY2" fmla="*/ 306113 h 1015754"/>
                <a:gd name="connsiteX3" fmla="*/ 12021 w 1505435"/>
                <a:gd name="connsiteY3" fmla="*/ 518188 h 1015754"/>
                <a:gd name="connsiteX4" fmla="*/ 636377 w 1505435"/>
                <a:gd name="connsiteY4" fmla="*/ 741181 h 1015754"/>
                <a:gd name="connsiteX5" fmla="*/ 705803 w 1505435"/>
                <a:gd name="connsiteY5" fmla="*/ 624047 h 1015754"/>
                <a:gd name="connsiteX6" fmla="*/ 859369 w 1505435"/>
                <a:gd name="connsiteY6" fmla="*/ 679765 h 1015754"/>
                <a:gd name="connsiteX7" fmla="*/ 1189170 w 1505435"/>
                <a:gd name="connsiteY7" fmla="*/ 914032 h 1015754"/>
                <a:gd name="connsiteX8" fmla="*/ 1467881 w 1505435"/>
                <a:gd name="connsiteY8" fmla="*/ 742961 h 1015754"/>
                <a:gd name="connsiteX9" fmla="*/ 1173267 w 1505435"/>
                <a:gd name="connsiteY9" fmla="*/ 634312 h 1015754"/>
                <a:gd name="connsiteX10" fmla="*/ 1250585 w 1505435"/>
                <a:gd name="connsiteY10" fmla="*/ 438081 h 1015754"/>
                <a:gd name="connsiteX11" fmla="*/ 964576 w 1505435"/>
                <a:gd name="connsiteY11" fmla="*/ 344802 h 1015754"/>
                <a:gd name="connsiteX12" fmla="*/ 909391 w 1505435"/>
                <a:gd name="connsiteY12" fmla="*/ 450008 h 1015754"/>
                <a:gd name="connsiteX13" fmla="*/ 766089 w 1505435"/>
                <a:gd name="connsiteY13" fmla="*/ 388593 h 1015754"/>
                <a:gd name="connsiteX14" fmla="*/ 800209 w 1505435"/>
                <a:gd name="connsiteY14" fmla="*/ 204349 h 1015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05435" h="1015754">
                  <a:moveTo>
                    <a:pt x="800209" y="204349"/>
                  </a:moveTo>
                  <a:cubicBezTo>
                    <a:pt x="598895" y="140461"/>
                    <a:pt x="302164" y="-50647"/>
                    <a:pt x="196266" y="12686"/>
                  </a:cubicBezTo>
                  <a:cubicBezTo>
                    <a:pt x="103106" y="72064"/>
                    <a:pt x="168969" y="214930"/>
                    <a:pt x="147370" y="306113"/>
                  </a:cubicBezTo>
                  <a:cubicBezTo>
                    <a:pt x="102254" y="376805"/>
                    <a:pt x="-42253" y="455447"/>
                    <a:pt x="12021" y="518188"/>
                  </a:cubicBezTo>
                  <a:cubicBezTo>
                    <a:pt x="164480" y="669383"/>
                    <a:pt x="559454" y="713233"/>
                    <a:pt x="636377" y="741181"/>
                  </a:cubicBezTo>
                  <a:cubicBezTo>
                    <a:pt x="696624" y="733941"/>
                    <a:pt x="677361" y="671042"/>
                    <a:pt x="705803" y="624047"/>
                  </a:cubicBezTo>
                  <a:lnTo>
                    <a:pt x="859369" y="679765"/>
                  </a:lnTo>
                  <a:cubicBezTo>
                    <a:pt x="850034" y="889051"/>
                    <a:pt x="1063333" y="847870"/>
                    <a:pt x="1189170" y="914032"/>
                  </a:cubicBezTo>
                  <a:cubicBezTo>
                    <a:pt x="1618678" y="1176386"/>
                    <a:pt x="1495571" y="862271"/>
                    <a:pt x="1467881" y="742961"/>
                  </a:cubicBezTo>
                  <a:cubicBezTo>
                    <a:pt x="1356424" y="685542"/>
                    <a:pt x="1304603" y="671853"/>
                    <a:pt x="1173267" y="634312"/>
                  </a:cubicBezTo>
                  <a:cubicBezTo>
                    <a:pt x="1199040" y="568902"/>
                    <a:pt x="1292398" y="479637"/>
                    <a:pt x="1250585" y="438081"/>
                  </a:cubicBezTo>
                  <a:cubicBezTo>
                    <a:pt x="1165850" y="405662"/>
                    <a:pt x="1045335" y="381196"/>
                    <a:pt x="964576" y="344802"/>
                  </a:cubicBezTo>
                  <a:cubicBezTo>
                    <a:pt x="930279" y="379871"/>
                    <a:pt x="927786" y="414939"/>
                    <a:pt x="909391" y="450008"/>
                  </a:cubicBezTo>
                  <a:lnTo>
                    <a:pt x="766089" y="388593"/>
                  </a:lnTo>
                  <a:lnTo>
                    <a:pt x="800209" y="204349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/>
            </a:p>
          </p:txBody>
        </p:sp>
      </p:grpSp>
      <p:sp>
        <p:nvSpPr>
          <p:cNvPr id="69" name="Freeform 107">
            <a:extLst>
              <a:ext uri="{FF2B5EF4-FFF2-40B4-BE49-F238E27FC236}">
                <a16:creationId xmlns:a16="http://schemas.microsoft.com/office/drawing/2014/main" id="{5F7DADB8-BA7C-4AE5-BF1E-BC82543D1EA9}"/>
              </a:ext>
            </a:extLst>
          </p:cNvPr>
          <p:cNvSpPr>
            <a:spLocks noChangeAspect="1"/>
          </p:cNvSpPr>
          <p:nvPr/>
        </p:nvSpPr>
        <p:spPr>
          <a:xfrm>
            <a:off x="9618682" y="2429101"/>
            <a:ext cx="169894" cy="529812"/>
          </a:xfrm>
          <a:custGeom>
            <a:avLst/>
            <a:gdLst>
              <a:gd name="connsiteX0" fmla="*/ 430619 w 798902"/>
              <a:gd name="connsiteY0" fmla="*/ 1331843 h 2449001"/>
              <a:gd name="connsiteX1" fmla="*/ 541938 w 798902"/>
              <a:gd name="connsiteY1" fmla="*/ 1379551 h 2449001"/>
              <a:gd name="connsiteX2" fmla="*/ 780476 w 798902"/>
              <a:gd name="connsiteY2" fmla="*/ 1375575 h 2449001"/>
              <a:gd name="connsiteX3" fmla="*/ 625426 w 798902"/>
              <a:gd name="connsiteY3" fmla="*/ 1741335 h 2449001"/>
              <a:gd name="connsiteX4" fmla="*/ 609523 w 798902"/>
              <a:gd name="connsiteY4" fmla="*/ 2441050 h 2449001"/>
              <a:gd name="connsiteX5" fmla="*/ 319301 w 798902"/>
              <a:gd name="connsiteY5" fmla="*/ 2445025 h 2449001"/>
              <a:gd name="connsiteX6" fmla="*/ 211958 w 798902"/>
              <a:gd name="connsiteY6" fmla="*/ 1673750 h 2449001"/>
              <a:gd name="connsiteX7" fmla="*/ 207983 w 798902"/>
              <a:gd name="connsiteY7" fmla="*/ 2441050 h 2449001"/>
              <a:gd name="connsiteX8" fmla="*/ 136421 w 798902"/>
              <a:gd name="connsiteY8" fmla="*/ 2449001 h 2449001"/>
              <a:gd name="connsiteX9" fmla="*/ 5224 w 798902"/>
              <a:gd name="connsiteY9" fmla="*/ 1701579 h 2449001"/>
              <a:gd name="connsiteX10" fmla="*/ 37029 w 798902"/>
              <a:gd name="connsiteY10" fmla="*/ 1582309 h 2449001"/>
              <a:gd name="connsiteX11" fmla="*/ 76786 w 798902"/>
              <a:gd name="connsiteY11" fmla="*/ 1566407 h 2449001"/>
              <a:gd name="connsiteX12" fmla="*/ 89266 w 798902"/>
              <a:gd name="connsiteY12" fmla="*/ 1389262 h 2449001"/>
              <a:gd name="connsiteX13" fmla="*/ 339179 w 798902"/>
              <a:gd name="connsiteY13" fmla="*/ 1375575 h 2449001"/>
              <a:gd name="connsiteX14" fmla="*/ 430619 w 798902"/>
              <a:gd name="connsiteY14" fmla="*/ 1331843 h 2449001"/>
              <a:gd name="connsiteX15" fmla="*/ 243762 w 798902"/>
              <a:gd name="connsiteY15" fmla="*/ 0 h 2449001"/>
              <a:gd name="connsiteX16" fmla="*/ 557838 w 798902"/>
              <a:gd name="connsiteY16" fmla="*/ 0 h 2449001"/>
              <a:gd name="connsiteX17" fmla="*/ 689036 w 798902"/>
              <a:gd name="connsiteY17" fmla="*/ 962108 h 2449001"/>
              <a:gd name="connsiteX18" fmla="*/ 724816 w 798902"/>
              <a:gd name="connsiteY18" fmla="*/ 1307990 h 2449001"/>
              <a:gd name="connsiteX19" fmla="*/ 414715 w 798902"/>
              <a:gd name="connsiteY19" fmla="*/ 1268233 h 2449001"/>
              <a:gd name="connsiteX20" fmla="*/ 104615 w 798902"/>
              <a:gd name="connsiteY20" fmla="*/ 1288111 h 2449001"/>
              <a:gd name="connsiteX21" fmla="*/ 124493 w 798902"/>
              <a:gd name="connsiteY21" fmla="*/ 1017766 h 2449001"/>
              <a:gd name="connsiteX22" fmla="*/ 243762 w 798902"/>
              <a:gd name="connsiteY22" fmla="*/ 0 h 2449001"/>
              <a:gd name="connsiteX0" fmla="*/ 430619 w 798902"/>
              <a:gd name="connsiteY0" fmla="*/ 1331843 h 2449001"/>
              <a:gd name="connsiteX1" fmla="*/ 541938 w 798902"/>
              <a:gd name="connsiteY1" fmla="*/ 1379551 h 2449001"/>
              <a:gd name="connsiteX2" fmla="*/ 780476 w 798902"/>
              <a:gd name="connsiteY2" fmla="*/ 1375575 h 2449001"/>
              <a:gd name="connsiteX3" fmla="*/ 625426 w 798902"/>
              <a:gd name="connsiteY3" fmla="*/ 1741335 h 2449001"/>
              <a:gd name="connsiteX4" fmla="*/ 609523 w 798902"/>
              <a:gd name="connsiteY4" fmla="*/ 2441050 h 2449001"/>
              <a:gd name="connsiteX5" fmla="*/ 319301 w 798902"/>
              <a:gd name="connsiteY5" fmla="*/ 2445025 h 2449001"/>
              <a:gd name="connsiteX6" fmla="*/ 211958 w 798902"/>
              <a:gd name="connsiteY6" fmla="*/ 1673750 h 2449001"/>
              <a:gd name="connsiteX7" fmla="*/ 207983 w 798902"/>
              <a:gd name="connsiteY7" fmla="*/ 2441050 h 2449001"/>
              <a:gd name="connsiteX8" fmla="*/ 136421 w 798902"/>
              <a:gd name="connsiteY8" fmla="*/ 2449001 h 2449001"/>
              <a:gd name="connsiteX9" fmla="*/ 5224 w 798902"/>
              <a:gd name="connsiteY9" fmla="*/ 1701579 h 2449001"/>
              <a:gd name="connsiteX10" fmla="*/ 37029 w 798902"/>
              <a:gd name="connsiteY10" fmla="*/ 1582309 h 2449001"/>
              <a:gd name="connsiteX11" fmla="*/ 76786 w 798902"/>
              <a:gd name="connsiteY11" fmla="*/ 1566407 h 2449001"/>
              <a:gd name="connsiteX12" fmla="*/ 89266 w 798902"/>
              <a:gd name="connsiteY12" fmla="*/ 1389262 h 2449001"/>
              <a:gd name="connsiteX13" fmla="*/ 339179 w 798902"/>
              <a:gd name="connsiteY13" fmla="*/ 1375575 h 2449001"/>
              <a:gd name="connsiteX14" fmla="*/ 430619 w 798902"/>
              <a:gd name="connsiteY14" fmla="*/ 1331843 h 2449001"/>
              <a:gd name="connsiteX15" fmla="*/ 243762 w 798902"/>
              <a:gd name="connsiteY15" fmla="*/ 0 h 2449001"/>
              <a:gd name="connsiteX16" fmla="*/ 557838 w 798902"/>
              <a:gd name="connsiteY16" fmla="*/ 0 h 2449001"/>
              <a:gd name="connsiteX17" fmla="*/ 689036 w 798902"/>
              <a:gd name="connsiteY17" fmla="*/ 962108 h 2449001"/>
              <a:gd name="connsiteX18" fmla="*/ 724816 w 798902"/>
              <a:gd name="connsiteY18" fmla="*/ 1307990 h 2449001"/>
              <a:gd name="connsiteX19" fmla="*/ 414715 w 798902"/>
              <a:gd name="connsiteY19" fmla="*/ 1268233 h 2449001"/>
              <a:gd name="connsiteX20" fmla="*/ 104615 w 798902"/>
              <a:gd name="connsiteY20" fmla="*/ 1288111 h 2449001"/>
              <a:gd name="connsiteX21" fmla="*/ 124493 w 798902"/>
              <a:gd name="connsiteY21" fmla="*/ 1017766 h 2449001"/>
              <a:gd name="connsiteX22" fmla="*/ 243762 w 798902"/>
              <a:gd name="connsiteY22" fmla="*/ 0 h 2449001"/>
              <a:gd name="connsiteX0" fmla="*/ 430619 w 784764"/>
              <a:gd name="connsiteY0" fmla="*/ 1331843 h 2449001"/>
              <a:gd name="connsiteX1" fmla="*/ 541938 w 784764"/>
              <a:gd name="connsiteY1" fmla="*/ 1379551 h 2449001"/>
              <a:gd name="connsiteX2" fmla="*/ 763368 w 784764"/>
              <a:gd name="connsiteY2" fmla="*/ 1406369 h 2449001"/>
              <a:gd name="connsiteX3" fmla="*/ 625426 w 784764"/>
              <a:gd name="connsiteY3" fmla="*/ 1741335 h 2449001"/>
              <a:gd name="connsiteX4" fmla="*/ 609523 w 784764"/>
              <a:gd name="connsiteY4" fmla="*/ 2441050 h 2449001"/>
              <a:gd name="connsiteX5" fmla="*/ 319301 w 784764"/>
              <a:gd name="connsiteY5" fmla="*/ 2445025 h 2449001"/>
              <a:gd name="connsiteX6" fmla="*/ 211958 w 784764"/>
              <a:gd name="connsiteY6" fmla="*/ 1673750 h 2449001"/>
              <a:gd name="connsiteX7" fmla="*/ 207983 w 784764"/>
              <a:gd name="connsiteY7" fmla="*/ 2441050 h 2449001"/>
              <a:gd name="connsiteX8" fmla="*/ 136421 w 784764"/>
              <a:gd name="connsiteY8" fmla="*/ 2449001 h 2449001"/>
              <a:gd name="connsiteX9" fmla="*/ 5224 w 784764"/>
              <a:gd name="connsiteY9" fmla="*/ 1701579 h 2449001"/>
              <a:gd name="connsiteX10" fmla="*/ 37029 w 784764"/>
              <a:gd name="connsiteY10" fmla="*/ 1582309 h 2449001"/>
              <a:gd name="connsiteX11" fmla="*/ 76786 w 784764"/>
              <a:gd name="connsiteY11" fmla="*/ 1566407 h 2449001"/>
              <a:gd name="connsiteX12" fmla="*/ 89266 w 784764"/>
              <a:gd name="connsiteY12" fmla="*/ 1389262 h 2449001"/>
              <a:gd name="connsiteX13" fmla="*/ 339179 w 784764"/>
              <a:gd name="connsiteY13" fmla="*/ 1375575 h 2449001"/>
              <a:gd name="connsiteX14" fmla="*/ 430619 w 784764"/>
              <a:gd name="connsiteY14" fmla="*/ 1331843 h 2449001"/>
              <a:gd name="connsiteX15" fmla="*/ 243762 w 784764"/>
              <a:gd name="connsiteY15" fmla="*/ 0 h 2449001"/>
              <a:gd name="connsiteX16" fmla="*/ 557838 w 784764"/>
              <a:gd name="connsiteY16" fmla="*/ 0 h 2449001"/>
              <a:gd name="connsiteX17" fmla="*/ 689036 w 784764"/>
              <a:gd name="connsiteY17" fmla="*/ 962108 h 2449001"/>
              <a:gd name="connsiteX18" fmla="*/ 724816 w 784764"/>
              <a:gd name="connsiteY18" fmla="*/ 1307990 h 2449001"/>
              <a:gd name="connsiteX19" fmla="*/ 414715 w 784764"/>
              <a:gd name="connsiteY19" fmla="*/ 1268233 h 2449001"/>
              <a:gd name="connsiteX20" fmla="*/ 104615 w 784764"/>
              <a:gd name="connsiteY20" fmla="*/ 1288111 h 2449001"/>
              <a:gd name="connsiteX21" fmla="*/ 124493 w 784764"/>
              <a:gd name="connsiteY21" fmla="*/ 1017766 h 2449001"/>
              <a:gd name="connsiteX22" fmla="*/ 243762 w 784764"/>
              <a:gd name="connsiteY22" fmla="*/ 0 h 2449001"/>
              <a:gd name="connsiteX0" fmla="*/ 430619 w 784764"/>
              <a:gd name="connsiteY0" fmla="*/ 1331843 h 2449001"/>
              <a:gd name="connsiteX1" fmla="*/ 541938 w 784764"/>
              <a:gd name="connsiteY1" fmla="*/ 1379551 h 2449001"/>
              <a:gd name="connsiteX2" fmla="*/ 763368 w 784764"/>
              <a:gd name="connsiteY2" fmla="*/ 1406369 h 2449001"/>
              <a:gd name="connsiteX3" fmla="*/ 625426 w 784764"/>
              <a:gd name="connsiteY3" fmla="*/ 1741335 h 2449001"/>
              <a:gd name="connsiteX4" fmla="*/ 609523 w 784764"/>
              <a:gd name="connsiteY4" fmla="*/ 2441050 h 2449001"/>
              <a:gd name="connsiteX5" fmla="*/ 319301 w 784764"/>
              <a:gd name="connsiteY5" fmla="*/ 2445025 h 2449001"/>
              <a:gd name="connsiteX6" fmla="*/ 211958 w 784764"/>
              <a:gd name="connsiteY6" fmla="*/ 1673750 h 2449001"/>
              <a:gd name="connsiteX7" fmla="*/ 207983 w 784764"/>
              <a:gd name="connsiteY7" fmla="*/ 2441050 h 2449001"/>
              <a:gd name="connsiteX8" fmla="*/ 136421 w 784764"/>
              <a:gd name="connsiteY8" fmla="*/ 2449001 h 2449001"/>
              <a:gd name="connsiteX9" fmla="*/ 5224 w 784764"/>
              <a:gd name="connsiteY9" fmla="*/ 1701579 h 2449001"/>
              <a:gd name="connsiteX10" fmla="*/ 37029 w 784764"/>
              <a:gd name="connsiteY10" fmla="*/ 1582309 h 2449001"/>
              <a:gd name="connsiteX11" fmla="*/ 76786 w 784764"/>
              <a:gd name="connsiteY11" fmla="*/ 1566407 h 2449001"/>
              <a:gd name="connsiteX12" fmla="*/ 89266 w 784764"/>
              <a:gd name="connsiteY12" fmla="*/ 1389262 h 2449001"/>
              <a:gd name="connsiteX13" fmla="*/ 339179 w 784764"/>
              <a:gd name="connsiteY13" fmla="*/ 1375575 h 2449001"/>
              <a:gd name="connsiteX14" fmla="*/ 430619 w 784764"/>
              <a:gd name="connsiteY14" fmla="*/ 1331843 h 2449001"/>
              <a:gd name="connsiteX15" fmla="*/ 243762 w 784764"/>
              <a:gd name="connsiteY15" fmla="*/ 0 h 2449001"/>
              <a:gd name="connsiteX16" fmla="*/ 557838 w 784764"/>
              <a:gd name="connsiteY16" fmla="*/ 0 h 2449001"/>
              <a:gd name="connsiteX17" fmla="*/ 689036 w 784764"/>
              <a:gd name="connsiteY17" fmla="*/ 962108 h 2449001"/>
              <a:gd name="connsiteX18" fmla="*/ 724816 w 784764"/>
              <a:gd name="connsiteY18" fmla="*/ 1307990 h 2449001"/>
              <a:gd name="connsiteX19" fmla="*/ 414715 w 784764"/>
              <a:gd name="connsiteY19" fmla="*/ 1268233 h 2449001"/>
              <a:gd name="connsiteX20" fmla="*/ 104615 w 784764"/>
              <a:gd name="connsiteY20" fmla="*/ 1288111 h 2449001"/>
              <a:gd name="connsiteX21" fmla="*/ 124493 w 784764"/>
              <a:gd name="connsiteY21" fmla="*/ 1017766 h 2449001"/>
              <a:gd name="connsiteX22" fmla="*/ 243762 w 784764"/>
              <a:gd name="connsiteY22" fmla="*/ 0 h 2449001"/>
              <a:gd name="connsiteX0" fmla="*/ 430619 w 784764"/>
              <a:gd name="connsiteY0" fmla="*/ 1331843 h 2449001"/>
              <a:gd name="connsiteX1" fmla="*/ 541938 w 784764"/>
              <a:gd name="connsiteY1" fmla="*/ 1379551 h 2449001"/>
              <a:gd name="connsiteX2" fmla="*/ 763368 w 784764"/>
              <a:gd name="connsiteY2" fmla="*/ 1406369 h 2449001"/>
              <a:gd name="connsiteX3" fmla="*/ 625426 w 784764"/>
              <a:gd name="connsiteY3" fmla="*/ 1741335 h 2449001"/>
              <a:gd name="connsiteX4" fmla="*/ 609523 w 784764"/>
              <a:gd name="connsiteY4" fmla="*/ 2441050 h 2449001"/>
              <a:gd name="connsiteX5" fmla="*/ 319301 w 784764"/>
              <a:gd name="connsiteY5" fmla="*/ 2445025 h 2449001"/>
              <a:gd name="connsiteX6" fmla="*/ 211958 w 784764"/>
              <a:gd name="connsiteY6" fmla="*/ 1673750 h 2449001"/>
              <a:gd name="connsiteX7" fmla="*/ 207983 w 784764"/>
              <a:gd name="connsiteY7" fmla="*/ 2441050 h 2449001"/>
              <a:gd name="connsiteX8" fmla="*/ 136421 w 784764"/>
              <a:gd name="connsiteY8" fmla="*/ 2449001 h 2449001"/>
              <a:gd name="connsiteX9" fmla="*/ 5224 w 784764"/>
              <a:gd name="connsiteY9" fmla="*/ 1701579 h 2449001"/>
              <a:gd name="connsiteX10" fmla="*/ 37029 w 784764"/>
              <a:gd name="connsiteY10" fmla="*/ 1582309 h 2449001"/>
              <a:gd name="connsiteX11" fmla="*/ 76786 w 784764"/>
              <a:gd name="connsiteY11" fmla="*/ 1566407 h 2449001"/>
              <a:gd name="connsiteX12" fmla="*/ 89266 w 784764"/>
              <a:gd name="connsiteY12" fmla="*/ 1389262 h 2449001"/>
              <a:gd name="connsiteX13" fmla="*/ 339179 w 784764"/>
              <a:gd name="connsiteY13" fmla="*/ 1375575 h 2449001"/>
              <a:gd name="connsiteX14" fmla="*/ 430619 w 784764"/>
              <a:gd name="connsiteY14" fmla="*/ 1331843 h 2449001"/>
              <a:gd name="connsiteX15" fmla="*/ 243762 w 784764"/>
              <a:gd name="connsiteY15" fmla="*/ 0 h 2449001"/>
              <a:gd name="connsiteX16" fmla="*/ 557838 w 784764"/>
              <a:gd name="connsiteY16" fmla="*/ 0 h 2449001"/>
              <a:gd name="connsiteX17" fmla="*/ 689036 w 784764"/>
              <a:gd name="connsiteY17" fmla="*/ 962108 h 2449001"/>
              <a:gd name="connsiteX18" fmla="*/ 724816 w 784764"/>
              <a:gd name="connsiteY18" fmla="*/ 1307990 h 2449001"/>
              <a:gd name="connsiteX19" fmla="*/ 414715 w 784764"/>
              <a:gd name="connsiteY19" fmla="*/ 1268233 h 2449001"/>
              <a:gd name="connsiteX20" fmla="*/ 104615 w 784764"/>
              <a:gd name="connsiteY20" fmla="*/ 1288111 h 2449001"/>
              <a:gd name="connsiteX21" fmla="*/ 124493 w 784764"/>
              <a:gd name="connsiteY21" fmla="*/ 1017766 h 2449001"/>
              <a:gd name="connsiteX22" fmla="*/ 243762 w 784764"/>
              <a:gd name="connsiteY22" fmla="*/ 0 h 2449001"/>
              <a:gd name="connsiteX0" fmla="*/ 430997 w 785142"/>
              <a:gd name="connsiteY0" fmla="*/ 1331843 h 2449001"/>
              <a:gd name="connsiteX1" fmla="*/ 542316 w 785142"/>
              <a:gd name="connsiteY1" fmla="*/ 1379551 h 2449001"/>
              <a:gd name="connsiteX2" fmla="*/ 763746 w 785142"/>
              <a:gd name="connsiteY2" fmla="*/ 1406369 h 2449001"/>
              <a:gd name="connsiteX3" fmla="*/ 625804 w 785142"/>
              <a:gd name="connsiteY3" fmla="*/ 1741335 h 2449001"/>
              <a:gd name="connsiteX4" fmla="*/ 609901 w 785142"/>
              <a:gd name="connsiteY4" fmla="*/ 2441050 h 2449001"/>
              <a:gd name="connsiteX5" fmla="*/ 319679 w 785142"/>
              <a:gd name="connsiteY5" fmla="*/ 2445025 h 2449001"/>
              <a:gd name="connsiteX6" fmla="*/ 212336 w 785142"/>
              <a:gd name="connsiteY6" fmla="*/ 1673750 h 2449001"/>
              <a:gd name="connsiteX7" fmla="*/ 208361 w 785142"/>
              <a:gd name="connsiteY7" fmla="*/ 2441050 h 2449001"/>
              <a:gd name="connsiteX8" fmla="*/ 136799 w 785142"/>
              <a:gd name="connsiteY8" fmla="*/ 2449001 h 2449001"/>
              <a:gd name="connsiteX9" fmla="*/ 5602 w 785142"/>
              <a:gd name="connsiteY9" fmla="*/ 1701579 h 2449001"/>
              <a:gd name="connsiteX10" fmla="*/ 37407 w 785142"/>
              <a:gd name="connsiteY10" fmla="*/ 1582309 h 2449001"/>
              <a:gd name="connsiteX11" fmla="*/ 101115 w 785142"/>
              <a:gd name="connsiteY11" fmla="*/ 1597201 h 2449001"/>
              <a:gd name="connsiteX12" fmla="*/ 89644 w 785142"/>
              <a:gd name="connsiteY12" fmla="*/ 1389262 h 2449001"/>
              <a:gd name="connsiteX13" fmla="*/ 339557 w 785142"/>
              <a:gd name="connsiteY13" fmla="*/ 1375575 h 2449001"/>
              <a:gd name="connsiteX14" fmla="*/ 430997 w 785142"/>
              <a:gd name="connsiteY14" fmla="*/ 1331843 h 2449001"/>
              <a:gd name="connsiteX15" fmla="*/ 244140 w 785142"/>
              <a:gd name="connsiteY15" fmla="*/ 0 h 2449001"/>
              <a:gd name="connsiteX16" fmla="*/ 558216 w 785142"/>
              <a:gd name="connsiteY16" fmla="*/ 0 h 2449001"/>
              <a:gd name="connsiteX17" fmla="*/ 689414 w 785142"/>
              <a:gd name="connsiteY17" fmla="*/ 962108 h 2449001"/>
              <a:gd name="connsiteX18" fmla="*/ 725194 w 785142"/>
              <a:gd name="connsiteY18" fmla="*/ 1307990 h 2449001"/>
              <a:gd name="connsiteX19" fmla="*/ 415093 w 785142"/>
              <a:gd name="connsiteY19" fmla="*/ 1268233 h 2449001"/>
              <a:gd name="connsiteX20" fmla="*/ 104993 w 785142"/>
              <a:gd name="connsiteY20" fmla="*/ 1288111 h 2449001"/>
              <a:gd name="connsiteX21" fmla="*/ 124871 w 785142"/>
              <a:gd name="connsiteY21" fmla="*/ 1017766 h 2449001"/>
              <a:gd name="connsiteX22" fmla="*/ 244140 w 785142"/>
              <a:gd name="connsiteY22" fmla="*/ 0 h 2449001"/>
              <a:gd name="connsiteX0" fmla="*/ 430997 w 785142"/>
              <a:gd name="connsiteY0" fmla="*/ 1331843 h 2449001"/>
              <a:gd name="connsiteX1" fmla="*/ 542316 w 785142"/>
              <a:gd name="connsiteY1" fmla="*/ 1379551 h 2449001"/>
              <a:gd name="connsiteX2" fmla="*/ 763746 w 785142"/>
              <a:gd name="connsiteY2" fmla="*/ 1406369 h 2449001"/>
              <a:gd name="connsiteX3" fmla="*/ 625804 w 785142"/>
              <a:gd name="connsiteY3" fmla="*/ 1741335 h 2449001"/>
              <a:gd name="connsiteX4" fmla="*/ 609901 w 785142"/>
              <a:gd name="connsiteY4" fmla="*/ 2441050 h 2449001"/>
              <a:gd name="connsiteX5" fmla="*/ 319679 w 785142"/>
              <a:gd name="connsiteY5" fmla="*/ 2445025 h 2449001"/>
              <a:gd name="connsiteX6" fmla="*/ 212336 w 785142"/>
              <a:gd name="connsiteY6" fmla="*/ 1673750 h 2449001"/>
              <a:gd name="connsiteX7" fmla="*/ 208361 w 785142"/>
              <a:gd name="connsiteY7" fmla="*/ 2441050 h 2449001"/>
              <a:gd name="connsiteX8" fmla="*/ 136799 w 785142"/>
              <a:gd name="connsiteY8" fmla="*/ 2449001 h 2449001"/>
              <a:gd name="connsiteX9" fmla="*/ 5602 w 785142"/>
              <a:gd name="connsiteY9" fmla="*/ 1701579 h 2449001"/>
              <a:gd name="connsiteX10" fmla="*/ 37407 w 785142"/>
              <a:gd name="connsiteY10" fmla="*/ 1582309 h 2449001"/>
              <a:gd name="connsiteX11" fmla="*/ 101115 w 785142"/>
              <a:gd name="connsiteY11" fmla="*/ 1597201 h 2449001"/>
              <a:gd name="connsiteX12" fmla="*/ 89644 w 785142"/>
              <a:gd name="connsiteY12" fmla="*/ 1389262 h 2449001"/>
              <a:gd name="connsiteX13" fmla="*/ 339557 w 785142"/>
              <a:gd name="connsiteY13" fmla="*/ 1375575 h 2449001"/>
              <a:gd name="connsiteX14" fmla="*/ 430997 w 785142"/>
              <a:gd name="connsiteY14" fmla="*/ 1331843 h 2449001"/>
              <a:gd name="connsiteX15" fmla="*/ 244140 w 785142"/>
              <a:gd name="connsiteY15" fmla="*/ 0 h 2449001"/>
              <a:gd name="connsiteX16" fmla="*/ 558216 w 785142"/>
              <a:gd name="connsiteY16" fmla="*/ 0 h 2449001"/>
              <a:gd name="connsiteX17" fmla="*/ 689414 w 785142"/>
              <a:gd name="connsiteY17" fmla="*/ 962108 h 2449001"/>
              <a:gd name="connsiteX18" fmla="*/ 725194 w 785142"/>
              <a:gd name="connsiteY18" fmla="*/ 1307990 h 2449001"/>
              <a:gd name="connsiteX19" fmla="*/ 415093 w 785142"/>
              <a:gd name="connsiteY19" fmla="*/ 1268233 h 2449001"/>
              <a:gd name="connsiteX20" fmla="*/ 104993 w 785142"/>
              <a:gd name="connsiteY20" fmla="*/ 1288111 h 2449001"/>
              <a:gd name="connsiteX21" fmla="*/ 124871 w 785142"/>
              <a:gd name="connsiteY21" fmla="*/ 1017766 h 2449001"/>
              <a:gd name="connsiteX22" fmla="*/ 244140 w 785142"/>
              <a:gd name="connsiteY22" fmla="*/ 0 h 2449001"/>
              <a:gd name="connsiteX0" fmla="*/ 425685 w 779830"/>
              <a:gd name="connsiteY0" fmla="*/ 1331843 h 2449001"/>
              <a:gd name="connsiteX1" fmla="*/ 537004 w 779830"/>
              <a:gd name="connsiteY1" fmla="*/ 1379551 h 2449001"/>
              <a:gd name="connsiteX2" fmla="*/ 758434 w 779830"/>
              <a:gd name="connsiteY2" fmla="*/ 1406369 h 2449001"/>
              <a:gd name="connsiteX3" fmla="*/ 620492 w 779830"/>
              <a:gd name="connsiteY3" fmla="*/ 1741335 h 2449001"/>
              <a:gd name="connsiteX4" fmla="*/ 604589 w 779830"/>
              <a:gd name="connsiteY4" fmla="*/ 2441050 h 2449001"/>
              <a:gd name="connsiteX5" fmla="*/ 314367 w 779830"/>
              <a:gd name="connsiteY5" fmla="*/ 2445025 h 2449001"/>
              <a:gd name="connsiteX6" fmla="*/ 207024 w 779830"/>
              <a:gd name="connsiteY6" fmla="*/ 1673750 h 2449001"/>
              <a:gd name="connsiteX7" fmla="*/ 203049 w 779830"/>
              <a:gd name="connsiteY7" fmla="*/ 2441050 h 2449001"/>
              <a:gd name="connsiteX8" fmla="*/ 131487 w 779830"/>
              <a:gd name="connsiteY8" fmla="*/ 2449001 h 2449001"/>
              <a:gd name="connsiteX9" fmla="*/ 290 w 779830"/>
              <a:gd name="connsiteY9" fmla="*/ 1701579 h 2449001"/>
              <a:gd name="connsiteX10" fmla="*/ 95803 w 779830"/>
              <a:gd name="connsiteY10" fmla="*/ 1597201 h 2449001"/>
              <a:gd name="connsiteX11" fmla="*/ 84332 w 779830"/>
              <a:gd name="connsiteY11" fmla="*/ 1389262 h 2449001"/>
              <a:gd name="connsiteX12" fmla="*/ 334245 w 779830"/>
              <a:gd name="connsiteY12" fmla="*/ 1375575 h 2449001"/>
              <a:gd name="connsiteX13" fmla="*/ 425685 w 779830"/>
              <a:gd name="connsiteY13" fmla="*/ 1331843 h 2449001"/>
              <a:gd name="connsiteX14" fmla="*/ 238828 w 779830"/>
              <a:gd name="connsiteY14" fmla="*/ 0 h 2449001"/>
              <a:gd name="connsiteX15" fmla="*/ 552904 w 779830"/>
              <a:gd name="connsiteY15" fmla="*/ 0 h 2449001"/>
              <a:gd name="connsiteX16" fmla="*/ 684102 w 779830"/>
              <a:gd name="connsiteY16" fmla="*/ 962108 h 2449001"/>
              <a:gd name="connsiteX17" fmla="*/ 719882 w 779830"/>
              <a:gd name="connsiteY17" fmla="*/ 1307990 h 2449001"/>
              <a:gd name="connsiteX18" fmla="*/ 409781 w 779830"/>
              <a:gd name="connsiteY18" fmla="*/ 1268233 h 2449001"/>
              <a:gd name="connsiteX19" fmla="*/ 99681 w 779830"/>
              <a:gd name="connsiteY19" fmla="*/ 1288111 h 2449001"/>
              <a:gd name="connsiteX20" fmla="*/ 119559 w 779830"/>
              <a:gd name="connsiteY20" fmla="*/ 1017766 h 2449001"/>
              <a:gd name="connsiteX21" fmla="*/ 238828 w 779830"/>
              <a:gd name="connsiteY21" fmla="*/ 0 h 2449001"/>
              <a:gd name="connsiteX0" fmla="*/ 425766 w 779911"/>
              <a:gd name="connsiteY0" fmla="*/ 1331843 h 2449001"/>
              <a:gd name="connsiteX1" fmla="*/ 537085 w 779911"/>
              <a:gd name="connsiteY1" fmla="*/ 1379551 h 2449001"/>
              <a:gd name="connsiteX2" fmla="*/ 758515 w 779911"/>
              <a:gd name="connsiteY2" fmla="*/ 1406369 h 2449001"/>
              <a:gd name="connsiteX3" fmla="*/ 620573 w 779911"/>
              <a:gd name="connsiteY3" fmla="*/ 1741335 h 2449001"/>
              <a:gd name="connsiteX4" fmla="*/ 604670 w 779911"/>
              <a:gd name="connsiteY4" fmla="*/ 2441050 h 2449001"/>
              <a:gd name="connsiteX5" fmla="*/ 314448 w 779911"/>
              <a:gd name="connsiteY5" fmla="*/ 2445025 h 2449001"/>
              <a:gd name="connsiteX6" fmla="*/ 207105 w 779911"/>
              <a:gd name="connsiteY6" fmla="*/ 1673750 h 2449001"/>
              <a:gd name="connsiteX7" fmla="*/ 203130 w 779911"/>
              <a:gd name="connsiteY7" fmla="*/ 2441050 h 2449001"/>
              <a:gd name="connsiteX8" fmla="*/ 131568 w 779911"/>
              <a:gd name="connsiteY8" fmla="*/ 2449001 h 2449001"/>
              <a:gd name="connsiteX9" fmla="*/ 371 w 779911"/>
              <a:gd name="connsiteY9" fmla="*/ 1701579 h 2449001"/>
              <a:gd name="connsiteX10" fmla="*/ 95884 w 779911"/>
              <a:gd name="connsiteY10" fmla="*/ 1597201 h 2449001"/>
              <a:gd name="connsiteX11" fmla="*/ 84413 w 779911"/>
              <a:gd name="connsiteY11" fmla="*/ 1389262 h 2449001"/>
              <a:gd name="connsiteX12" fmla="*/ 334326 w 779911"/>
              <a:gd name="connsiteY12" fmla="*/ 1375575 h 2449001"/>
              <a:gd name="connsiteX13" fmla="*/ 425766 w 779911"/>
              <a:gd name="connsiteY13" fmla="*/ 1331843 h 2449001"/>
              <a:gd name="connsiteX14" fmla="*/ 238909 w 779911"/>
              <a:gd name="connsiteY14" fmla="*/ 0 h 2449001"/>
              <a:gd name="connsiteX15" fmla="*/ 552985 w 779911"/>
              <a:gd name="connsiteY15" fmla="*/ 0 h 2449001"/>
              <a:gd name="connsiteX16" fmla="*/ 684183 w 779911"/>
              <a:gd name="connsiteY16" fmla="*/ 962108 h 2449001"/>
              <a:gd name="connsiteX17" fmla="*/ 719963 w 779911"/>
              <a:gd name="connsiteY17" fmla="*/ 1307990 h 2449001"/>
              <a:gd name="connsiteX18" fmla="*/ 409862 w 779911"/>
              <a:gd name="connsiteY18" fmla="*/ 1268233 h 2449001"/>
              <a:gd name="connsiteX19" fmla="*/ 99762 w 779911"/>
              <a:gd name="connsiteY19" fmla="*/ 1288111 h 2449001"/>
              <a:gd name="connsiteX20" fmla="*/ 119640 w 779911"/>
              <a:gd name="connsiteY20" fmla="*/ 1017766 h 2449001"/>
              <a:gd name="connsiteX21" fmla="*/ 238909 w 779911"/>
              <a:gd name="connsiteY21" fmla="*/ 0 h 2449001"/>
              <a:gd name="connsiteX0" fmla="*/ 425696 w 779841"/>
              <a:gd name="connsiteY0" fmla="*/ 1331843 h 2449001"/>
              <a:gd name="connsiteX1" fmla="*/ 537015 w 779841"/>
              <a:gd name="connsiteY1" fmla="*/ 1379551 h 2449001"/>
              <a:gd name="connsiteX2" fmla="*/ 758445 w 779841"/>
              <a:gd name="connsiteY2" fmla="*/ 1406369 h 2449001"/>
              <a:gd name="connsiteX3" fmla="*/ 620503 w 779841"/>
              <a:gd name="connsiteY3" fmla="*/ 1741335 h 2449001"/>
              <a:gd name="connsiteX4" fmla="*/ 604600 w 779841"/>
              <a:gd name="connsiteY4" fmla="*/ 2441050 h 2449001"/>
              <a:gd name="connsiteX5" fmla="*/ 314378 w 779841"/>
              <a:gd name="connsiteY5" fmla="*/ 2445025 h 2449001"/>
              <a:gd name="connsiteX6" fmla="*/ 207035 w 779841"/>
              <a:gd name="connsiteY6" fmla="*/ 1673750 h 2449001"/>
              <a:gd name="connsiteX7" fmla="*/ 203060 w 779841"/>
              <a:gd name="connsiteY7" fmla="*/ 2441050 h 2449001"/>
              <a:gd name="connsiteX8" fmla="*/ 131498 w 779841"/>
              <a:gd name="connsiteY8" fmla="*/ 2449001 h 2449001"/>
              <a:gd name="connsiteX9" fmla="*/ 301 w 779841"/>
              <a:gd name="connsiteY9" fmla="*/ 1701579 h 2449001"/>
              <a:gd name="connsiteX10" fmla="*/ 95814 w 779841"/>
              <a:gd name="connsiteY10" fmla="*/ 1597201 h 2449001"/>
              <a:gd name="connsiteX11" fmla="*/ 84343 w 779841"/>
              <a:gd name="connsiteY11" fmla="*/ 1389262 h 2449001"/>
              <a:gd name="connsiteX12" fmla="*/ 334256 w 779841"/>
              <a:gd name="connsiteY12" fmla="*/ 1375575 h 2449001"/>
              <a:gd name="connsiteX13" fmla="*/ 425696 w 779841"/>
              <a:gd name="connsiteY13" fmla="*/ 1331843 h 2449001"/>
              <a:gd name="connsiteX14" fmla="*/ 238839 w 779841"/>
              <a:gd name="connsiteY14" fmla="*/ 0 h 2449001"/>
              <a:gd name="connsiteX15" fmla="*/ 552915 w 779841"/>
              <a:gd name="connsiteY15" fmla="*/ 0 h 2449001"/>
              <a:gd name="connsiteX16" fmla="*/ 684113 w 779841"/>
              <a:gd name="connsiteY16" fmla="*/ 962108 h 2449001"/>
              <a:gd name="connsiteX17" fmla="*/ 719893 w 779841"/>
              <a:gd name="connsiteY17" fmla="*/ 1307990 h 2449001"/>
              <a:gd name="connsiteX18" fmla="*/ 409792 w 779841"/>
              <a:gd name="connsiteY18" fmla="*/ 1268233 h 2449001"/>
              <a:gd name="connsiteX19" fmla="*/ 99692 w 779841"/>
              <a:gd name="connsiteY19" fmla="*/ 1288111 h 2449001"/>
              <a:gd name="connsiteX20" fmla="*/ 119570 w 779841"/>
              <a:gd name="connsiteY20" fmla="*/ 1017766 h 2449001"/>
              <a:gd name="connsiteX21" fmla="*/ 238839 w 779841"/>
              <a:gd name="connsiteY21" fmla="*/ 0 h 2449001"/>
              <a:gd name="connsiteX0" fmla="*/ 425696 w 794874"/>
              <a:gd name="connsiteY0" fmla="*/ 1331843 h 2449001"/>
              <a:gd name="connsiteX1" fmla="*/ 537015 w 794874"/>
              <a:gd name="connsiteY1" fmla="*/ 1379551 h 2449001"/>
              <a:gd name="connsiteX2" fmla="*/ 758445 w 794874"/>
              <a:gd name="connsiteY2" fmla="*/ 1406369 h 2449001"/>
              <a:gd name="connsiteX3" fmla="*/ 620503 w 794874"/>
              <a:gd name="connsiteY3" fmla="*/ 1741335 h 2449001"/>
              <a:gd name="connsiteX4" fmla="*/ 604600 w 794874"/>
              <a:gd name="connsiteY4" fmla="*/ 2441050 h 2449001"/>
              <a:gd name="connsiteX5" fmla="*/ 314378 w 794874"/>
              <a:gd name="connsiteY5" fmla="*/ 2445025 h 2449001"/>
              <a:gd name="connsiteX6" fmla="*/ 207035 w 794874"/>
              <a:gd name="connsiteY6" fmla="*/ 1673750 h 2449001"/>
              <a:gd name="connsiteX7" fmla="*/ 203060 w 794874"/>
              <a:gd name="connsiteY7" fmla="*/ 2441050 h 2449001"/>
              <a:gd name="connsiteX8" fmla="*/ 131498 w 794874"/>
              <a:gd name="connsiteY8" fmla="*/ 2449001 h 2449001"/>
              <a:gd name="connsiteX9" fmla="*/ 301 w 794874"/>
              <a:gd name="connsiteY9" fmla="*/ 1701579 h 2449001"/>
              <a:gd name="connsiteX10" fmla="*/ 95814 w 794874"/>
              <a:gd name="connsiteY10" fmla="*/ 1597201 h 2449001"/>
              <a:gd name="connsiteX11" fmla="*/ 84343 w 794874"/>
              <a:gd name="connsiteY11" fmla="*/ 1389262 h 2449001"/>
              <a:gd name="connsiteX12" fmla="*/ 334256 w 794874"/>
              <a:gd name="connsiteY12" fmla="*/ 1375575 h 2449001"/>
              <a:gd name="connsiteX13" fmla="*/ 425696 w 794874"/>
              <a:gd name="connsiteY13" fmla="*/ 1331843 h 2449001"/>
              <a:gd name="connsiteX14" fmla="*/ 238839 w 794874"/>
              <a:gd name="connsiteY14" fmla="*/ 0 h 2449001"/>
              <a:gd name="connsiteX15" fmla="*/ 552915 w 794874"/>
              <a:gd name="connsiteY15" fmla="*/ 0 h 2449001"/>
              <a:gd name="connsiteX16" fmla="*/ 684113 w 794874"/>
              <a:gd name="connsiteY16" fmla="*/ 962108 h 2449001"/>
              <a:gd name="connsiteX17" fmla="*/ 719893 w 794874"/>
              <a:gd name="connsiteY17" fmla="*/ 1307990 h 2449001"/>
              <a:gd name="connsiteX18" fmla="*/ 409792 w 794874"/>
              <a:gd name="connsiteY18" fmla="*/ 1268233 h 2449001"/>
              <a:gd name="connsiteX19" fmla="*/ 99692 w 794874"/>
              <a:gd name="connsiteY19" fmla="*/ 1288111 h 2449001"/>
              <a:gd name="connsiteX20" fmla="*/ 119570 w 794874"/>
              <a:gd name="connsiteY20" fmla="*/ 1017766 h 2449001"/>
              <a:gd name="connsiteX21" fmla="*/ 238839 w 794874"/>
              <a:gd name="connsiteY21" fmla="*/ 0 h 2449001"/>
              <a:gd name="connsiteX0" fmla="*/ 425696 w 794874"/>
              <a:gd name="connsiteY0" fmla="*/ 1331843 h 2449001"/>
              <a:gd name="connsiteX1" fmla="*/ 537015 w 794874"/>
              <a:gd name="connsiteY1" fmla="*/ 1379551 h 2449001"/>
              <a:gd name="connsiteX2" fmla="*/ 758445 w 794874"/>
              <a:gd name="connsiteY2" fmla="*/ 1406369 h 2449001"/>
              <a:gd name="connsiteX3" fmla="*/ 620503 w 794874"/>
              <a:gd name="connsiteY3" fmla="*/ 1741335 h 2449001"/>
              <a:gd name="connsiteX4" fmla="*/ 604600 w 794874"/>
              <a:gd name="connsiteY4" fmla="*/ 2441050 h 2449001"/>
              <a:gd name="connsiteX5" fmla="*/ 314378 w 794874"/>
              <a:gd name="connsiteY5" fmla="*/ 2445025 h 2449001"/>
              <a:gd name="connsiteX6" fmla="*/ 207035 w 794874"/>
              <a:gd name="connsiteY6" fmla="*/ 1673750 h 2449001"/>
              <a:gd name="connsiteX7" fmla="*/ 203060 w 794874"/>
              <a:gd name="connsiteY7" fmla="*/ 2441050 h 2449001"/>
              <a:gd name="connsiteX8" fmla="*/ 131498 w 794874"/>
              <a:gd name="connsiteY8" fmla="*/ 2449001 h 2449001"/>
              <a:gd name="connsiteX9" fmla="*/ 301 w 794874"/>
              <a:gd name="connsiteY9" fmla="*/ 1701579 h 2449001"/>
              <a:gd name="connsiteX10" fmla="*/ 95814 w 794874"/>
              <a:gd name="connsiteY10" fmla="*/ 1597201 h 2449001"/>
              <a:gd name="connsiteX11" fmla="*/ 84343 w 794874"/>
              <a:gd name="connsiteY11" fmla="*/ 1389262 h 2449001"/>
              <a:gd name="connsiteX12" fmla="*/ 334256 w 794874"/>
              <a:gd name="connsiteY12" fmla="*/ 1375575 h 2449001"/>
              <a:gd name="connsiteX13" fmla="*/ 425696 w 794874"/>
              <a:gd name="connsiteY13" fmla="*/ 1331843 h 2449001"/>
              <a:gd name="connsiteX14" fmla="*/ 238839 w 794874"/>
              <a:gd name="connsiteY14" fmla="*/ 0 h 2449001"/>
              <a:gd name="connsiteX15" fmla="*/ 552915 w 794874"/>
              <a:gd name="connsiteY15" fmla="*/ 0 h 2449001"/>
              <a:gd name="connsiteX16" fmla="*/ 684113 w 794874"/>
              <a:gd name="connsiteY16" fmla="*/ 962108 h 2449001"/>
              <a:gd name="connsiteX17" fmla="*/ 719893 w 794874"/>
              <a:gd name="connsiteY17" fmla="*/ 1307990 h 2449001"/>
              <a:gd name="connsiteX18" fmla="*/ 409792 w 794874"/>
              <a:gd name="connsiteY18" fmla="*/ 1268233 h 2449001"/>
              <a:gd name="connsiteX19" fmla="*/ 99692 w 794874"/>
              <a:gd name="connsiteY19" fmla="*/ 1288111 h 2449001"/>
              <a:gd name="connsiteX20" fmla="*/ 133257 w 794874"/>
              <a:gd name="connsiteY20" fmla="*/ 945913 h 2449001"/>
              <a:gd name="connsiteX21" fmla="*/ 238839 w 794874"/>
              <a:gd name="connsiteY21" fmla="*/ 0 h 2449001"/>
              <a:gd name="connsiteX0" fmla="*/ 425696 w 794874"/>
              <a:gd name="connsiteY0" fmla="*/ 1331843 h 2449001"/>
              <a:gd name="connsiteX1" fmla="*/ 537015 w 794874"/>
              <a:gd name="connsiteY1" fmla="*/ 1379551 h 2449001"/>
              <a:gd name="connsiteX2" fmla="*/ 758445 w 794874"/>
              <a:gd name="connsiteY2" fmla="*/ 1406369 h 2449001"/>
              <a:gd name="connsiteX3" fmla="*/ 620503 w 794874"/>
              <a:gd name="connsiteY3" fmla="*/ 1741335 h 2449001"/>
              <a:gd name="connsiteX4" fmla="*/ 604600 w 794874"/>
              <a:gd name="connsiteY4" fmla="*/ 2441050 h 2449001"/>
              <a:gd name="connsiteX5" fmla="*/ 314378 w 794874"/>
              <a:gd name="connsiteY5" fmla="*/ 2445025 h 2449001"/>
              <a:gd name="connsiteX6" fmla="*/ 207035 w 794874"/>
              <a:gd name="connsiteY6" fmla="*/ 1673750 h 2449001"/>
              <a:gd name="connsiteX7" fmla="*/ 203060 w 794874"/>
              <a:gd name="connsiteY7" fmla="*/ 2441050 h 2449001"/>
              <a:gd name="connsiteX8" fmla="*/ 131498 w 794874"/>
              <a:gd name="connsiteY8" fmla="*/ 2449001 h 2449001"/>
              <a:gd name="connsiteX9" fmla="*/ 301 w 794874"/>
              <a:gd name="connsiteY9" fmla="*/ 1701579 h 2449001"/>
              <a:gd name="connsiteX10" fmla="*/ 95814 w 794874"/>
              <a:gd name="connsiteY10" fmla="*/ 1597201 h 2449001"/>
              <a:gd name="connsiteX11" fmla="*/ 84343 w 794874"/>
              <a:gd name="connsiteY11" fmla="*/ 1389262 h 2449001"/>
              <a:gd name="connsiteX12" fmla="*/ 334256 w 794874"/>
              <a:gd name="connsiteY12" fmla="*/ 1375575 h 2449001"/>
              <a:gd name="connsiteX13" fmla="*/ 425696 w 794874"/>
              <a:gd name="connsiteY13" fmla="*/ 1331843 h 2449001"/>
              <a:gd name="connsiteX14" fmla="*/ 238839 w 794874"/>
              <a:gd name="connsiteY14" fmla="*/ 0 h 2449001"/>
              <a:gd name="connsiteX15" fmla="*/ 552915 w 794874"/>
              <a:gd name="connsiteY15" fmla="*/ 0 h 2449001"/>
              <a:gd name="connsiteX16" fmla="*/ 684113 w 794874"/>
              <a:gd name="connsiteY16" fmla="*/ 962108 h 2449001"/>
              <a:gd name="connsiteX17" fmla="*/ 719893 w 794874"/>
              <a:gd name="connsiteY17" fmla="*/ 1307990 h 2449001"/>
              <a:gd name="connsiteX18" fmla="*/ 409792 w 794874"/>
              <a:gd name="connsiteY18" fmla="*/ 1268233 h 2449001"/>
              <a:gd name="connsiteX19" fmla="*/ 99692 w 794874"/>
              <a:gd name="connsiteY19" fmla="*/ 1288111 h 2449001"/>
              <a:gd name="connsiteX20" fmla="*/ 133257 w 794874"/>
              <a:gd name="connsiteY20" fmla="*/ 945913 h 2449001"/>
              <a:gd name="connsiteX21" fmla="*/ 238839 w 794874"/>
              <a:gd name="connsiteY21" fmla="*/ 0 h 2449001"/>
              <a:gd name="connsiteX0" fmla="*/ 425696 w 794874"/>
              <a:gd name="connsiteY0" fmla="*/ 1331843 h 2449001"/>
              <a:gd name="connsiteX1" fmla="*/ 537015 w 794874"/>
              <a:gd name="connsiteY1" fmla="*/ 1379551 h 2449001"/>
              <a:gd name="connsiteX2" fmla="*/ 758445 w 794874"/>
              <a:gd name="connsiteY2" fmla="*/ 1406369 h 2449001"/>
              <a:gd name="connsiteX3" fmla="*/ 620503 w 794874"/>
              <a:gd name="connsiteY3" fmla="*/ 1741335 h 2449001"/>
              <a:gd name="connsiteX4" fmla="*/ 604600 w 794874"/>
              <a:gd name="connsiteY4" fmla="*/ 2441050 h 2449001"/>
              <a:gd name="connsiteX5" fmla="*/ 314378 w 794874"/>
              <a:gd name="connsiteY5" fmla="*/ 2445025 h 2449001"/>
              <a:gd name="connsiteX6" fmla="*/ 207035 w 794874"/>
              <a:gd name="connsiteY6" fmla="*/ 1673750 h 2449001"/>
              <a:gd name="connsiteX7" fmla="*/ 203060 w 794874"/>
              <a:gd name="connsiteY7" fmla="*/ 2441050 h 2449001"/>
              <a:gd name="connsiteX8" fmla="*/ 131498 w 794874"/>
              <a:gd name="connsiteY8" fmla="*/ 2449001 h 2449001"/>
              <a:gd name="connsiteX9" fmla="*/ 301 w 794874"/>
              <a:gd name="connsiteY9" fmla="*/ 1701579 h 2449001"/>
              <a:gd name="connsiteX10" fmla="*/ 95814 w 794874"/>
              <a:gd name="connsiteY10" fmla="*/ 1597201 h 2449001"/>
              <a:gd name="connsiteX11" fmla="*/ 84343 w 794874"/>
              <a:gd name="connsiteY11" fmla="*/ 1389262 h 2449001"/>
              <a:gd name="connsiteX12" fmla="*/ 334256 w 794874"/>
              <a:gd name="connsiteY12" fmla="*/ 1375575 h 2449001"/>
              <a:gd name="connsiteX13" fmla="*/ 425696 w 794874"/>
              <a:gd name="connsiteY13" fmla="*/ 1331843 h 2449001"/>
              <a:gd name="connsiteX14" fmla="*/ 218310 w 794874"/>
              <a:gd name="connsiteY14" fmla="*/ 0 h 2449001"/>
              <a:gd name="connsiteX15" fmla="*/ 552915 w 794874"/>
              <a:gd name="connsiteY15" fmla="*/ 0 h 2449001"/>
              <a:gd name="connsiteX16" fmla="*/ 684113 w 794874"/>
              <a:gd name="connsiteY16" fmla="*/ 962108 h 2449001"/>
              <a:gd name="connsiteX17" fmla="*/ 719893 w 794874"/>
              <a:gd name="connsiteY17" fmla="*/ 1307990 h 2449001"/>
              <a:gd name="connsiteX18" fmla="*/ 409792 w 794874"/>
              <a:gd name="connsiteY18" fmla="*/ 1268233 h 2449001"/>
              <a:gd name="connsiteX19" fmla="*/ 99692 w 794874"/>
              <a:gd name="connsiteY19" fmla="*/ 1288111 h 2449001"/>
              <a:gd name="connsiteX20" fmla="*/ 133257 w 794874"/>
              <a:gd name="connsiteY20" fmla="*/ 945913 h 2449001"/>
              <a:gd name="connsiteX21" fmla="*/ 218310 w 794874"/>
              <a:gd name="connsiteY21" fmla="*/ 0 h 2449001"/>
              <a:gd name="connsiteX0" fmla="*/ 425696 w 794874"/>
              <a:gd name="connsiteY0" fmla="*/ 1331843 h 2449001"/>
              <a:gd name="connsiteX1" fmla="*/ 537015 w 794874"/>
              <a:gd name="connsiteY1" fmla="*/ 1379551 h 2449001"/>
              <a:gd name="connsiteX2" fmla="*/ 758445 w 794874"/>
              <a:gd name="connsiteY2" fmla="*/ 1406369 h 2449001"/>
              <a:gd name="connsiteX3" fmla="*/ 620503 w 794874"/>
              <a:gd name="connsiteY3" fmla="*/ 1741335 h 2449001"/>
              <a:gd name="connsiteX4" fmla="*/ 604600 w 794874"/>
              <a:gd name="connsiteY4" fmla="*/ 2441050 h 2449001"/>
              <a:gd name="connsiteX5" fmla="*/ 314378 w 794874"/>
              <a:gd name="connsiteY5" fmla="*/ 2445025 h 2449001"/>
              <a:gd name="connsiteX6" fmla="*/ 207035 w 794874"/>
              <a:gd name="connsiteY6" fmla="*/ 1673750 h 2449001"/>
              <a:gd name="connsiteX7" fmla="*/ 203060 w 794874"/>
              <a:gd name="connsiteY7" fmla="*/ 2441050 h 2449001"/>
              <a:gd name="connsiteX8" fmla="*/ 131498 w 794874"/>
              <a:gd name="connsiteY8" fmla="*/ 2449001 h 2449001"/>
              <a:gd name="connsiteX9" fmla="*/ 301 w 794874"/>
              <a:gd name="connsiteY9" fmla="*/ 1701579 h 2449001"/>
              <a:gd name="connsiteX10" fmla="*/ 95814 w 794874"/>
              <a:gd name="connsiteY10" fmla="*/ 1597201 h 2449001"/>
              <a:gd name="connsiteX11" fmla="*/ 84343 w 794874"/>
              <a:gd name="connsiteY11" fmla="*/ 1389262 h 2449001"/>
              <a:gd name="connsiteX12" fmla="*/ 334256 w 794874"/>
              <a:gd name="connsiteY12" fmla="*/ 1375575 h 2449001"/>
              <a:gd name="connsiteX13" fmla="*/ 425696 w 794874"/>
              <a:gd name="connsiteY13" fmla="*/ 1331843 h 2449001"/>
              <a:gd name="connsiteX14" fmla="*/ 218310 w 794874"/>
              <a:gd name="connsiteY14" fmla="*/ 0 h 2449001"/>
              <a:gd name="connsiteX15" fmla="*/ 570023 w 794874"/>
              <a:gd name="connsiteY15" fmla="*/ 3422 h 2449001"/>
              <a:gd name="connsiteX16" fmla="*/ 684113 w 794874"/>
              <a:gd name="connsiteY16" fmla="*/ 962108 h 2449001"/>
              <a:gd name="connsiteX17" fmla="*/ 719893 w 794874"/>
              <a:gd name="connsiteY17" fmla="*/ 1307990 h 2449001"/>
              <a:gd name="connsiteX18" fmla="*/ 409792 w 794874"/>
              <a:gd name="connsiteY18" fmla="*/ 1268233 h 2449001"/>
              <a:gd name="connsiteX19" fmla="*/ 99692 w 794874"/>
              <a:gd name="connsiteY19" fmla="*/ 1288111 h 2449001"/>
              <a:gd name="connsiteX20" fmla="*/ 133257 w 794874"/>
              <a:gd name="connsiteY20" fmla="*/ 945913 h 2449001"/>
              <a:gd name="connsiteX21" fmla="*/ 218310 w 794874"/>
              <a:gd name="connsiteY21" fmla="*/ 0 h 2449001"/>
              <a:gd name="connsiteX0" fmla="*/ 425696 w 794874"/>
              <a:gd name="connsiteY0" fmla="*/ 1331843 h 2449001"/>
              <a:gd name="connsiteX1" fmla="*/ 537015 w 794874"/>
              <a:gd name="connsiteY1" fmla="*/ 1379551 h 2449001"/>
              <a:gd name="connsiteX2" fmla="*/ 758445 w 794874"/>
              <a:gd name="connsiteY2" fmla="*/ 1406369 h 2449001"/>
              <a:gd name="connsiteX3" fmla="*/ 620503 w 794874"/>
              <a:gd name="connsiteY3" fmla="*/ 1741335 h 2449001"/>
              <a:gd name="connsiteX4" fmla="*/ 604600 w 794874"/>
              <a:gd name="connsiteY4" fmla="*/ 2441050 h 2449001"/>
              <a:gd name="connsiteX5" fmla="*/ 314378 w 794874"/>
              <a:gd name="connsiteY5" fmla="*/ 2445025 h 2449001"/>
              <a:gd name="connsiteX6" fmla="*/ 207035 w 794874"/>
              <a:gd name="connsiteY6" fmla="*/ 1673750 h 2449001"/>
              <a:gd name="connsiteX7" fmla="*/ 203060 w 794874"/>
              <a:gd name="connsiteY7" fmla="*/ 2441050 h 2449001"/>
              <a:gd name="connsiteX8" fmla="*/ 131498 w 794874"/>
              <a:gd name="connsiteY8" fmla="*/ 2449001 h 2449001"/>
              <a:gd name="connsiteX9" fmla="*/ 301 w 794874"/>
              <a:gd name="connsiteY9" fmla="*/ 1701579 h 2449001"/>
              <a:gd name="connsiteX10" fmla="*/ 95814 w 794874"/>
              <a:gd name="connsiteY10" fmla="*/ 1597201 h 2449001"/>
              <a:gd name="connsiteX11" fmla="*/ 84343 w 794874"/>
              <a:gd name="connsiteY11" fmla="*/ 1389262 h 2449001"/>
              <a:gd name="connsiteX12" fmla="*/ 334256 w 794874"/>
              <a:gd name="connsiteY12" fmla="*/ 1375575 h 2449001"/>
              <a:gd name="connsiteX13" fmla="*/ 425696 w 794874"/>
              <a:gd name="connsiteY13" fmla="*/ 1331843 h 2449001"/>
              <a:gd name="connsiteX14" fmla="*/ 218310 w 794874"/>
              <a:gd name="connsiteY14" fmla="*/ 0 h 2449001"/>
              <a:gd name="connsiteX15" fmla="*/ 570023 w 794874"/>
              <a:gd name="connsiteY15" fmla="*/ 3422 h 2449001"/>
              <a:gd name="connsiteX16" fmla="*/ 684113 w 794874"/>
              <a:gd name="connsiteY16" fmla="*/ 962108 h 2449001"/>
              <a:gd name="connsiteX17" fmla="*/ 719893 w 794874"/>
              <a:gd name="connsiteY17" fmla="*/ 1307990 h 2449001"/>
              <a:gd name="connsiteX18" fmla="*/ 409792 w 794874"/>
              <a:gd name="connsiteY18" fmla="*/ 1268233 h 2449001"/>
              <a:gd name="connsiteX19" fmla="*/ 99692 w 794874"/>
              <a:gd name="connsiteY19" fmla="*/ 1288111 h 2449001"/>
              <a:gd name="connsiteX20" fmla="*/ 133257 w 794874"/>
              <a:gd name="connsiteY20" fmla="*/ 945913 h 2449001"/>
              <a:gd name="connsiteX21" fmla="*/ 218310 w 794874"/>
              <a:gd name="connsiteY21" fmla="*/ 0 h 2449001"/>
              <a:gd name="connsiteX0" fmla="*/ 425696 w 794874"/>
              <a:gd name="connsiteY0" fmla="*/ 1331843 h 2449001"/>
              <a:gd name="connsiteX1" fmla="*/ 537015 w 794874"/>
              <a:gd name="connsiteY1" fmla="*/ 1379551 h 2449001"/>
              <a:gd name="connsiteX2" fmla="*/ 758445 w 794874"/>
              <a:gd name="connsiteY2" fmla="*/ 1406369 h 2449001"/>
              <a:gd name="connsiteX3" fmla="*/ 620503 w 794874"/>
              <a:gd name="connsiteY3" fmla="*/ 1741335 h 2449001"/>
              <a:gd name="connsiteX4" fmla="*/ 604600 w 794874"/>
              <a:gd name="connsiteY4" fmla="*/ 2441050 h 2449001"/>
              <a:gd name="connsiteX5" fmla="*/ 314378 w 794874"/>
              <a:gd name="connsiteY5" fmla="*/ 2445025 h 2449001"/>
              <a:gd name="connsiteX6" fmla="*/ 207035 w 794874"/>
              <a:gd name="connsiteY6" fmla="*/ 1673750 h 2449001"/>
              <a:gd name="connsiteX7" fmla="*/ 203060 w 794874"/>
              <a:gd name="connsiteY7" fmla="*/ 2441050 h 2449001"/>
              <a:gd name="connsiteX8" fmla="*/ 131498 w 794874"/>
              <a:gd name="connsiteY8" fmla="*/ 2449001 h 2449001"/>
              <a:gd name="connsiteX9" fmla="*/ 301 w 794874"/>
              <a:gd name="connsiteY9" fmla="*/ 1701579 h 2449001"/>
              <a:gd name="connsiteX10" fmla="*/ 95814 w 794874"/>
              <a:gd name="connsiteY10" fmla="*/ 1597201 h 2449001"/>
              <a:gd name="connsiteX11" fmla="*/ 84343 w 794874"/>
              <a:gd name="connsiteY11" fmla="*/ 1389262 h 2449001"/>
              <a:gd name="connsiteX12" fmla="*/ 334256 w 794874"/>
              <a:gd name="connsiteY12" fmla="*/ 1375575 h 2449001"/>
              <a:gd name="connsiteX13" fmla="*/ 425696 w 794874"/>
              <a:gd name="connsiteY13" fmla="*/ 1331843 h 2449001"/>
              <a:gd name="connsiteX14" fmla="*/ 218310 w 794874"/>
              <a:gd name="connsiteY14" fmla="*/ 0 h 2449001"/>
              <a:gd name="connsiteX15" fmla="*/ 570023 w 794874"/>
              <a:gd name="connsiteY15" fmla="*/ 3422 h 2449001"/>
              <a:gd name="connsiteX16" fmla="*/ 684113 w 794874"/>
              <a:gd name="connsiteY16" fmla="*/ 962108 h 2449001"/>
              <a:gd name="connsiteX17" fmla="*/ 719893 w 794874"/>
              <a:gd name="connsiteY17" fmla="*/ 1307990 h 2449001"/>
              <a:gd name="connsiteX18" fmla="*/ 409792 w 794874"/>
              <a:gd name="connsiteY18" fmla="*/ 1268233 h 2449001"/>
              <a:gd name="connsiteX19" fmla="*/ 99692 w 794874"/>
              <a:gd name="connsiteY19" fmla="*/ 1288111 h 2449001"/>
              <a:gd name="connsiteX20" fmla="*/ 133257 w 794874"/>
              <a:gd name="connsiteY20" fmla="*/ 945913 h 2449001"/>
              <a:gd name="connsiteX21" fmla="*/ 218310 w 794874"/>
              <a:gd name="connsiteY21" fmla="*/ 0 h 2449001"/>
              <a:gd name="connsiteX0" fmla="*/ 425696 w 791314"/>
              <a:gd name="connsiteY0" fmla="*/ 1331843 h 2449001"/>
              <a:gd name="connsiteX1" fmla="*/ 537015 w 791314"/>
              <a:gd name="connsiteY1" fmla="*/ 1379551 h 2449001"/>
              <a:gd name="connsiteX2" fmla="*/ 758445 w 791314"/>
              <a:gd name="connsiteY2" fmla="*/ 1406369 h 2449001"/>
              <a:gd name="connsiteX3" fmla="*/ 620503 w 791314"/>
              <a:gd name="connsiteY3" fmla="*/ 1741335 h 2449001"/>
              <a:gd name="connsiteX4" fmla="*/ 604600 w 791314"/>
              <a:gd name="connsiteY4" fmla="*/ 2441050 h 2449001"/>
              <a:gd name="connsiteX5" fmla="*/ 314378 w 791314"/>
              <a:gd name="connsiteY5" fmla="*/ 2445025 h 2449001"/>
              <a:gd name="connsiteX6" fmla="*/ 207035 w 791314"/>
              <a:gd name="connsiteY6" fmla="*/ 1673750 h 2449001"/>
              <a:gd name="connsiteX7" fmla="*/ 203060 w 791314"/>
              <a:gd name="connsiteY7" fmla="*/ 2441050 h 2449001"/>
              <a:gd name="connsiteX8" fmla="*/ 131498 w 791314"/>
              <a:gd name="connsiteY8" fmla="*/ 2449001 h 2449001"/>
              <a:gd name="connsiteX9" fmla="*/ 301 w 791314"/>
              <a:gd name="connsiteY9" fmla="*/ 1701579 h 2449001"/>
              <a:gd name="connsiteX10" fmla="*/ 95814 w 791314"/>
              <a:gd name="connsiteY10" fmla="*/ 1597201 h 2449001"/>
              <a:gd name="connsiteX11" fmla="*/ 84343 w 791314"/>
              <a:gd name="connsiteY11" fmla="*/ 1389262 h 2449001"/>
              <a:gd name="connsiteX12" fmla="*/ 334256 w 791314"/>
              <a:gd name="connsiteY12" fmla="*/ 1375575 h 2449001"/>
              <a:gd name="connsiteX13" fmla="*/ 425696 w 791314"/>
              <a:gd name="connsiteY13" fmla="*/ 1331843 h 2449001"/>
              <a:gd name="connsiteX14" fmla="*/ 218310 w 791314"/>
              <a:gd name="connsiteY14" fmla="*/ 0 h 2449001"/>
              <a:gd name="connsiteX15" fmla="*/ 570023 w 791314"/>
              <a:gd name="connsiteY15" fmla="*/ 3422 h 2449001"/>
              <a:gd name="connsiteX16" fmla="*/ 677271 w 791314"/>
              <a:gd name="connsiteY16" fmla="*/ 938156 h 2449001"/>
              <a:gd name="connsiteX17" fmla="*/ 719893 w 791314"/>
              <a:gd name="connsiteY17" fmla="*/ 1307990 h 2449001"/>
              <a:gd name="connsiteX18" fmla="*/ 409792 w 791314"/>
              <a:gd name="connsiteY18" fmla="*/ 1268233 h 2449001"/>
              <a:gd name="connsiteX19" fmla="*/ 99692 w 791314"/>
              <a:gd name="connsiteY19" fmla="*/ 1288111 h 2449001"/>
              <a:gd name="connsiteX20" fmla="*/ 133257 w 791314"/>
              <a:gd name="connsiteY20" fmla="*/ 945913 h 2449001"/>
              <a:gd name="connsiteX21" fmla="*/ 218310 w 791314"/>
              <a:gd name="connsiteY21" fmla="*/ 0 h 2449001"/>
              <a:gd name="connsiteX0" fmla="*/ 425696 w 791740"/>
              <a:gd name="connsiteY0" fmla="*/ 1331843 h 2449001"/>
              <a:gd name="connsiteX1" fmla="*/ 537015 w 791740"/>
              <a:gd name="connsiteY1" fmla="*/ 1379551 h 2449001"/>
              <a:gd name="connsiteX2" fmla="*/ 775553 w 791740"/>
              <a:gd name="connsiteY2" fmla="*/ 1406369 h 2449001"/>
              <a:gd name="connsiteX3" fmla="*/ 620503 w 791740"/>
              <a:gd name="connsiteY3" fmla="*/ 1741335 h 2449001"/>
              <a:gd name="connsiteX4" fmla="*/ 604600 w 791740"/>
              <a:gd name="connsiteY4" fmla="*/ 2441050 h 2449001"/>
              <a:gd name="connsiteX5" fmla="*/ 314378 w 791740"/>
              <a:gd name="connsiteY5" fmla="*/ 2445025 h 2449001"/>
              <a:gd name="connsiteX6" fmla="*/ 207035 w 791740"/>
              <a:gd name="connsiteY6" fmla="*/ 1673750 h 2449001"/>
              <a:gd name="connsiteX7" fmla="*/ 203060 w 791740"/>
              <a:gd name="connsiteY7" fmla="*/ 2441050 h 2449001"/>
              <a:gd name="connsiteX8" fmla="*/ 131498 w 791740"/>
              <a:gd name="connsiteY8" fmla="*/ 2449001 h 2449001"/>
              <a:gd name="connsiteX9" fmla="*/ 301 w 791740"/>
              <a:gd name="connsiteY9" fmla="*/ 1701579 h 2449001"/>
              <a:gd name="connsiteX10" fmla="*/ 95814 w 791740"/>
              <a:gd name="connsiteY10" fmla="*/ 1597201 h 2449001"/>
              <a:gd name="connsiteX11" fmla="*/ 84343 w 791740"/>
              <a:gd name="connsiteY11" fmla="*/ 1389262 h 2449001"/>
              <a:gd name="connsiteX12" fmla="*/ 334256 w 791740"/>
              <a:gd name="connsiteY12" fmla="*/ 1375575 h 2449001"/>
              <a:gd name="connsiteX13" fmla="*/ 425696 w 791740"/>
              <a:gd name="connsiteY13" fmla="*/ 1331843 h 2449001"/>
              <a:gd name="connsiteX14" fmla="*/ 218310 w 791740"/>
              <a:gd name="connsiteY14" fmla="*/ 0 h 2449001"/>
              <a:gd name="connsiteX15" fmla="*/ 570023 w 791740"/>
              <a:gd name="connsiteY15" fmla="*/ 3422 h 2449001"/>
              <a:gd name="connsiteX16" fmla="*/ 677271 w 791740"/>
              <a:gd name="connsiteY16" fmla="*/ 938156 h 2449001"/>
              <a:gd name="connsiteX17" fmla="*/ 719893 w 791740"/>
              <a:gd name="connsiteY17" fmla="*/ 1307990 h 2449001"/>
              <a:gd name="connsiteX18" fmla="*/ 409792 w 791740"/>
              <a:gd name="connsiteY18" fmla="*/ 1268233 h 2449001"/>
              <a:gd name="connsiteX19" fmla="*/ 99692 w 791740"/>
              <a:gd name="connsiteY19" fmla="*/ 1288111 h 2449001"/>
              <a:gd name="connsiteX20" fmla="*/ 133257 w 791740"/>
              <a:gd name="connsiteY20" fmla="*/ 945913 h 2449001"/>
              <a:gd name="connsiteX21" fmla="*/ 218310 w 791740"/>
              <a:gd name="connsiteY21" fmla="*/ 0 h 2449001"/>
              <a:gd name="connsiteX0" fmla="*/ 425696 w 798638"/>
              <a:gd name="connsiteY0" fmla="*/ 1331843 h 2449001"/>
              <a:gd name="connsiteX1" fmla="*/ 537015 w 798638"/>
              <a:gd name="connsiteY1" fmla="*/ 1379551 h 2449001"/>
              <a:gd name="connsiteX2" fmla="*/ 775553 w 798638"/>
              <a:gd name="connsiteY2" fmla="*/ 1406369 h 2449001"/>
              <a:gd name="connsiteX3" fmla="*/ 620503 w 798638"/>
              <a:gd name="connsiteY3" fmla="*/ 1741335 h 2449001"/>
              <a:gd name="connsiteX4" fmla="*/ 604600 w 798638"/>
              <a:gd name="connsiteY4" fmla="*/ 2441050 h 2449001"/>
              <a:gd name="connsiteX5" fmla="*/ 314378 w 798638"/>
              <a:gd name="connsiteY5" fmla="*/ 2445025 h 2449001"/>
              <a:gd name="connsiteX6" fmla="*/ 207035 w 798638"/>
              <a:gd name="connsiteY6" fmla="*/ 1673750 h 2449001"/>
              <a:gd name="connsiteX7" fmla="*/ 203060 w 798638"/>
              <a:gd name="connsiteY7" fmla="*/ 2441050 h 2449001"/>
              <a:gd name="connsiteX8" fmla="*/ 131498 w 798638"/>
              <a:gd name="connsiteY8" fmla="*/ 2449001 h 2449001"/>
              <a:gd name="connsiteX9" fmla="*/ 301 w 798638"/>
              <a:gd name="connsiteY9" fmla="*/ 1701579 h 2449001"/>
              <a:gd name="connsiteX10" fmla="*/ 95814 w 798638"/>
              <a:gd name="connsiteY10" fmla="*/ 1597201 h 2449001"/>
              <a:gd name="connsiteX11" fmla="*/ 84343 w 798638"/>
              <a:gd name="connsiteY11" fmla="*/ 1389262 h 2449001"/>
              <a:gd name="connsiteX12" fmla="*/ 334256 w 798638"/>
              <a:gd name="connsiteY12" fmla="*/ 1375575 h 2449001"/>
              <a:gd name="connsiteX13" fmla="*/ 425696 w 798638"/>
              <a:gd name="connsiteY13" fmla="*/ 1331843 h 2449001"/>
              <a:gd name="connsiteX14" fmla="*/ 218310 w 798638"/>
              <a:gd name="connsiteY14" fmla="*/ 0 h 2449001"/>
              <a:gd name="connsiteX15" fmla="*/ 570023 w 798638"/>
              <a:gd name="connsiteY15" fmla="*/ 3422 h 2449001"/>
              <a:gd name="connsiteX16" fmla="*/ 677271 w 798638"/>
              <a:gd name="connsiteY16" fmla="*/ 938156 h 2449001"/>
              <a:gd name="connsiteX17" fmla="*/ 719893 w 798638"/>
              <a:gd name="connsiteY17" fmla="*/ 1307990 h 2449001"/>
              <a:gd name="connsiteX18" fmla="*/ 409792 w 798638"/>
              <a:gd name="connsiteY18" fmla="*/ 1268233 h 2449001"/>
              <a:gd name="connsiteX19" fmla="*/ 99692 w 798638"/>
              <a:gd name="connsiteY19" fmla="*/ 1288111 h 2449001"/>
              <a:gd name="connsiteX20" fmla="*/ 133257 w 798638"/>
              <a:gd name="connsiteY20" fmla="*/ 945913 h 2449001"/>
              <a:gd name="connsiteX21" fmla="*/ 218310 w 798638"/>
              <a:gd name="connsiteY21" fmla="*/ 0 h 2449001"/>
              <a:gd name="connsiteX0" fmla="*/ 425696 w 798137"/>
              <a:gd name="connsiteY0" fmla="*/ 1331843 h 2449001"/>
              <a:gd name="connsiteX1" fmla="*/ 537015 w 798137"/>
              <a:gd name="connsiteY1" fmla="*/ 1379551 h 2449001"/>
              <a:gd name="connsiteX2" fmla="*/ 775553 w 798137"/>
              <a:gd name="connsiteY2" fmla="*/ 1406369 h 2449001"/>
              <a:gd name="connsiteX3" fmla="*/ 613659 w 798137"/>
              <a:gd name="connsiteY3" fmla="*/ 1785816 h 2449001"/>
              <a:gd name="connsiteX4" fmla="*/ 604600 w 798137"/>
              <a:gd name="connsiteY4" fmla="*/ 2441050 h 2449001"/>
              <a:gd name="connsiteX5" fmla="*/ 314378 w 798137"/>
              <a:gd name="connsiteY5" fmla="*/ 2445025 h 2449001"/>
              <a:gd name="connsiteX6" fmla="*/ 207035 w 798137"/>
              <a:gd name="connsiteY6" fmla="*/ 1673750 h 2449001"/>
              <a:gd name="connsiteX7" fmla="*/ 203060 w 798137"/>
              <a:gd name="connsiteY7" fmla="*/ 2441050 h 2449001"/>
              <a:gd name="connsiteX8" fmla="*/ 131498 w 798137"/>
              <a:gd name="connsiteY8" fmla="*/ 2449001 h 2449001"/>
              <a:gd name="connsiteX9" fmla="*/ 301 w 798137"/>
              <a:gd name="connsiteY9" fmla="*/ 1701579 h 2449001"/>
              <a:gd name="connsiteX10" fmla="*/ 95814 w 798137"/>
              <a:gd name="connsiteY10" fmla="*/ 1597201 h 2449001"/>
              <a:gd name="connsiteX11" fmla="*/ 84343 w 798137"/>
              <a:gd name="connsiteY11" fmla="*/ 1389262 h 2449001"/>
              <a:gd name="connsiteX12" fmla="*/ 334256 w 798137"/>
              <a:gd name="connsiteY12" fmla="*/ 1375575 h 2449001"/>
              <a:gd name="connsiteX13" fmla="*/ 425696 w 798137"/>
              <a:gd name="connsiteY13" fmla="*/ 1331843 h 2449001"/>
              <a:gd name="connsiteX14" fmla="*/ 218310 w 798137"/>
              <a:gd name="connsiteY14" fmla="*/ 0 h 2449001"/>
              <a:gd name="connsiteX15" fmla="*/ 570023 w 798137"/>
              <a:gd name="connsiteY15" fmla="*/ 3422 h 2449001"/>
              <a:gd name="connsiteX16" fmla="*/ 677271 w 798137"/>
              <a:gd name="connsiteY16" fmla="*/ 938156 h 2449001"/>
              <a:gd name="connsiteX17" fmla="*/ 719893 w 798137"/>
              <a:gd name="connsiteY17" fmla="*/ 1307990 h 2449001"/>
              <a:gd name="connsiteX18" fmla="*/ 409792 w 798137"/>
              <a:gd name="connsiteY18" fmla="*/ 1268233 h 2449001"/>
              <a:gd name="connsiteX19" fmla="*/ 99692 w 798137"/>
              <a:gd name="connsiteY19" fmla="*/ 1288111 h 2449001"/>
              <a:gd name="connsiteX20" fmla="*/ 133257 w 798137"/>
              <a:gd name="connsiteY20" fmla="*/ 945913 h 2449001"/>
              <a:gd name="connsiteX21" fmla="*/ 218310 w 798137"/>
              <a:gd name="connsiteY21" fmla="*/ 0 h 2449001"/>
              <a:gd name="connsiteX0" fmla="*/ 425696 w 797686"/>
              <a:gd name="connsiteY0" fmla="*/ 1331843 h 2449001"/>
              <a:gd name="connsiteX1" fmla="*/ 537015 w 797686"/>
              <a:gd name="connsiteY1" fmla="*/ 1379551 h 2449001"/>
              <a:gd name="connsiteX2" fmla="*/ 775553 w 797686"/>
              <a:gd name="connsiteY2" fmla="*/ 1406369 h 2449001"/>
              <a:gd name="connsiteX3" fmla="*/ 613659 w 797686"/>
              <a:gd name="connsiteY3" fmla="*/ 1785816 h 2449001"/>
              <a:gd name="connsiteX4" fmla="*/ 604600 w 797686"/>
              <a:gd name="connsiteY4" fmla="*/ 2441050 h 2449001"/>
              <a:gd name="connsiteX5" fmla="*/ 314378 w 797686"/>
              <a:gd name="connsiteY5" fmla="*/ 2445025 h 2449001"/>
              <a:gd name="connsiteX6" fmla="*/ 207035 w 797686"/>
              <a:gd name="connsiteY6" fmla="*/ 1673750 h 2449001"/>
              <a:gd name="connsiteX7" fmla="*/ 203060 w 797686"/>
              <a:gd name="connsiteY7" fmla="*/ 2441050 h 2449001"/>
              <a:gd name="connsiteX8" fmla="*/ 131498 w 797686"/>
              <a:gd name="connsiteY8" fmla="*/ 2449001 h 2449001"/>
              <a:gd name="connsiteX9" fmla="*/ 301 w 797686"/>
              <a:gd name="connsiteY9" fmla="*/ 1701579 h 2449001"/>
              <a:gd name="connsiteX10" fmla="*/ 95814 w 797686"/>
              <a:gd name="connsiteY10" fmla="*/ 1597201 h 2449001"/>
              <a:gd name="connsiteX11" fmla="*/ 84343 w 797686"/>
              <a:gd name="connsiteY11" fmla="*/ 1389262 h 2449001"/>
              <a:gd name="connsiteX12" fmla="*/ 334256 w 797686"/>
              <a:gd name="connsiteY12" fmla="*/ 1375575 h 2449001"/>
              <a:gd name="connsiteX13" fmla="*/ 425696 w 797686"/>
              <a:gd name="connsiteY13" fmla="*/ 1331843 h 2449001"/>
              <a:gd name="connsiteX14" fmla="*/ 218310 w 797686"/>
              <a:gd name="connsiteY14" fmla="*/ 0 h 2449001"/>
              <a:gd name="connsiteX15" fmla="*/ 570023 w 797686"/>
              <a:gd name="connsiteY15" fmla="*/ 3422 h 2449001"/>
              <a:gd name="connsiteX16" fmla="*/ 677271 w 797686"/>
              <a:gd name="connsiteY16" fmla="*/ 938156 h 2449001"/>
              <a:gd name="connsiteX17" fmla="*/ 719893 w 797686"/>
              <a:gd name="connsiteY17" fmla="*/ 1307990 h 2449001"/>
              <a:gd name="connsiteX18" fmla="*/ 409792 w 797686"/>
              <a:gd name="connsiteY18" fmla="*/ 1268233 h 2449001"/>
              <a:gd name="connsiteX19" fmla="*/ 99692 w 797686"/>
              <a:gd name="connsiteY19" fmla="*/ 1288111 h 2449001"/>
              <a:gd name="connsiteX20" fmla="*/ 133257 w 797686"/>
              <a:gd name="connsiteY20" fmla="*/ 945913 h 2449001"/>
              <a:gd name="connsiteX21" fmla="*/ 218310 w 797686"/>
              <a:gd name="connsiteY21" fmla="*/ 0 h 2449001"/>
              <a:gd name="connsiteX0" fmla="*/ 425696 w 797686"/>
              <a:gd name="connsiteY0" fmla="*/ 1331843 h 2449001"/>
              <a:gd name="connsiteX1" fmla="*/ 537015 w 797686"/>
              <a:gd name="connsiteY1" fmla="*/ 1379551 h 2449001"/>
              <a:gd name="connsiteX2" fmla="*/ 775553 w 797686"/>
              <a:gd name="connsiteY2" fmla="*/ 1406369 h 2449001"/>
              <a:gd name="connsiteX3" fmla="*/ 613659 w 797686"/>
              <a:gd name="connsiteY3" fmla="*/ 1785816 h 2449001"/>
              <a:gd name="connsiteX4" fmla="*/ 604600 w 797686"/>
              <a:gd name="connsiteY4" fmla="*/ 2441050 h 2449001"/>
              <a:gd name="connsiteX5" fmla="*/ 314378 w 797686"/>
              <a:gd name="connsiteY5" fmla="*/ 2445025 h 2449001"/>
              <a:gd name="connsiteX6" fmla="*/ 213878 w 797686"/>
              <a:gd name="connsiteY6" fmla="*/ 1707967 h 2449001"/>
              <a:gd name="connsiteX7" fmla="*/ 203060 w 797686"/>
              <a:gd name="connsiteY7" fmla="*/ 2441050 h 2449001"/>
              <a:gd name="connsiteX8" fmla="*/ 131498 w 797686"/>
              <a:gd name="connsiteY8" fmla="*/ 2449001 h 2449001"/>
              <a:gd name="connsiteX9" fmla="*/ 301 w 797686"/>
              <a:gd name="connsiteY9" fmla="*/ 1701579 h 2449001"/>
              <a:gd name="connsiteX10" fmla="*/ 95814 w 797686"/>
              <a:gd name="connsiteY10" fmla="*/ 1597201 h 2449001"/>
              <a:gd name="connsiteX11" fmla="*/ 84343 w 797686"/>
              <a:gd name="connsiteY11" fmla="*/ 1389262 h 2449001"/>
              <a:gd name="connsiteX12" fmla="*/ 334256 w 797686"/>
              <a:gd name="connsiteY12" fmla="*/ 1375575 h 2449001"/>
              <a:gd name="connsiteX13" fmla="*/ 425696 w 797686"/>
              <a:gd name="connsiteY13" fmla="*/ 1331843 h 2449001"/>
              <a:gd name="connsiteX14" fmla="*/ 218310 w 797686"/>
              <a:gd name="connsiteY14" fmla="*/ 0 h 2449001"/>
              <a:gd name="connsiteX15" fmla="*/ 570023 w 797686"/>
              <a:gd name="connsiteY15" fmla="*/ 3422 h 2449001"/>
              <a:gd name="connsiteX16" fmla="*/ 677271 w 797686"/>
              <a:gd name="connsiteY16" fmla="*/ 938156 h 2449001"/>
              <a:gd name="connsiteX17" fmla="*/ 719893 w 797686"/>
              <a:gd name="connsiteY17" fmla="*/ 1307990 h 2449001"/>
              <a:gd name="connsiteX18" fmla="*/ 409792 w 797686"/>
              <a:gd name="connsiteY18" fmla="*/ 1268233 h 2449001"/>
              <a:gd name="connsiteX19" fmla="*/ 99692 w 797686"/>
              <a:gd name="connsiteY19" fmla="*/ 1288111 h 2449001"/>
              <a:gd name="connsiteX20" fmla="*/ 133257 w 797686"/>
              <a:gd name="connsiteY20" fmla="*/ 945913 h 2449001"/>
              <a:gd name="connsiteX21" fmla="*/ 218310 w 797686"/>
              <a:gd name="connsiteY21" fmla="*/ 0 h 2449001"/>
              <a:gd name="connsiteX0" fmla="*/ 425696 w 797686"/>
              <a:gd name="connsiteY0" fmla="*/ 1331843 h 2449001"/>
              <a:gd name="connsiteX1" fmla="*/ 537015 w 797686"/>
              <a:gd name="connsiteY1" fmla="*/ 1379551 h 2449001"/>
              <a:gd name="connsiteX2" fmla="*/ 775553 w 797686"/>
              <a:gd name="connsiteY2" fmla="*/ 1406369 h 2449001"/>
              <a:gd name="connsiteX3" fmla="*/ 613659 w 797686"/>
              <a:gd name="connsiteY3" fmla="*/ 1785816 h 2449001"/>
              <a:gd name="connsiteX4" fmla="*/ 604600 w 797686"/>
              <a:gd name="connsiteY4" fmla="*/ 2441050 h 2449001"/>
              <a:gd name="connsiteX5" fmla="*/ 314378 w 797686"/>
              <a:gd name="connsiteY5" fmla="*/ 2445025 h 2449001"/>
              <a:gd name="connsiteX6" fmla="*/ 213878 w 797686"/>
              <a:gd name="connsiteY6" fmla="*/ 1707967 h 2449001"/>
              <a:gd name="connsiteX7" fmla="*/ 203060 w 797686"/>
              <a:gd name="connsiteY7" fmla="*/ 2441050 h 2449001"/>
              <a:gd name="connsiteX8" fmla="*/ 131498 w 797686"/>
              <a:gd name="connsiteY8" fmla="*/ 2449001 h 2449001"/>
              <a:gd name="connsiteX9" fmla="*/ 301 w 797686"/>
              <a:gd name="connsiteY9" fmla="*/ 1701579 h 2449001"/>
              <a:gd name="connsiteX10" fmla="*/ 95814 w 797686"/>
              <a:gd name="connsiteY10" fmla="*/ 1597201 h 2449001"/>
              <a:gd name="connsiteX11" fmla="*/ 84343 w 797686"/>
              <a:gd name="connsiteY11" fmla="*/ 1389262 h 2449001"/>
              <a:gd name="connsiteX12" fmla="*/ 334256 w 797686"/>
              <a:gd name="connsiteY12" fmla="*/ 1375575 h 2449001"/>
              <a:gd name="connsiteX13" fmla="*/ 425696 w 797686"/>
              <a:gd name="connsiteY13" fmla="*/ 1331843 h 2449001"/>
              <a:gd name="connsiteX14" fmla="*/ 218310 w 797686"/>
              <a:gd name="connsiteY14" fmla="*/ 0 h 2449001"/>
              <a:gd name="connsiteX15" fmla="*/ 570023 w 797686"/>
              <a:gd name="connsiteY15" fmla="*/ 3422 h 2449001"/>
              <a:gd name="connsiteX16" fmla="*/ 677271 w 797686"/>
              <a:gd name="connsiteY16" fmla="*/ 938156 h 2449001"/>
              <a:gd name="connsiteX17" fmla="*/ 719893 w 797686"/>
              <a:gd name="connsiteY17" fmla="*/ 1307990 h 2449001"/>
              <a:gd name="connsiteX18" fmla="*/ 409792 w 797686"/>
              <a:gd name="connsiteY18" fmla="*/ 1268233 h 2449001"/>
              <a:gd name="connsiteX19" fmla="*/ 99692 w 797686"/>
              <a:gd name="connsiteY19" fmla="*/ 1288111 h 2449001"/>
              <a:gd name="connsiteX20" fmla="*/ 133257 w 797686"/>
              <a:gd name="connsiteY20" fmla="*/ 945913 h 2449001"/>
              <a:gd name="connsiteX21" fmla="*/ 218310 w 797686"/>
              <a:gd name="connsiteY21" fmla="*/ 0 h 2449001"/>
              <a:gd name="connsiteX0" fmla="*/ 425696 w 797686"/>
              <a:gd name="connsiteY0" fmla="*/ 1331843 h 2449001"/>
              <a:gd name="connsiteX1" fmla="*/ 537015 w 797686"/>
              <a:gd name="connsiteY1" fmla="*/ 1379551 h 2449001"/>
              <a:gd name="connsiteX2" fmla="*/ 775553 w 797686"/>
              <a:gd name="connsiteY2" fmla="*/ 1406369 h 2449001"/>
              <a:gd name="connsiteX3" fmla="*/ 613659 w 797686"/>
              <a:gd name="connsiteY3" fmla="*/ 1785816 h 2449001"/>
              <a:gd name="connsiteX4" fmla="*/ 604600 w 797686"/>
              <a:gd name="connsiteY4" fmla="*/ 2441050 h 2449001"/>
              <a:gd name="connsiteX5" fmla="*/ 314378 w 797686"/>
              <a:gd name="connsiteY5" fmla="*/ 2445025 h 2449001"/>
              <a:gd name="connsiteX6" fmla="*/ 224143 w 797686"/>
              <a:gd name="connsiteY6" fmla="*/ 1721654 h 2449001"/>
              <a:gd name="connsiteX7" fmla="*/ 203060 w 797686"/>
              <a:gd name="connsiteY7" fmla="*/ 2441050 h 2449001"/>
              <a:gd name="connsiteX8" fmla="*/ 131498 w 797686"/>
              <a:gd name="connsiteY8" fmla="*/ 2449001 h 2449001"/>
              <a:gd name="connsiteX9" fmla="*/ 301 w 797686"/>
              <a:gd name="connsiteY9" fmla="*/ 1701579 h 2449001"/>
              <a:gd name="connsiteX10" fmla="*/ 95814 w 797686"/>
              <a:gd name="connsiteY10" fmla="*/ 1597201 h 2449001"/>
              <a:gd name="connsiteX11" fmla="*/ 84343 w 797686"/>
              <a:gd name="connsiteY11" fmla="*/ 1389262 h 2449001"/>
              <a:gd name="connsiteX12" fmla="*/ 334256 w 797686"/>
              <a:gd name="connsiteY12" fmla="*/ 1375575 h 2449001"/>
              <a:gd name="connsiteX13" fmla="*/ 425696 w 797686"/>
              <a:gd name="connsiteY13" fmla="*/ 1331843 h 2449001"/>
              <a:gd name="connsiteX14" fmla="*/ 218310 w 797686"/>
              <a:gd name="connsiteY14" fmla="*/ 0 h 2449001"/>
              <a:gd name="connsiteX15" fmla="*/ 570023 w 797686"/>
              <a:gd name="connsiteY15" fmla="*/ 3422 h 2449001"/>
              <a:gd name="connsiteX16" fmla="*/ 677271 w 797686"/>
              <a:gd name="connsiteY16" fmla="*/ 938156 h 2449001"/>
              <a:gd name="connsiteX17" fmla="*/ 719893 w 797686"/>
              <a:gd name="connsiteY17" fmla="*/ 1307990 h 2449001"/>
              <a:gd name="connsiteX18" fmla="*/ 409792 w 797686"/>
              <a:gd name="connsiteY18" fmla="*/ 1268233 h 2449001"/>
              <a:gd name="connsiteX19" fmla="*/ 99692 w 797686"/>
              <a:gd name="connsiteY19" fmla="*/ 1288111 h 2449001"/>
              <a:gd name="connsiteX20" fmla="*/ 133257 w 797686"/>
              <a:gd name="connsiteY20" fmla="*/ 945913 h 2449001"/>
              <a:gd name="connsiteX21" fmla="*/ 218310 w 797686"/>
              <a:gd name="connsiteY21" fmla="*/ 0 h 2449001"/>
              <a:gd name="connsiteX0" fmla="*/ 425647 w 797637"/>
              <a:gd name="connsiteY0" fmla="*/ 1331843 h 2449001"/>
              <a:gd name="connsiteX1" fmla="*/ 536966 w 797637"/>
              <a:gd name="connsiteY1" fmla="*/ 1379551 h 2449001"/>
              <a:gd name="connsiteX2" fmla="*/ 775504 w 797637"/>
              <a:gd name="connsiteY2" fmla="*/ 1406369 h 2449001"/>
              <a:gd name="connsiteX3" fmla="*/ 613610 w 797637"/>
              <a:gd name="connsiteY3" fmla="*/ 1785816 h 2449001"/>
              <a:gd name="connsiteX4" fmla="*/ 604551 w 797637"/>
              <a:gd name="connsiteY4" fmla="*/ 2441050 h 2449001"/>
              <a:gd name="connsiteX5" fmla="*/ 314329 w 797637"/>
              <a:gd name="connsiteY5" fmla="*/ 2445025 h 2449001"/>
              <a:gd name="connsiteX6" fmla="*/ 224094 w 797637"/>
              <a:gd name="connsiteY6" fmla="*/ 1721654 h 2449001"/>
              <a:gd name="connsiteX7" fmla="*/ 203011 w 797637"/>
              <a:gd name="connsiteY7" fmla="*/ 2441050 h 2449001"/>
              <a:gd name="connsiteX8" fmla="*/ 131449 w 797637"/>
              <a:gd name="connsiteY8" fmla="*/ 2449001 h 2449001"/>
              <a:gd name="connsiteX9" fmla="*/ 252 w 797637"/>
              <a:gd name="connsiteY9" fmla="*/ 1701579 h 2449001"/>
              <a:gd name="connsiteX10" fmla="*/ 112873 w 797637"/>
              <a:gd name="connsiteY10" fmla="*/ 1641682 h 2449001"/>
              <a:gd name="connsiteX11" fmla="*/ 84294 w 797637"/>
              <a:gd name="connsiteY11" fmla="*/ 1389262 h 2449001"/>
              <a:gd name="connsiteX12" fmla="*/ 334207 w 797637"/>
              <a:gd name="connsiteY12" fmla="*/ 1375575 h 2449001"/>
              <a:gd name="connsiteX13" fmla="*/ 425647 w 797637"/>
              <a:gd name="connsiteY13" fmla="*/ 1331843 h 2449001"/>
              <a:gd name="connsiteX14" fmla="*/ 218261 w 797637"/>
              <a:gd name="connsiteY14" fmla="*/ 0 h 2449001"/>
              <a:gd name="connsiteX15" fmla="*/ 569974 w 797637"/>
              <a:gd name="connsiteY15" fmla="*/ 3422 h 2449001"/>
              <a:gd name="connsiteX16" fmla="*/ 677222 w 797637"/>
              <a:gd name="connsiteY16" fmla="*/ 938156 h 2449001"/>
              <a:gd name="connsiteX17" fmla="*/ 719844 w 797637"/>
              <a:gd name="connsiteY17" fmla="*/ 1307990 h 2449001"/>
              <a:gd name="connsiteX18" fmla="*/ 409743 w 797637"/>
              <a:gd name="connsiteY18" fmla="*/ 1268233 h 2449001"/>
              <a:gd name="connsiteX19" fmla="*/ 99643 w 797637"/>
              <a:gd name="connsiteY19" fmla="*/ 1288111 h 2449001"/>
              <a:gd name="connsiteX20" fmla="*/ 133208 w 797637"/>
              <a:gd name="connsiteY20" fmla="*/ 945913 h 2449001"/>
              <a:gd name="connsiteX21" fmla="*/ 218261 w 797637"/>
              <a:gd name="connsiteY21" fmla="*/ 0 h 2449001"/>
              <a:gd name="connsiteX0" fmla="*/ 425647 w 797637"/>
              <a:gd name="connsiteY0" fmla="*/ 1331843 h 2449001"/>
              <a:gd name="connsiteX1" fmla="*/ 536966 w 797637"/>
              <a:gd name="connsiteY1" fmla="*/ 1379551 h 2449001"/>
              <a:gd name="connsiteX2" fmla="*/ 775504 w 797637"/>
              <a:gd name="connsiteY2" fmla="*/ 1406369 h 2449001"/>
              <a:gd name="connsiteX3" fmla="*/ 613610 w 797637"/>
              <a:gd name="connsiteY3" fmla="*/ 1785816 h 2449001"/>
              <a:gd name="connsiteX4" fmla="*/ 604551 w 797637"/>
              <a:gd name="connsiteY4" fmla="*/ 2441050 h 2449001"/>
              <a:gd name="connsiteX5" fmla="*/ 314329 w 797637"/>
              <a:gd name="connsiteY5" fmla="*/ 2445025 h 2449001"/>
              <a:gd name="connsiteX6" fmla="*/ 224094 w 797637"/>
              <a:gd name="connsiteY6" fmla="*/ 1721654 h 2449001"/>
              <a:gd name="connsiteX7" fmla="*/ 203011 w 797637"/>
              <a:gd name="connsiteY7" fmla="*/ 2441050 h 2449001"/>
              <a:gd name="connsiteX8" fmla="*/ 131449 w 797637"/>
              <a:gd name="connsiteY8" fmla="*/ 2449001 h 2449001"/>
              <a:gd name="connsiteX9" fmla="*/ 252 w 797637"/>
              <a:gd name="connsiteY9" fmla="*/ 1701579 h 2449001"/>
              <a:gd name="connsiteX10" fmla="*/ 112873 w 797637"/>
              <a:gd name="connsiteY10" fmla="*/ 1641682 h 2449001"/>
              <a:gd name="connsiteX11" fmla="*/ 84294 w 797637"/>
              <a:gd name="connsiteY11" fmla="*/ 1389262 h 2449001"/>
              <a:gd name="connsiteX12" fmla="*/ 334207 w 797637"/>
              <a:gd name="connsiteY12" fmla="*/ 1375575 h 2449001"/>
              <a:gd name="connsiteX13" fmla="*/ 425647 w 797637"/>
              <a:gd name="connsiteY13" fmla="*/ 1331843 h 2449001"/>
              <a:gd name="connsiteX14" fmla="*/ 218261 w 797637"/>
              <a:gd name="connsiteY14" fmla="*/ 0 h 2449001"/>
              <a:gd name="connsiteX15" fmla="*/ 569974 w 797637"/>
              <a:gd name="connsiteY15" fmla="*/ 3422 h 2449001"/>
              <a:gd name="connsiteX16" fmla="*/ 677222 w 797637"/>
              <a:gd name="connsiteY16" fmla="*/ 938156 h 2449001"/>
              <a:gd name="connsiteX17" fmla="*/ 719844 w 797637"/>
              <a:gd name="connsiteY17" fmla="*/ 1307990 h 2449001"/>
              <a:gd name="connsiteX18" fmla="*/ 409743 w 797637"/>
              <a:gd name="connsiteY18" fmla="*/ 1268233 h 2449001"/>
              <a:gd name="connsiteX19" fmla="*/ 99643 w 797637"/>
              <a:gd name="connsiteY19" fmla="*/ 1288111 h 2449001"/>
              <a:gd name="connsiteX20" fmla="*/ 133208 w 797637"/>
              <a:gd name="connsiteY20" fmla="*/ 945913 h 2449001"/>
              <a:gd name="connsiteX21" fmla="*/ 218261 w 797637"/>
              <a:gd name="connsiteY21" fmla="*/ 0 h 2449001"/>
              <a:gd name="connsiteX0" fmla="*/ 425647 w 797637"/>
              <a:gd name="connsiteY0" fmla="*/ 1331843 h 2449001"/>
              <a:gd name="connsiteX1" fmla="*/ 536966 w 797637"/>
              <a:gd name="connsiteY1" fmla="*/ 1379551 h 2449001"/>
              <a:gd name="connsiteX2" fmla="*/ 775504 w 797637"/>
              <a:gd name="connsiteY2" fmla="*/ 1406369 h 2449001"/>
              <a:gd name="connsiteX3" fmla="*/ 613610 w 797637"/>
              <a:gd name="connsiteY3" fmla="*/ 1785816 h 2449001"/>
              <a:gd name="connsiteX4" fmla="*/ 604551 w 797637"/>
              <a:gd name="connsiteY4" fmla="*/ 2441050 h 2449001"/>
              <a:gd name="connsiteX5" fmla="*/ 314329 w 797637"/>
              <a:gd name="connsiteY5" fmla="*/ 2445025 h 2449001"/>
              <a:gd name="connsiteX6" fmla="*/ 224094 w 797637"/>
              <a:gd name="connsiteY6" fmla="*/ 1721654 h 2449001"/>
              <a:gd name="connsiteX7" fmla="*/ 203011 w 797637"/>
              <a:gd name="connsiteY7" fmla="*/ 2441050 h 2449001"/>
              <a:gd name="connsiteX8" fmla="*/ 131449 w 797637"/>
              <a:gd name="connsiteY8" fmla="*/ 2449001 h 2449001"/>
              <a:gd name="connsiteX9" fmla="*/ 252 w 797637"/>
              <a:gd name="connsiteY9" fmla="*/ 1701579 h 2449001"/>
              <a:gd name="connsiteX10" fmla="*/ 112873 w 797637"/>
              <a:gd name="connsiteY10" fmla="*/ 1641682 h 2449001"/>
              <a:gd name="connsiteX11" fmla="*/ 84294 w 797637"/>
              <a:gd name="connsiteY11" fmla="*/ 1389262 h 2449001"/>
              <a:gd name="connsiteX12" fmla="*/ 334207 w 797637"/>
              <a:gd name="connsiteY12" fmla="*/ 1375575 h 2449001"/>
              <a:gd name="connsiteX13" fmla="*/ 425647 w 797637"/>
              <a:gd name="connsiteY13" fmla="*/ 1331843 h 2449001"/>
              <a:gd name="connsiteX14" fmla="*/ 218261 w 797637"/>
              <a:gd name="connsiteY14" fmla="*/ 0 h 2449001"/>
              <a:gd name="connsiteX15" fmla="*/ 569974 w 797637"/>
              <a:gd name="connsiteY15" fmla="*/ 3422 h 2449001"/>
              <a:gd name="connsiteX16" fmla="*/ 677222 w 797637"/>
              <a:gd name="connsiteY16" fmla="*/ 938156 h 2449001"/>
              <a:gd name="connsiteX17" fmla="*/ 719844 w 797637"/>
              <a:gd name="connsiteY17" fmla="*/ 1307990 h 2449001"/>
              <a:gd name="connsiteX18" fmla="*/ 409743 w 797637"/>
              <a:gd name="connsiteY18" fmla="*/ 1268233 h 2449001"/>
              <a:gd name="connsiteX19" fmla="*/ 99643 w 797637"/>
              <a:gd name="connsiteY19" fmla="*/ 1288111 h 2449001"/>
              <a:gd name="connsiteX20" fmla="*/ 133208 w 797637"/>
              <a:gd name="connsiteY20" fmla="*/ 945913 h 2449001"/>
              <a:gd name="connsiteX21" fmla="*/ 218261 w 797637"/>
              <a:gd name="connsiteY21" fmla="*/ 0 h 2449001"/>
              <a:gd name="connsiteX0" fmla="*/ 405179 w 777169"/>
              <a:gd name="connsiteY0" fmla="*/ 1331843 h 2449001"/>
              <a:gd name="connsiteX1" fmla="*/ 516498 w 777169"/>
              <a:gd name="connsiteY1" fmla="*/ 1379551 h 2449001"/>
              <a:gd name="connsiteX2" fmla="*/ 755036 w 777169"/>
              <a:gd name="connsiteY2" fmla="*/ 1406369 h 2449001"/>
              <a:gd name="connsiteX3" fmla="*/ 593142 w 777169"/>
              <a:gd name="connsiteY3" fmla="*/ 1785816 h 2449001"/>
              <a:gd name="connsiteX4" fmla="*/ 584083 w 777169"/>
              <a:gd name="connsiteY4" fmla="*/ 2441050 h 2449001"/>
              <a:gd name="connsiteX5" fmla="*/ 293861 w 777169"/>
              <a:gd name="connsiteY5" fmla="*/ 2445025 h 2449001"/>
              <a:gd name="connsiteX6" fmla="*/ 203626 w 777169"/>
              <a:gd name="connsiteY6" fmla="*/ 1721654 h 2449001"/>
              <a:gd name="connsiteX7" fmla="*/ 182543 w 777169"/>
              <a:gd name="connsiteY7" fmla="*/ 2441050 h 2449001"/>
              <a:gd name="connsiteX8" fmla="*/ 110981 w 777169"/>
              <a:gd name="connsiteY8" fmla="*/ 2449001 h 2449001"/>
              <a:gd name="connsiteX9" fmla="*/ 313 w 777169"/>
              <a:gd name="connsiteY9" fmla="*/ 1749481 h 2449001"/>
              <a:gd name="connsiteX10" fmla="*/ 92405 w 777169"/>
              <a:gd name="connsiteY10" fmla="*/ 1641682 h 2449001"/>
              <a:gd name="connsiteX11" fmla="*/ 63826 w 777169"/>
              <a:gd name="connsiteY11" fmla="*/ 1389262 h 2449001"/>
              <a:gd name="connsiteX12" fmla="*/ 313739 w 777169"/>
              <a:gd name="connsiteY12" fmla="*/ 1375575 h 2449001"/>
              <a:gd name="connsiteX13" fmla="*/ 405179 w 777169"/>
              <a:gd name="connsiteY13" fmla="*/ 1331843 h 2449001"/>
              <a:gd name="connsiteX14" fmla="*/ 197793 w 777169"/>
              <a:gd name="connsiteY14" fmla="*/ 0 h 2449001"/>
              <a:gd name="connsiteX15" fmla="*/ 549506 w 777169"/>
              <a:gd name="connsiteY15" fmla="*/ 3422 h 2449001"/>
              <a:gd name="connsiteX16" fmla="*/ 656754 w 777169"/>
              <a:gd name="connsiteY16" fmla="*/ 938156 h 2449001"/>
              <a:gd name="connsiteX17" fmla="*/ 699376 w 777169"/>
              <a:gd name="connsiteY17" fmla="*/ 1307990 h 2449001"/>
              <a:gd name="connsiteX18" fmla="*/ 389275 w 777169"/>
              <a:gd name="connsiteY18" fmla="*/ 1268233 h 2449001"/>
              <a:gd name="connsiteX19" fmla="*/ 79175 w 777169"/>
              <a:gd name="connsiteY19" fmla="*/ 1288111 h 2449001"/>
              <a:gd name="connsiteX20" fmla="*/ 112740 w 777169"/>
              <a:gd name="connsiteY20" fmla="*/ 945913 h 2449001"/>
              <a:gd name="connsiteX21" fmla="*/ 197793 w 777169"/>
              <a:gd name="connsiteY21" fmla="*/ 0 h 2449001"/>
              <a:gd name="connsiteX0" fmla="*/ 413332 w 785322"/>
              <a:gd name="connsiteY0" fmla="*/ 1331843 h 2449001"/>
              <a:gd name="connsiteX1" fmla="*/ 524651 w 785322"/>
              <a:gd name="connsiteY1" fmla="*/ 1379551 h 2449001"/>
              <a:gd name="connsiteX2" fmla="*/ 763189 w 785322"/>
              <a:gd name="connsiteY2" fmla="*/ 1406369 h 2449001"/>
              <a:gd name="connsiteX3" fmla="*/ 601295 w 785322"/>
              <a:gd name="connsiteY3" fmla="*/ 1785816 h 2449001"/>
              <a:gd name="connsiteX4" fmla="*/ 592236 w 785322"/>
              <a:gd name="connsiteY4" fmla="*/ 2441050 h 2449001"/>
              <a:gd name="connsiteX5" fmla="*/ 302014 w 785322"/>
              <a:gd name="connsiteY5" fmla="*/ 2445025 h 2449001"/>
              <a:gd name="connsiteX6" fmla="*/ 211779 w 785322"/>
              <a:gd name="connsiteY6" fmla="*/ 1721654 h 2449001"/>
              <a:gd name="connsiteX7" fmla="*/ 190696 w 785322"/>
              <a:gd name="connsiteY7" fmla="*/ 2441050 h 2449001"/>
              <a:gd name="connsiteX8" fmla="*/ 119134 w 785322"/>
              <a:gd name="connsiteY8" fmla="*/ 2449001 h 2449001"/>
              <a:gd name="connsiteX9" fmla="*/ 8466 w 785322"/>
              <a:gd name="connsiteY9" fmla="*/ 1749481 h 2449001"/>
              <a:gd name="connsiteX10" fmla="*/ 100558 w 785322"/>
              <a:gd name="connsiteY10" fmla="*/ 1641682 h 2449001"/>
              <a:gd name="connsiteX11" fmla="*/ 71979 w 785322"/>
              <a:gd name="connsiteY11" fmla="*/ 1389262 h 2449001"/>
              <a:gd name="connsiteX12" fmla="*/ 321892 w 785322"/>
              <a:gd name="connsiteY12" fmla="*/ 1375575 h 2449001"/>
              <a:gd name="connsiteX13" fmla="*/ 413332 w 785322"/>
              <a:gd name="connsiteY13" fmla="*/ 1331843 h 2449001"/>
              <a:gd name="connsiteX14" fmla="*/ 205946 w 785322"/>
              <a:gd name="connsiteY14" fmla="*/ 0 h 2449001"/>
              <a:gd name="connsiteX15" fmla="*/ 557659 w 785322"/>
              <a:gd name="connsiteY15" fmla="*/ 3422 h 2449001"/>
              <a:gd name="connsiteX16" fmla="*/ 664907 w 785322"/>
              <a:gd name="connsiteY16" fmla="*/ 938156 h 2449001"/>
              <a:gd name="connsiteX17" fmla="*/ 707529 w 785322"/>
              <a:gd name="connsiteY17" fmla="*/ 1307990 h 2449001"/>
              <a:gd name="connsiteX18" fmla="*/ 397428 w 785322"/>
              <a:gd name="connsiteY18" fmla="*/ 1268233 h 2449001"/>
              <a:gd name="connsiteX19" fmla="*/ 87328 w 785322"/>
              <a:gd name="connsiteY19" fmla="*/ 1288111 h 2449001"/>
              <a:gd name="connsiteX20" fmla="*/ 120893 w 785322"/>
              <a:gd name="connsiteY20" fmla="*/ 945913 h 2449001"/>
              <a:gd name="connsiteX21" fmla="*/ 205946 w 785322"/>
              <a:gd name="connsiteY21" fmla="*/ 0 h 2449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785322" h="2449001">
                <a:moveTo>
                  <a:pt x="413332" y="1331843"/>
                </a:moveTo>
                <a:cubicBezTo>
                  <a:pt x="470316" y="1339795"/>
                  <a:pt x="487545" y="1363648"/>
                  <a:pt x="524651" y="1379551"/>
                </a:cubicBezTo>
                <a:cubicBezTo>
                  <a:pt x="598461" y="1388490"/>
                  <a:pt x="730438" y="1342684"/>
                  <a:pt x="763189" y="1406369"/>
                </a:cubicBezTo>
                <a:cubicBezTo>
                  <a:pt x="860365" y="1644887"/>
                  <a:pt x="606378" y="1660931"/>
                  <a:pt x="601295" y="1785816"/>
                </a:cubicBezTo>
                <a:cubicBezTo>
                  <a:pt x="592018" y="1995200"/>
                  <a:pt x="585610" y="2024932"/>
                  <a:pt x="592236" y="2441050"/>
                </a:cubicBezTo>
                <a:lnTo>
                  <a:pt x="302014" y="2445025"/>
                </a:lnTo>
                <a:cubicBezTo>
                  <a:pt x="266233" y="2198535"/>
                  <a:pt x="340856" y="1660357"/>
                  <a:pt x="211779" y="1721654"/>
                </a:cubicBezTo>
                <a:cubicBezTo>
                  <a:pt x="170697" y="1762736"/>
                  <a:pt x="192021" y="2185283"/>
                  <a:pt x="190696" y="2441050"/>
                </a:cubicBezTo>
                <a:cubicBezTo>
                  <a:pt x="146301" y="2445688"/>
                  <a:pt x="179432" y="2445688"/>
                  <a:pt x="119134" y="2449001"/>
                </a:cubicBezTo>
                <a:cubicBezTo>
                  <a:pt x="103231" y="1623390"/>
                  <a:pt x="60150" y="1875377"/>
                  <a:pt x="8466" y="1749481"/>
                </a:cubicBezTo>
                <a:cubicBezTo>
                  <a:pt x="-31697" y="1604092"/>
                  <a:pt x="83130" y="1642413"/>
                  <a:pt x="100558" y="1641682"/>
                </a:cubicBezTo>
                <a:cubicBezTo>
                  <a:pt x="5622" y="1561516"/>
                  <a:pt x="-3874" y="1450657"/>
                  <a:pt x="71979" y="1389262"/>
                </a:cubicBezTo>
                <a:cubicBezTo>
                  <a:pt x="119567" y="1358010"/>
                  <a:pt x="239728" y="1375575"/>
                  <a:pt x="321892" y="1375575"/>
                </a:cubicBezTo>
                <a:cubicBezTo>
                  <a:pt x="347071" y="1360998"/>
                  <a:pt x="364299" y="1334493"/>
                  <a:pt x="413332" y="1331843"/>
                </a:cubicBezTo>
                <a:close/>
                <a:moveTo>
                  <a:pt x="205946" y="0"/>
                </a:moveTo>
                <a:lnTo>
                  <a:pt x="557659" y="3422"/>
                </a:lnTo>
                <a:cubicBezTo>
                  <a:pt x="580863" y="327547"/>
                  <a:pt x="489978" y="820211"/>
                  <a:pt x="664907" y="938156"/>
                </a:cubicBezTo>
                <a:cubicBezTo>
                  <a:pt x="834535" y="1061401"/>
                  <a:pt x="785141" y="1256861"/>
                  <a:pt x="707529" y="1307990"/>
                </a:cubicBezTo>
                <a:cubicBezTo>
                  <a:pt x="596211" y="1362324"/>
                  <a:pt x="496819" y="1313291"/>
                  <a:pt x="397428" y="1268233"/>
                </a:cubicBezTo>
                <a:cubicBezTo>
                  <a:pt x="324542" y="1317265"/>
                  <a:pt x="192020" y="1358347"/>
                  <a:pt x="87328" y="1288111"/>
                </a:cubicBezTo>
                <a:cubicBezTo>
                  <a:pt x="-33267" y="1184744"/>
                  <a:pt x="58608" y="985670"/>
                  <a:pt x="120893" y="945913"/>
                </a:cubicBezTo>
                <a:cubicBezTo>
                  <a:pt x="259584" y="846619"/>
                  <a:pt x="211126" y="365206"/>
                  <a:pt x="205946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70" name="Freeform 108">
            <a:extLst>
              <a:ext uri="{FF2B5EF4-FFF2-40B4-BE49-F238E27FC236}">
                <a16:creationId xmlns:a16="http://schemas.microsoft.com/office/drawing/2014/main" id="{6A02011B-41CE-4E20-9214-001F7D847E12}"/>
              </a:ext>
            </a:extLst>
          </p:cNvPr>
          <p:cNvSpPr/>
          <p:nvPr/>
        </p:nvSpPr>
        <p:spPr>
          <a:xfrm>
            <a:off x="6129967" y="2416730"/>
            <a:ext cx="501857" cy="554554"/>
          </a:xfrm>
          <a:custGeom>
            <a:avLst/>
            <a:gdLst/>
            <a:ahLst/>
            <a:cxnLst/>
            <a:rect l="l" t="t" r="r" b="b"/>
            <a:pathLst>
              <a:path w="341005" h="376812">
                <a:moveTo>
                  <a:pt x="179590" y="105941"/>
                </a:moveTo>
                <a:cubicBezTo>
                  <a:pt x="189466" y="103284"/>
                  <a:pt x="200229" y="106383"/>
                  <a:pt x="207502" y="113978"/>
                </a:cubicBezTo>
                <a:lnTo>
                  <a:pt x="205155" y="116193"/>
                </a:lnTo>
                <a:cubicBezTo>
                  <a:pt x="198727" y="109493"/>
                  <a:pt x="189244" y="106732"/>
                  <a:pt x="180543" y="109027"/>
                </a:cubicBezTo>
                <a:cubicBezTo>
                  <a:pt x="171284" y="111470"/>
                  <a:pt x="164597" y="119184"/>
                  <a:pt x="163491" y="128699"/>
                </a:cubicBezTo>
                <a:lnTo>
                  <a:pt x="160301" y="128192"/>
                </a:lnTo>
                <a:cubicBezTo>
                  <a:pt x="160626" y="125509"/>
                  <a:pt x="161343" y="122953"/>
                  <a:pt x="162397" y="120583"/>
                </a:cubicBezTo>
                <a:cubicBezTo>
                  <a:pt x="163188" y="118806"/>
                  <a:pt x="164168" y="117134"/>
                  <a:pt x="165317" y="115593"/>
                </a:cubicBezTo>
                <a:close/>
                <a:moveTo>
                  <a:pt x="184774" y="76800"/>
                </a:moveTo>
                <a:cubicBezTo>
                  <a:pt x="189722" y="75892"/>
                  <a:pt x="194950" y="76276"/>
                  <a:pt x="199898" y="78055"/>
                </a:cubicBezTo>
                <a:lnTo>
                  <a:pt x="198784" y="81085"/>
                </a:lnTo>
                <a:cubicBezTo>
                  <a:pt x="190044" y="77951"/>
                  <a:pt x="180324" y="79705"/>
                  <a:pt x="173557" y="85636"/>
                </a:cubicBezTo>
                <a:cubicBezTo>
                  <a:pt x="166357" y="91948"/>
                  <a:pt x="163808" y="101834"/>
                  <a:pt x="167057" y="110845"/>
                </a:cubicBezTo>
                <a:lnTo>
                  <a:pt x="163976" y="111813"/>
                </a:lnTo>
                <a:cubicBezTo>
                  <a:pt x="161264" y="104174"/>
                  <a:pt x="162206" y="95982"/>
                  <a:pt x="166259" y="89343"/>
                </a:cubicBezTo>
                <a:lnTo>
                  <a:pt x="171329" y="83298"/>
                </a:lnTo>
                <a:cubicBezTo>
                  <a:pt x="175158" y="79908"/>
                  <a:pt x="179826" y="77708"/>
                  <a:pt x="184774" y="76800"/>
                </a:cubicBezTo>
                <a:close/>
                <a:moveTo>
                  <a:pt x="179076" y="24908"/>
                </a:moveTo>
                <a:cubicBezTo>
                  <a:pt x="173882" y="25821"/>
                  <a:pt x="169065" y="28595"/>
                  <a:pt x="165693" y="33023"/>
                </a:cubicBezTo>
                <a:lnTo>
                  <a:pt x="165081" y="32645"/>
                </a:lnTo>
                <a:lnTo>
                  <a:pt x="164343" y="33841"/>
                </a:lnTo>
                <a:lnTo>
                  <a:pt x="159156" y="28989"/>
                </a:lnTo>
                <a:cubicBezTo>
                  <a:pt x="147650" y="21890"/>
                  <a:pt x="132568" y="25462"/>
                  <a:pt x="125468" y="36968"/>
                </a:cubicBezTo>
                <a:cubicBezTo>
                  <a:pt x="125028" y="37682"/>
                  <a:pt x="124628" y="38410"/>
                  <a:pt x="124607" y="39302"/>
                </a:cubicBezTo>
                <a:cubicBezTo>
                  <a:pt x="121192" y="53871"/>
                  <a:pt x="126621" y="67918"/>
                  <a:pt x="137512" y="72288"/>
                </a:cubicBezTo>
                <a:lnTo>
                  <a:pt x="136408" y="75373"/>
                </a:lnTo>
                <a:cubicBezTo>
                  <a:pt x="125065" y="70889"/>
                  <a:pt x="118824" y="57470"/>
                  <a:pt x="120792" y="42874"/>
                </a:cubicBezTo>
                <a:cubicBezTo>
                  <a:pt x="110219" y="38045"/>
                  <a:pt x="97555" y="41998"/>
                  <a:pt x="91229" y="52250"/>
                </a:cubicBezTo>
                <a:cubicBezTo>
                  <a:pt x="86215" y="60377"/>
                  <a:pt x="87164" y="68019"/>
                  <a:pt x="90995" y="75559"/>
                </a:cubicBezTo>
                <a:cubicBezTo>
                  <a:pt x="88405" y="77546"/>
                  <a:pt x="86197" y="80074"/>
                  <a:pt x="84391" y="83001"/>
                </a:cubicBezTo>
                <a:cubicBezTo>
                  <a:pt x="75261" y="97799"/>
                  <a:pt x="79855" y="117197"/>
                  <a:pt x="94653" y="126328"/>
                </a:cubicBezTo>
                <a:cubicBezTo>
                  <a:pt x="99603" y="129383"/>
                  <a:pt x="105068" y="130901"/>
                  <a:pt x="110449" y="130283"/>
                </a:cubicBezTo>
                <a:cubicBezTo>
                  <a:pt x="111461" y="121556"/>
                  <a:pt x="114239" y="112980"/>
                  <a:pt x="118788" y="105103"/>
                </a:cubicBezTo>
                <a:lnTo>
                  <a:pt x="122060" y="106993"/>
                </a:lnTo>
                <a:cubicBezTo>
                  <a:pt x="117549" y="114804"/>
                  <a:pt x="114885" y="123345"/>
                  <a:pt x="114602" y="132066"/>
                </a:cubicBezTo>
                <a:cubicBezTo>
                  <a:pt x="118189" y="142541"/>
                  <a:pt x="127538" y="149533"/>
                  <a:pt x="138054" y="150704"/>
                </a:cubicBezTo>
                <a:lnTo>
                  <a:pt x="138622" y="157584"/>
                </a:lnTo>
                <a:cubicBezTo>
                  <a:pt x="141809" y="168599"/>
                  <a:pt x="152592" y="175355"/>
                  <a:pt x="163536" y="173320"/>
                </a:cubicBezTo>
                <a:lnTo>
                  <a:pt x="163736" y="174011"/>
                </a:lnTo>
                <a:lnTo>
                  <a:pt x="165086" y="173621"/>
                </a:lnTo>
                <a:lnTo>
                  <a:pt x="165671" y="180699"/>
                </a:lnTo>
                <a:cubicBezTo>
                  <a:pt x="169429" y="193686"/>
                  <a:pt x="183003" y="201168"/>
                  <a:pt x="195990" y="197411"/>
                </a:cubicBezTo>
                <a:cubicBezTo>
                  <a:pt x="196796" y="197178"/>
                  <a:pt x="197581" y="196907"/>
                  <a:pt x="198196" y="196260"/>
                </a:cubicBezTo>
                <a:cubicBezTo>
                  <a:pt x="209934" y="188156"/>
                  <a:pt x="215400" y="175007"/>
                  <a:pt x="211155" y="164763"/>
                </a:cubicBezTo>
                <a:cubicBezTo>
                  <a:pt x="205121" y="170199"/>
                  <a:pt x="196738" y="172687"/>
                  <a:pt x="188343" y="171472"/>
                </a:cubicBezTo>
                <a:lnTo>
                  <a:pt x="188829" y="168281"/>
                </a:lnTo>
                <a:cubicBezTo>
                  <a:pt x="198020" y="169602"/>
                  <a:pt x="207192" y="165939"/>
                  <a:pt x="212635" y="158774"/>
                </a:cubicBezTo>
                <a:cubicBezTo>
                  <a:pt x="218427" y="151149"/>
                  <a:pt x="218946" y="140953"/>
                  <a:pt x="213960" y="132774"/>
                </a:cubicBezTo>
                <a:lnTo>
                  <a:pt x="216785" y="131210"/>
                </a:lnTo>
                <a:cubicBezTo>
                  <a:pt x="222366" y="140465"/>
                  <a:pt x="221779" y="151983"/>
                  <a:pt x="215286" y="160619"/>
                </a:cubicBezTo>
                <a:lnTo>
                  <a:pt x="213805" y="162105"/>
                </a:lnTo>
                <a:cubicBezTo>
                  <a:pt x="218946" y="172938"/>
                  <a:pt x="214526" y="186813"/>
                  <a:pt x="203421" y="196175"/>
                </a:cubicBezTo>
                <a:cubicBezTo>
                  <a:pt x="208012" y="206854"/>
                  <a:pt x="220050" y="212429"/>
                  <a:pt x="231622" y="209082"/>
                </a:cubicBezTo>
                <a:cubicBezTo>
                  <a:pt x="239377" y="206838"/>
                  <a:pt x="243741" y="201989"/>
                  <a:pt x="246092" y="195539"/>
                </a:cubicBezTo>
                <a:cubicBezTo>
                  <a:pt x="255042" y="199507"/>
                  <a:pt x="265290" y="198199"/>
                  <a:pt x="272958" y="192601"/>
                </a:cubicBezTo>
                <a:lnTo>
                  <a:pt x="276795" y="193971"/>
                </a:lnTo>
                <a:cubicBezTo>
                  <a:pt x="289009" y="194016"/>
                  <a:pt x="298363" y="193248"/>
                  <a:pt x="304258" y="183694"/>
                </a:cubicBezTo>
                <a:cubicBezTo>
                  <a:pt x="309343" y="175453"/>
                  <a:pt x="308953" y="165378"/>
                  <a:pt x="303795" y="157923"/>
                </a:cubicBezTo>
                <a:cubicBezTo>
                  <a:pt x="298315" y="164420"/>
                  <a:pt x="291041" y="168177"/>
                  <a:pt x="283702" y="168174"/>
                </a:cubicBezTo>
                <a:lnTo>
                  <a:pt x="283555" y="164527"/>
                </a:lnTo>
                <a:cubicBezTo>
                  <a:pt x="293404" y="164978"/>
                  <a:pt x="303289" y="157339"/>
                  <a:pt x="308110" y="145450"/>
                </a:cubicBezTo>
                <a:cubicBezTo>
                  <a:pt x="311022" y="136198"/>
                  <a:pt x="308752" y="126109"/>
                  <a:pt x="302169" y="119023"/>
                </a:cubicBezTo>
                <a:cubicBezTo>
                  <a:pt x="296249" y="127191"/>
                  <a:pt x="286098" y="131525"/>
                  <a:pt x="275782" y="130309"/>
                </a:cubicBezTo>
                <a:lnTo>
                  <a:pt x="276183" y="127106"/>
                </a:lnTo>
                <a:cubicBezTo>
                  <a:pt x="285405" y="128184"/>
                  <a:pt x="294478" y="124281"/>
                  <a:pt x="299730" y="116974"/>
                </a:cubicBezTo>
                <a:lnTo>
                  <a:pt x="300207" y="116045"/>
                </a:lnTo>
                <a:cubicBezTo>
                  <a:pt x="300079" y="107222"/>
                  <a:pt x="295342" y="98867"/>
                  <a:pt x="287259" y="93880"/>
                </a:cubicBezTo>
                <a:cubicBezTo>
                  <a:pt x="284295" y="92051"/>
                  <a:pt x="281129" y="90828"/>
                  <a:pt x="277855" y="90561"/>
                </a:cubicBezTo>
                <a:cubicBezTo>
                  <a:pt x="271916" y="104194"/>
                  <a:pt x="259881" y="112708"/>
                  <a:pt x="248172" y="111695"/>
                </a:cubicBezTo>
                <a:cubicBezTo>
                  <a:pt x="248002" y="114741"/>
                  <a:pt x="246936" y="117719"/>
                  <a:pt x="245089" y="120348"/>
                </a:cubicBezTo>
                <a:cubicBezTo>
                  <a:pt x="241307" y="125729"/>
                  <a:pt x="234825" y="128827"/>
                  <a:pt x="228007" y="128511"/>
                </a:cubicBezTo>
                <a:lnTo>
                  <a:pt x="228158" y="125380"/>
                </a:lnTo>
                <a:cubicBezTo>
                  <a:pt x="233848" y="125642"/>
                  <a:pt x="239262" y="123097"/>
                  <a:pt x="242439" y="118667"/>
                </a:cubicBezTo>
                <a:cubicBezTo>
                  <a:pt x="244071" y="116391"/>
                  <a:pt x="244987" y="113796"/>
                  <a:pt x="245116" y="111152"/>
                </a:cubicBezTo>
                <a:lnTo>
                  <a:pt x="243716" y="110904"/>
                </a:lnTo>
                <a:lnTo>
                  <a:pt x="244539" y="108155"/>
                </a:lnTo>
                <a:cubicBezTo>
                  <a:pt x="244792" y="106166"/>
                  <a:pt x="244131" y="104285"/>
                  <a:pt x="243078" y="102544"/>
                </a:cubicBezTo>
                <a:cubicBezTo>
                  <a:pt x="240257" y="97875"/>
                  <a:pt x="235048" y="94922"/>
                  <a:pt x="229344" y="94755"/>
                </a:cubicBezTo>
                <a:lnTo>
                  <a:pt x="229436" y="91621"/>
                </a:lnTo>
                <a:cubicBezTo>
                  <a:pt x="236268" y="91821"/>
                  <a:pt x="242499" y="95409"/>
                  <a:pt x="245850" y="101072"/>
                </a:cubicBezTo>
                <a:cubicBezTo>
                  <a:pt x="247129" y="103235"/>
                  <a:pt x="247915" y="105575"/>
                  <a:pt x="248037" y="107973"/>
                </a:cubicBezTo>
                <a:cubicBezTo>
                  <a:pt x="258268" y="109553"/>
                  <a:pt x="268981" y="102051"/>
                  <a:pt x="274232" y="89778"/>
                </a:cubicBezTo>
                <a:cubicBezTo>
                  <a:pt x="278708" y="77339"/>
                  <a:pt x="274020" y="63056"/>
                  <a:pt x="262316" y="55834"/>
                </a:cubicBezTo>
                <a:cubicBezTo>
                  <a:pt x="257734" y="53007"/>
                  <a:pt x="252666" y="51626"/>
                  <a:pt x="247691" y="52231"/>
                </a:cubicBezTo>
                <a:cubicBezTo>
                  <a:pt x="248705" y="60913"/>
                  <a:pt x="245967" y="69020"/>
                  <a:pt x="239739" y="74185"/>
                </a:cubicBezTo>
                <a:lnTo>
                  <a:pt x="237649" y="71664"/>
                </a:lnTo>
                <a:cubicBezTo>
                  <a:pt x="244579" y="65918"/>
                  <a:pt x="246481" y="55888"/>
                  <a:pt x="243151" y="45920"/>
                </a:cubicBezTo>
                <a:cubicBezTo>
                  <a:pt x="241194" y="40124"/>
                  <a:pt x="237183" y="35004"/>
                  <a:pt x="231542" y="31523"/>
                </a:cubicBezTo>
                <a:cubicBezTo>
                  <a:pt x="221392" y="25261"/>
                  <a:pt x="208864" y="26095"/>
                  <a:pt x="199763" y="32668"/>
                </a:cubicBezTo>
                <a:lnTo>
                  <a:pt x="194721" y="27952"/>
                </a:lnTo>
                <a:cubicBezTo>
                  <a:pt x="189842" y="24941"/>
                  <a:pt x="184271" y="23995"/>
                  <a:pt x="179076" y="24908"/>
                </a:cubicBezTo>
                <a:close/>
                <a:moveTo>
                  <a:pt x="190632" y="62"/>
                </a:moveTo>
                <a:cubicBezTo>
                  <a:pt x="300121" y="2329"/>
                  <a:pt x="391248" y="125645"/>
                  <a:pt x="309641" y="225160"/>
                </a:cubicBezTo>
                <a:cubicBezTo>
                  <a:pt x="282892" y="251229"/>
                  <a:pt x="279266" y="288859"/>
                  <a:pt x="302841" y="374772"/>
                </a:cubicBezTo>
                <a:lnTo>
                  <a:pt x="121266" y="376812"/>
                </a:lnTo>
                <a:lnTo>
                  <a:pt x="109025" y="322355"/>
                </a:lnTo>
                <a:cubicBezTo>
                  <a:pt x="76580" y="333165"/>
                  <a:pt x="40716" y="329924"/>
                  <a:pt x="28778" y="318327"/>
                </a:cubicBezTo>
                <a:cubicBezTo>
                  <a:pt x="22923" y="311868"/>
                  <a:pt x="25422" y="291738"/>
                  <a:pt x="32859" y="276164"/>
                </a:cubicBezTo>
                <a:cubicBezTo>
                  <a:pt x="35235" y="270344"/>
                  <a:pt x="23179" y="268321"/>
                  <a:pt x="20618" y="259843"/>
                </a:cubicBezTo>
                <a:cubicBezTo>
                  <a:pt x="19440" y="251965"/>
                  <a:pt x="27377" y="251682"/>
                  <a:pt x="30757" y="247602"/>
                </a:cubicBezTo>
                <a:lnTo>
                  <a:pt x="18516" y="238938"/>
                </a:lnTo>
                <a:cubicBezTo>
                  <a:pt x="12669" y="232923"/>
                  <a:pt x="25811" y="221592"/>
                  <a:pt x="29458" y="212919"/>
                </a:cubicBezTo>
                <a:cubicBezTo>
                  <a:pt x="16679" y="208924"/>
                  <a:pt x="7006" y="203466"/>
                  <a:pt x="307" y="196983"/>
                </a:cubicBezTo>
                <a:cubicBezTo>
                  <a:pt x="-2572" y="186228"/>
                  <a:pt x="15339" y="171234"/>
                  <a:pt x="31089" y="151672"/>
                </a:cubicBezTo>
                <a:cubicBezTo>
                  <a:pt x="47602" y="132201"/>
                  <a:pt x="33821" y="117353"/>
                  <a:pt x="46470" y="75544"/>
                </a:cubicBezTo>
                <a:cubicBezTo>
                  <a:pt x="66559" y="23813"/>
                  <a:pt x="114124" y="-1423"/>
                  <a:pt x="190632" y="62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71" name="Oval 8">
            <a:extLst>
              <a:ext uri="{FF2B5EF4-FFF2-40B4-BE49-F238E27FC236}">
                <a16:creationId xmlns:a16="http://schemas.microsoft.com/office/drawing/2014/main" id="{E3D5639C-49CF-43D9-965F-7653D69F451F}"/>
              </a:ext>
            </a:extLst>
          </p:cNvPr>
          <p:cNvSpPr/>
          <p:nvPr/>
        </p:nvSpPr>
        <p:spPr>
          <a:xfrm>
            <a:off x="6967308" y="2429072"/>
            <a:ext cx="527152" cy="529870"/>
          </a:xfrm>
          <a:custGeom>
            <a:avLst/>
            <a:gdLst/>
            <a:ahLst/>
            <a:cxnLst/>
            <a:rect l="l" t="t" r="r" b="b"/>
            <a:pathLst>
              <a:path w="3068057" h="3083879">
                <a:moveTo>
                  <a:pt x="1943022" y="0"/>
                </a:moveTo>
                <a:cubicBezTo>
                  <a:pt x="2091435" y="0"/>
                  <a:pt x="2214809" y="107202"/>
                  <a:pt x="2232575" y="249298"/>
                </a:cubicBezTo>
                <a:cubicBezTo>
                  <a:pt x="2066806" y="323095"/>
                  <a:pt x="1966497" y="475331"/>
                  <a:pt x="1992863" y="623272"/>
                </a:cubicBezTo>
                <a:lnTo>
                  <a:pt x="2032344" y="614884"/>
                </a:lnTo>
                <a:cubicBezTo>
                  <a:pt x="2007703" y="472429"/>
                  <a:pt x="2119863" y="324636"/>
                  <a:pt x="2294697" y="266187"/>
                </a:cubicBezTo>
                <a:cubicBezTo>
                  <a:pt x="2304190" y="260641"/>
                  <a:pt x="2314409" y="260119"/>
                  <a:pt x="2324748" y="260119"/>
                </a:cubicBezTo>
                <a:cubicBezTo>
                  <a:pt x="2491310" y="260119"/>
                  <a:pt x="2626336" y="395145"/>
                  <a:pt x="2626336" y="561708"/>
                </a:cubicBezTo>
                <a:lnTo>
                  <a:pt x="2609021" y="647481"/>
                </a:lnTo>
                <a:lnTo>
                  <a:pt x="2626336" y="647481"/>
                </a:lnTo>
                <a:lnTo>
                  <a:pt x="2626336" y="656343"/>
                </a:lnTo>
                <a:cubicBezTo>
                  <a:pt x="2762823" y="669742"/>
                  <a:pt x="2867295" y="786613"/>
                  <a:pt x="2867295" y="927882"/>
                </a:cubicBezTo>
                <a:lnTo>
                  <a:pt x="2850464" y="1011252"/>
                </a:lnTo>
                <a:cubicBezTo>
                  <a:pt x="2978255" y="1064152"/>
                  <a:pt x="3068057" y="1190111"/>
                  <a:pt x="3068057" y="1337042"/>
                </a:cubicBezTo>
                <a:cubicBezTo>
                  <a:pt x="3068057" y="1418703"/>
                  <a:pt x="3040320" y="1493884"/>
                  <a:pt x="2992210" y="1551889"/>
                </a:cubicBezTo>
                <a:cubicBezTo>
                  <a:pt x="2909241" y="1651289"/>
                  <a:pt x="2791782" y="1696238"/>
                  <a:pt x="2686704" y="1660749"/>
                </a:cubicBezTo>
                <a:lnTo>
                  <a:pt x="2673794" y="1698968"/>
                </a:lnTo>
                <a:cubicBezTo>
                  <a:pt x="2768232" y="1730865"/>
                  <a:pt x="2870956" y="1707121"/>
                  <a:pt x="2955415" y="1640323"/>
                </a:cubicBezTo>
                <a:cubicBezTo>
                  <a:pt x="2993943" y="1688574"/>
                  <a:pt x="3012247" y="1750635"/>
                  <a:pt x="3012247" y="1816968"/>
                </a:cubicBezTo>
                <a:cubicBezTo>
                  <a:pt x="3012247" y="1986406"/>
                  <a:pt x="2892829" y="2127952"/>
                  <a:pt x="2733451" y="2161496"/>
                </a:cubicBezTo>
                <a:cubicBezTo>
                  <a:pt x="2570803" y="2185843"/>
                  <a:pt x="2422847" y="2122052"/>
                  <a:pt x="2373218" y="2004561"/>
                </a:cubicBezTo>
                <a:cubicBezTo>
                  <a:pt x="2397575" y="1987765"/>
                  <a:pt x="2417022" y="1964396"/>
                  <a:pt x="2431421" y="1936987"/>
                </a:cubicBezTo>
                <a:cubicBezTo>
                  <a:pt x="2469123" y="1865220"/>
                  <a:pt x="2466430" y="1776674"/>
                  <a:pt x="2424327" y="1703750"/>
                </a:cubicBezTo>
                <a:lnTo>
                  <a:pt x="2390880" y="1723060"/>
                </a:lnTo>
                <a:cubicBezTo>
                  <a:pt x="2426033" y="1783948"/>
                  <a:pt x="2428758" y="1857660"/>
                  <a:pt x="2398065" y="1917447"/>
                </a:cubicBezTo>
                <a:cubicBezTo>
                  <a:pt x="2386618" y="1939743"/>
                  <a:pt x="2371177" y="1958844"/>
                  <a:pt x="2348681" y="1969064"/>
                </a:cubicBezTo>
                <a:lnTo>
                  <a:pt x="2314536" y="1978212"/>
                </a:lnTo>
                <a:lnTo>
                  <a:pt x="2320989" y="1994504"/>
                </a:lnTo>
                <a:cubicBezTo>
                  <a:pt x="2292439" y="2010252"/>
                  <a:pt x="2259301" y="2017439"/>
                  <a:pt x="2224883" y="2015050"/>
                </a:cubicBezTo>
                <a:cubicBezTo>
                  <a:pt x="2157880" y="2010397"/>
                  <a:pt x="2096183" y="1970105"/>
                  <a:pt x="2062112" y="1908746"/>
                </a:cubicBezTo>
                <a:lnTo>
                  <a:pt x="2028307" y="1927422"/>
                </a:lnTo>
                <a:cubicBezTo>
                  <a:pt x="2069101" y="2000945"/>
                  <a:pt x="2143517" y="2048870"/>
                  <a:pt x="2224395" y="2053708"/>
                </a:cubicBezTo>
                <a:cubicBezTo>
                  <a:pt x="2263912" y="2056070"/>
                  <a:pt x="2302036" y="2047984"/>
                  <a:pt x="2335071" y="2030056"/>
                </a:cubicBezTo>
                <a:cubicBezTo>
                  <a:pt x="2400196" y="2159379"/>
                  <a:pt x="2567325" y="2230480"/>
                  <a:pt x="2748680" y="2204554"/>
                </a:cubicBezTo>
                <a:cubicBezTo>
                  <a:pt x="2767068" y="2240602"/>
                  <a:pt x="2774723" y="2281713"/>
                  <a:pt x="2774723" y="2324613"/>
                </a:cubicBezTo>
                <a:cubicBezTo>
                  <a:pt x="2774723" y="2444667"/>
                  <a:pt x="2714770" y="2550720"/>
                  <a:pt x="2619461" y="2609132"/>
                </a:cubicBezTo>
                <a:cubicBezTo>
                  <a:pt x="2594093" y="2739763"/>
                  <a:pt x="2496512" y="2844553"/>
                  <a:pt x="2368919" y="2876858"/>
                </a:cubicBezTo>
                <a:cubicBezTo>
                  <a:pt x="2184369" y="2908073"/>
                  <a:pt x="2016372" y="2826285"/>
                  <a:pt x="1978290" y="2684161"/>
                </a:cubicBezTo>
                <a:lnTo>
                  <a:pt x="1939323" y="2694602"/>
                </a:lnTo>
                <a:cubicBezTo>
                  <a:pt x="1970494" y="2810931"/>
                  <a:pt x="2075973" y="2892306"/>
                  <a:pt x="2210223" y="2912307"/>
                </a:cubicBezTo>
                <a:cubicBezTo>
                  <a:pt x="2165434" y="3014618"/>
                  <a:pt x="2062317" y="3083879"/>
                  <a:pt x="1943022" y="3083879"/>
                </a:cubicBezTo>
                <a:cubicBezTo>
                  <a:pt x="1804718" y="3083879"/>
                  <a:pt x="1736151" y="2990782"/>
                  <a:pt x="1657612" y="2862428"/>
                </a:cubicBezTo>
                <a:cubicBezTo>
                  <a:pt x="1632100" y="2775963"/>
                  <a:pt x="1598588" y="2449530"/>
                  <a:pt x="1653064" y="2147091"/>
                </a:cubicBezTo>
                <a:cubicBezTo>
                  <a:pt x="1775302" y="2294672"/>
                  <a:pt x="1947360" y="2360889"/>
                  <a:pt x="2101389" y="2319520"/>
                </a:cubicBezTo>
                <a:lnTo>
                  <a:pt x="2085913" y="2268654"/>
                </a:lnTo>
                <a:cubicBezTo>
                  <a:pt x="1935632" y="2308197"/>
                  <a:pt x="1765039" y="2228547"/>
                  <a:pt x="1652548" y="2065927"/>
                </a:cubicBezTo>
                <a:cubicBezTo>
                  <a:pt x="1594744" y="1988631"/>
                  <a:pt x="1552933" y="1543383"/>
                  <a:pt x="1647107" y="1210118"/>
                </a:cubicBezTo>
                <a:cubicBezTo>
                  <a:pt x="1757451" y="1073526"/>
                  <a:pt x="1924310" y="1023711"/>
                  <a:pt x="2044795" y="1095494"/>
                </a:cubicBezTo>
                <a:lnTo>
                  <a:pt x="2046624" y="1092427"/>
                </a:lnTo>
                <a:cubicBezTo>
                  <a:pt x="2044963" y="1115904"/>
                  <a:pt x="2049817" y="1139574"/>
                  <a:pt x="2059741" y="1162003"/>
                </a:cubicBezTo>
                <a:cubicBezTo>
                  <a:pt x="2085174" y="1219476"/>
                  <a:pt x="2140055" y="1259997"/>
                  <a:pt x="2204060" y="1268556"/>
                </a:cubicBezTo>
                <a:lnTo>
                  <a:pt x="2208020" y="1238949"/>
                </a:lnTo>
                <a:cubicBezTo>
                  <a:pt x="2154665" y="1231814"/>
                  <a:pt x="2108853" y="1198319"/>
                  <a:pt x="2087448" y="1150798"/>
                </a:cubicBezTo>
                <a:cubicBezTo>
                  <a:pt x="2064784" y="1100476"/>
                  <a:pt x="2073123" y="1042569"/>
                  <a:pt x="2109077" y="1000639"/>
                </a:cubicBezTo>
                <a:cubicBezTo>
                  <a:pt x="2142987" y="961090"/>
                  <a:pt x="2196315" y="941798"/>
                  <a:pt x="2249471" y="949847"/>
                </a:cubicBezTo>
                <a:lnTo>
                  <a:pt x="2253988" y="920317"/>
                </a:lnTo>
                <a:cubicBezTo>
                  <a:pt x="2190211" y="910645"/>
                  <a:pt x="2126205" y="934132"/>
                  <a:pt x="2085632" y="982099"/>
                </a:cubicBezTo>
                <a:lnTo>
                  <a:pt x="2052614" y="1055246"/>
                </a:lnTo>
                <a:cubicBezTo>
                  <a:pt x="1928226" y="988072"/>
                  <a:pt x="1765306" y="1028878"/>
                  <a:pt x="1646726" y="1149851"/>
                </a:cubicBezTo>
                <a:cubicBezTo>
                  <a:pt x="1576863" y="1018908"/>
                  <a:pt x="1584053" y="461235"/>
                  <a:pt x="1633436" y="269593"/>
                </a:cubicBezTo>
                <a:cubicBezTo>
                  <a:pt x="1697428" y="119029"/>
                  <a:pt x="1776459" y="0"/>
                  <a:pt x="1943022" y="0"/>
                </a:cubicBezTo>
                <a:close/>
                <a:moveTo>
                  <a:pt x="1125035" y="0"/>
                </a:moveTo>
                <a:cubicBezTo>
                  <a:pt x="1263339" y="0"/>
                  <a:pt x="1331906" y="93097"/>
                  <a:pt x="1410445" y="221451"/>
                </a:cubicBezTo>
                <a:cubicBezTo>
                  <a:pt x="1435957" y="307916"/>
                  <a:pt x="1469469" y="634350"/>
                  <a:pt x="1414993" y="936788"/>
                </a:cubicBezTo>
                <a:cubicBezTo>
                  <a:pt x="1292755" y="789207"/>
                  <a:pt x="1120697" y="722990"/>
                  <a:pt x="966668" y="764359"/>
                </a:cubicBezTo>
                <a:lnTo>
                  <a:pt x="982144" y="815225"/>
                </a:lnTo>
                <a:cubicBezTo>
                  <a:pt x="1132425" y="775682"/>
                  <a:pt x="1303018" y="855332"/>
                  <a:pt x="1415509" y="1017952"/>
                </a:cubicBezTo>
                <a:cubicBezTo>
                  <a:pt x="1473313" y="1095249"/>
                  <a:pt x="1515123" y="1540497"/>
                  <a:pt x="1420950" y="1873762"/>
                </a:cubicBezTo>
                <a:cubicBezTo>
                  <a:pt x="1310606" y="2010353"/>
                  <a:pt x="1143747" y="2060168"/>
                  <a:pt x="1023262" y="1988385"/>
                </a:cubicBezTo>
                <a:lnTo>
                  <a:pt x="1021433" y="1991453"/>
                </a:lnTo>
                <a:cubicBezTo>
                  <a:pt x="1023094" y="1967976"/>
                  <a:pt x="1018240" y="1944306"/>
                  <a:pt x="1008316" y="1921877"/>
                </a:cubicBezTo>
                <a:cubicBezTo>
                  <a:pt x="982883" y="1864403"/>
                  <a:pt x="928002" y="1823883"/>
                  <a:pt x="863997" y="1815323"/>
                </a:cubicBezTo>
                <a:lnTo>
                  <a:pt x="860037" y="1844930"/>
                </a:lnTo>
                <a:cubicBezTo>
                  <a:pt x="913392" y="1852066"/>
                  <a:pt x="959204" y="1885560"/>
                  <a:pt x="980609" y="1933082"/>
                </a:cubicBezTo>
                <a:cubicBezTo>
                  <a:pt x="1003273" y="1983404"/>
                  <a:pt x="994934" y="2041310"/>
                  <a:pt x="958980" y="2083241"/>
                </a:cubicBezTo>
                <a:cubicBezTo>
                  <a:pt x="925070" y="2122789"/>
                  <a:pt x="871742" y="2142082"/>
                  <a:pt x="818586" y="2134033"/>
                </a:cubicBezTo>
                <a:lnTo>
                  <a:pt x="814069" y="2163562"/>
                </a:lnTo>
                <a:cubicBezTo>
                  <a:pt x="877846" y="2173235"/>
                  <a:pt x="941852" y="2149747"/>
                  <a:pt x="982425" y="2101780"/>
                </a:cubicBezTo>
                <a:lnTo>
                  <a:pt x="1015443" y="2028633"/>
                </a:lnTo>
                <a:cubicBezTo>
                  <a:pt x="1139831" y="2095808"/>
                  <a:pt x="1302751" y="2055001"/>
                  <a:pt x="1421331" y="1934029"/>
                </a:cubicBezTo>
                <a:cubicBezTo>
                  <a:pt x="1491194" y="2064971"/>
                  <a:pt x="1484003" y="2622644"/>
                  <a:pt x="1434621" y="2814287"/>
                </a:cubicBezTo>
                <a:cubicBezTo>
                  <a:pt x="1370629" y="2964850"/>
                  <a:pt x="1291598" y="3083879"/>
                  <a:pt x="1125035" y="3083879"/>
                </a:cubicBezTo>
                <a:cubicBezTo>
                  <a:pt x="976622" y="3083879"/>
                  <a:pt x="853248" y="2976677"/>
                  <a:pt x="835482" y="2834581"/>
                </a:cubicBezTo>
                <a:cubicBezTo>
                  <a:pt x="1001251" y="2760784"/>
                  <a:pt x="1101560" y="2608549"/>
                  <a:pt x="1075194" y="2460607"/>
                </a:cubicBezTo>
                <a:lnTo>
                  <a:pt x="1035713" y="2468996"/>
                </a:lnTo>
                <a:cubicBezTo>
                  <a:pt x="1060354" y="2611450"/>
                  <a:pt x="948194" y="2759243"/>
                  <a:pt x="773360" y="2817692"/>
                </a:cubicBezTo>
                <a:cubicBezTo>
                  <a:pt x="763867" y="2823239"/>
                  <a:pt x="753648" y="2823760"/>
                  <a:pt x="743309" y="2823760"/>
                </a:cubicBezTo>
                <a:cubicBezTo>
                  <a:pt x="576747" y="2823760"/>
                  <a:pt x="441721" y="2688734"/>
                  <a:pt x="441721" y="2522172"/>
                </a:cubicBezTo>
                <a:lnTo>
                  <a:pt x="459036" y="2436399"/>
                </a:lnTo>
                <a:lnTo>
                  <a:pt x="441721" y="2436399"/>
                </a:lnTo>
                <a:lnTo>
                  <a:pt x="441721" y="2427537"/>
                </a:lnTo>
                <a:cubicBezTo>
                  <a:pt x="305234" y="2414137"/>
                  <a:pt x="200762" y="2297266"/>
                  <a:pt x="200762" y="2155997"/>
                </a:cubicBezTo>
                <a:lnTo>
                  <a:pt x="217593" y="2072628"/>
                </a:lnTo>
                <a:cubicBezTo>
                  <a:pt x="89802" y="2019727"/>
                  <a:pt x="0" y="1893768"/>
                  <a:pt x="0" y="1746838"/>
                </a:cubicBezTo>
                <a:cubicBezTo>
                  <a:pt x="0" y="1665177"/>
                  <a:pt x="27737" y="1589996"/>
                  <a:pt x="75847" y="1531990"/>
                </a:cubicBezTo>
                <a:cubicBezTo>
                  <a:pt x="158816" y="1432590"/>
                  <a:pt x="276275" y="1387641"/>
                  <a:pt x="381353" y="1423131"/>
                </a:cubicBezTo>
                <a:lnTo>
                  <a:pt x="394263" y="1384911"/>
                </a:lnTo>
                <a:cubicBezTo>
                  <a:pt x="299825" y="1353014"/>
                  <a:pt x="197101" y="1376758"/>
                  <a:pt x="112642" y="1443556"/>
                </a:cubicBezTo>
                <a:cubicBezTo>
                  <a:pt x="74114" y="1395305"/>
                  <a:pt x="55810" y="1333244"/>
                  <a:pt x="55810" y="1266911"/>
                </a:cubicBezTo>
                <a:cubicBezTo>
                  <a:pt x="55810" y="1097473"/>
                  <a:pt x="175228" y="955927"/>
                  <a:pt x="334606" y="922383"/>
                </a:cubicBezTo>
                <a:cubicBezTo>
                  <a:pt x="497254" y="898036"/>
                  <a:pt x="645210" y="961827"/>
                  <a:pt x="694839" y="1079319"/>
                </a:cubicBezTo>
                <a:cubicBezTo>
                  <a:pt x="670482" y="1096114"/>
                  <a:pt x="651035" y="1119484"/>
                  <a:pt x="636636" y="1146893"/>
                </a:cubicBezTo>
                <a:cubicBezTo>
                  <a:pt x="598934" y="1218660"/>
                  <a:pt x="601627" y="1307205"/>
                  <a:pt x="643730" y="1380130"/>
                </a:cubicBezTo>
                <a:lnTo>
                  <a:pt x="677177" y="1360819"/>
                </a:lnTo>
                <a:cubicBezTo>
                  <a:pt x="642024" y="1299932"/>
                  <a:pt x="639299" y="1226219"/>
                  <a:pt x="669992" y="1166433"/>
                </a:cubicBezTo>
                <a:cubicBezTo>
                  <a:pt x="681439" y="1144136"/>
                  <a:pt x="696880" y="1125036"/>
                  <a:pt x="719376" y="1114815"/>
                </a:cubicBezTo>
                <a:lnTo>
                  <a:pt x="753521" y="1105667"/>
                </a:lnTo>
                <a:lnTo>
                  <a:pt x="747068" y="1089375"/>
                </a:lnTo>
                <a:cubicBezTo>
                  <a:pt x="775618" y="1073627"/>
                  <a:pt x="808756" y="1066440"/>
                  <a:pt x="843174" y="1068829"/>
                </a:cubicBezTo>
                <a:cubicBezTo>
                  <a:pt x="910177" y="1073482"/>
                  <a:pt x="971874" y="1113774"/>
                  <a:pt x="1005945" y="1175134"/>
                </a:cubicBezTo>
                <a:lnTo>
                  <a:pt x="1039750" y="1156458"/>
                </a:lnTo>
                <a:cubicBezTo>
                  <a:pt x="998956" y="1082934"/>
                  <a:pt x="924540" y="1035010"/>
                  <a:pt x="843662" y="1030172"/>
                </a:cubicBezTo>
                <a:cubicBezTo>
                  <a:pt x="804145" y="1027809"/>
                  <a:pt x="766021" y="1035895"/>
                  <a:pt x="732986" y="1053824"/>
                </a:cubicBezTo>
                <a:cubicBezTo>
                  <a:pt x="667861" y="924500"/>
                  <a:pt x="500732" y="853399"/>
                  <a:pt x="319377" y="879325"/>
                </a:cubicBezTo>
                <a:cubicBezTo>
                  <a:pt x="300989" y="843277"/>
                  <a:pt x="293334" y="802167"/>
                  <a:pt x="293334" y="759266"/>
                </a:cubicBezTo>
                <a:cubicBezTo>
                  <a:pt x="293334" y="639212"/>
                  <a:pt x="353287" y="533159"/>
                  <a:pt x="448596" y="474747"/>
                </a:cubicBezTo>
                <a:cubicBezTo>
                  <a:pt x="473964" y="344116"/>
                  <a:pt x="571545" y="239326"/>
                  <a:pt x="699138" y="207021"/>
                </a:cubicBezTo>
                <a:cubicBezTo>
                  <a:pt x="883688" y="175806"/>
                  <a:pt x="1051685" y="257594"/>
                  <a:pt x="1089767" y="399718"/>
                </a:cubicBezTo>
                <a:lnTo>
                  <a:pt x="1128734" y="389277"/>
                </a:lnTo>
                <a:cubicBezTo>
                  <a:pt x="1097563" y="272948"/>
                  <a:pt x="992084" y="191573"/>
                  <a:pt x="857834" y="171572"/>
                </a:cubicBezTo>
                <a:cubicBezTo>
                  <a:pt x="902623" y="69261"/>
                  <a:pt x="1005740" y="0"/>
                  <a:pt x="1125035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grpSp>
        <p:nvGrpSpPr>
          <p:cNvPr id="72" name="Group 110">
            <a:extLst>
              <a:ext uri="{FF2B5EF4-FFF2-40B4-BE49-F238E27FC236}">
                <a16:creationId xmlns:a16="http://schemas.microsoft.com/office/drawing/2014/main" id="{D519BD50-C580-4623-8810-E04695FA5F45}"/>
              </a:ext>
            </a:extLst>
          </p:cNvPr>
          <p:cNvGrpSpPr/>
          <p:nvPr/>
        </p:nvGrpSpPr>
        <p:grpSpPr>
          <a:xfrm>
            <a:off x="5291981" y="2416730"/>
            <a:ext cx="501857" cy="554554"/>
            <a:chOff x="4835382" y="73243"/>
            <a:chExt cx="2920830" cy="3227535"/>
          </a:xfrm>
          <a:solidFill>
            <a:schemeClr val="accent4"/>
          </a:solidFill>
        </p:grpSpPr>
        <p:sp>
          <p:nvSpPr>
            <p:cNvPr id="73" name="Freeform 111">
              <a:extLst>
                <a:ext uri="{FF2B5EF4-FFF2-40B4-BE49-F238E27FC236}">
                  <a16:creationId xmlns:a16="http://schemas.microsoft.com/office/drawing/2014/main" id="{BBCCCC44-B257-423A-BB40-01303C1A40E8}"/>
                </a:ext>
              </a:extLst>
            </p:cNvPr>
            <p:cNvSpPr/>
            <p:nvPr/>
          </p:nvSpPr>
          <p:spPr>
            <a:xfrm>
              <a:off x="4835382" y="73243"/>
              <a:ext cx="2920830" cy="3227535"/>
            </a:xfrm>
            <a:custGeom>
              <a:avLst/>
              <a:gdLst>
                <a:gd name="connsiteX0" fmla="*/ 3030279 w 4784651"/>
                <a:gd name="connsiteY0" fmla="*/ 0 h 5890437"/>
                <a:gd name="connsiteX1" fmla="*/ 765544 w 4784651"/>
                <a:gd name="connsiteY1" fmla="*/ 1935126 h 5890437"/>
                <a:gd name="connsiteX2" fmla="*/ 0 w 4784651"/>
                <a:gd name="connsiteY2" fmla="*/ 3051544 h 5890437"/>
                <a:gd name="connsiteX3" fmla="*/ 510363 w 4784651"/>
                <a:gd name="connsiteY3" fmla="*/ 3327991 h 5890437"/>
                <a:gd name="connsiteX4" fmla="*/ 297711 w 4784651"/>
                <a:gd name="connsiteY4" fmla="*/ 3657600 h 5890437"/>
                <a:gd name="connsiteX5" fmla="*/ 489097 w 4784651"/>
                <a:gd name="connsiteY5" fmla="*/ 3870251 h 5890437"/>
                <a:gd name="connsiteX6" fmla="*/ 372139 w 4784651"/>
                <a:gd name="connsiteY6" fmla="*/ 4061637 h 5890437"/>
                <a:gd name="connsiteX7" fmla="*/ 563525 w 4784651"/>
                <a:gd name="connsiteY7" fmla="*/ 4316819 h 5890437"/>
                <a:gd name="connsiteX8" fmla="*/ 499730 w 4784651"/>
                <a:gd name="connsiteY8" fmla="*/ 4976037 h 5890437"/>
                <a:gd name="connsiteX9" fmla="*/ 1754372 w 4784651"/>
                <a:gd name="connsiteY9" fmla="*/ 5199321 h 5890437"/>
                <a:gd name="connsiteX10" fmla="*/ 1945758 w 4784651"/>
                <a:gd name="connsiteY10" fmla="*/ 5890437 h 5890437"/>
                <a:gd name="connsiteX11" fmla="*/ 4784651 w 4784651"/>
                <a:gd name="connsiteY11" fmla="*/ 5858540 h 5890437"/>
                <a:gd name="connsiteX12" fmla="*/ 4561367 w 4784651"/>
                <a:gd name="connsiteY12" fmla="*/ 4189228 h 5890437"/>
                <a:gd name="connsiteX13" fmla="*/ 3030279 w 4784651"/>
                <a:gd name="connsiteY13" fmla="*/ 0 h 5890437"/>
                <a:gd name="connsiteX0" fmla="*/ 3030279 w 4784651"/>
                <a:gd name="connsiteY0" fmla="*/ 114 h 5890551"/>
                <a:gd name="connsiteX1" fmla="*/ 765544 w 4784651"/>
                <a:gd name="connsiteY1" fmla="*/ 1935240 h 5890551"/>
                <a:gd name="connsiteX2" fmla="*/ 0 w 4784651"/>
                <a:gd name="connsiteY2" fmla="*/ 3051658 h 5890551"/>
                <a:gd name="connsiteX3" fmla="*/ 510363 w 4784651"/>
                <a:gd name="connsiteY3" fmla="*/ 3328105 h 5890551"/>
                <a:gd name="connsiteX4" fmla="*/ 297711 w 4784651"/>
                <a:gd name="connsiteY4" fmla="*/ 3657714 h 5890551"/>
                <a:gd name="connsiteX5" fmla="*/ 489097 w 4784651"/>
                <a:gd name="connsiteY5" fmla="*/ 3870365 h 5890551"/>
                <a:gd name="connsiteX6" fmla="*/ 372139 w 4784651"/>
                <a:gd name="connsiteY6" fmla="*/ 4061751 h 5890551"/>
                <a:gd name="connsiteX7" fmla="*/ 563525 w 4784651"/>
                <a:gd name="connsiteY7" fmla="*/ 4316933 h 5890551"/>
                <a:gd name="connsiteX8" fmla="*/ 499730 w 4784651"/>
                <a:gd name="connsiteY8" fmla="*/ 4976151 h 5890551"/>
                <a:gd name="connsiteX9" fmla="*/ 1754372 w 4784651"/>
                <a:gd name="connsiteY9" fmla="*/ 5199435 h 5890551"/>
                <a:gd name="connsiteX10" fmla="*/ 1945758 w 4784651"/>
                <a:gd name="connsiteY10" fmla="*/ 5890551 h 5890551"/>
                <a:gd name="connsiteX11" fmla="*/ 4784651 w 4784651"/>
                <a:gd name="connsiteY11" fmla="*/ 5858654 h 5890551"/>
                <a:gd name="connsiteX12" fmla="*/ 4561367 w 4784651"/>
                <a:gd name="connsiteY12" fmla="*/ 4189342 h 5890551"/>
                <a:gd name="connsiteX13" fmla="*/ 3030279 w 4784651"/>
                <a:gd name="connsiteY13" fmla="*/ 114 h 5890551"/>
                <a:gd name="connsiteX0" fmla="*/ 3030279 w 4784651"/>
                <a:gd name="connsiteY0" fmla="*/ 398 h 5890835"/>
                <a:gd name="connsiteX1" fmla="*/ 765544 w 4784651"/>
                <a:gd name="connsiteY1" fmla="*/ 1935524 h 5890835"/>
                <a:gd name="connsiteX2" fmla="*/ 0 w 4784651"/>
                <a:gd name="connsiteY2" fmla="*/ 3051942 h 5890835"/>
                <a:gd name="connsiteX3" fmla="*/ 510363 w 4784651"/>
                <a:gd name="connsiteY3" fmla="*/ 3328389 h 5890835"/>
                <a:gd name="connsiteX4" fmla="*/ 297711 w 4784651"/>
                <a:gd name="connsiteY4" fmla="*/ 3657998 h 5890835"/>
                <a:gd name="connsiteX5" fmla="*/ 489097 w 4784651"/>
                <a:gd name="connsiteY5" fmla="*/ 3870649 h 5890835"/>
                <a:gd name="connsiteX6" fmla="*/ 372139 w 4784651"/>
                <a:gd name="connsiteY6" fmla="*/ 4062035 h 5890835"/>
                <a:gd name="connsiteX7" fmla="*/ 563525 w 4784651"/>
                <a:gd name="connsiteY7" fmla="*/ 4317217 h 5890835"/>
                <a:gd name="connsiteX8" fmla="*/ 499730 w 4784651"/>
                <a:gd name="connsiteY8" fmla="*/ 4976435 h 5890835"/>
                <a:gd name="connsiteX9" fmla="*/ 1754372 w 4784651"/>
                <a:gd name="connsiteY9" fmla="*/ 5199719 h 5890835"/>
                <a:gd name="connsiteX10" fmla="*/ 1945758 w 4784651"/>
                <a:gd name="connsiteY10" fmla="*/ 5890835 h 5890835"/>
                <a:gd name="connsiteX11" fmla="*/ 4784651 w 4784651"/>
                <a:gd name="connsiteY11" fmla="*/ 5858938 h 5890835"/>
                <a:gd name="connsiteX12" fmla="*/ 4561367 w 4784651"/>
                <a:gd name="connsiteY12" fmla="*/ 4189626 h 5890835"/>
                <a:gd name="connsiteX13" fmla="*/ 3030279 w 4784651"/>
                <a:gd name="connsiteY13" fmla="*/ 398 h 5890835"/>
                <a:gd name="connsiteX0" fmla="*/ 3030279 w 5042277"/>
                <a:gd name="connsiteY0" fmla="*/ 663 h 5891100"/>
                <a:gd name="connsiteX1" fmla="*/ 765544 w 5042277"/>
                <a:gd name="connsiteY1" fmla="*/ 1935789 h 5891100"/>
                <a:gd name="connsiteX2" fmla="*/ 0 w 5042277"/>
                <a:gd name="connsiteY2" fmla="*/ 3052207 h 5891100"/>
                <a:gd name="connsiteX3" fmla="*/ 510363 w 5042277"/>
                <a:gd name="connsiteY3" fmla="*/ 3328654 h 5891100"/>
                <a:gd name="connsiteX4" fmla="*/ 297711 w 5042277"/>
                <a:gd name="connsiteY4" fmla="*/ 3658263 h 5891100"/>
                <a:gd name="connsiteX5" fmla="*/ 489097 w 5042277"/>
                <a:gd name="connsiteY5" fmla="*/ 3870914 h 5891100"/>
                <a:gd name="connsiteX6" fmla="*/ 372139 w 5042277"/>
                <a:gd name="connsiteY6" fmla="*/ 4062300 h 5891100"/>
                <a:gd name="connsiteX7" fmla="*/ 563525 w 5042277"/>
                <a:gd name="connsiteY7" fmla="*/ 4317482 h 5891100"/>
                <a:gd name="connsiteX8" fmla="*/ 499730 w 5042277"/>
                <a:gd name="connsiteY8" fmla="*/ 4976700 h 5891100"/>
                <a:gd name="connsiteX9" fmla="*/ 1754372 w 5042277"/>
                <a:gd name="connsiteY9" fmla="*/ 5199984 h 5891100"/>
                <a:gd name="connsiteX10" fmla="*/ 1945758 w 5042277"/>
                <a:gd name="connsiteY10" fmla="*/ 5891100 h 5891100"/>
                <a:gd name="connsiteX11" fmla="*/ 4784651 w 5042277"/>
                <a:gd name="connsiteY11" fmla="*/ 5859203 h 5891100"/>
                <a:gd name="connsiteX12" fmla="*/ 4561367 w 5042277"/>
                <a:gd name="connsiteY12" fmla="*/ 4189891 h 5891100"/>
                <a:gd name="connsiteX13" fmla="*/ 3030279 w 5042277"/>
                <a:gd name="connsiteY13" fmla="*/ 663 h 5891100"/>
                <a:gd name="connsiteX0" fmla="*/ 3030279 w 5316637"/>
                <a:gd name="connsiteY0" fmla="*/ 1079 h 5891516"/>
                <a:gd name="connsiteX1" fmla="*/ 765544 w 5316637"/>
                <a:gd name="connsiteY1" fmla="*/ 1936205 h 5891516"/>
                <a:gd name="connsiteX2" fmla="*/ 0 w 5316637"/>
                <a:gd name="connsiteY2" fmla="*/ 3052623 h 5891516"/>
                <a:gd name="connsiteX3" fmla="*/ 510363 w 5316637"/>
                <a:gd name="connsiteY3" fmla="*/ 3329070 h 5891516"/>
                <a:gd name="connsiteX4" fmla="*/ 297711 w 5316637"/>
                <a:gd name="connsiteY4" fmla="*/ 3658679 h 5891516"/>
                <a:gd name="connsiteX5" fmla="*/ 489097 w 5316637"/>
                <a:gd name="connsiteY5" fmla="*/ 3871330 h 5891516"/>
                <a:gd name="connsiteX6" fmla="*/ 372139 w 5316637"/>
                <a:gd name="connsiteY6" fmla="*/ 4062716 h 5891516"/>
                <a:gd name="connsiteX7" fmla="*/ 563525 w 5316637"/>
                <a:gd name="connsiteY7" fmla="*/ 4317898 h 5891516"/>
                <a:gd name="connsiteX8" fmla="*/ 499730 w 5316637"/>
                <a:gd name="connsiteY8" fmla="*/ 4977116 h 5891516"/>
                <a:gd name="connsiteX9" fmla="*/ 1754372 w 5316637"/>
                <a:gd name="connsiteY9" fmla="*/ 5200400 h 5891516"/>
                <a:gd name="connsiteX10" fmla="*/ 1945758 w 5316637"/>
                <a:gd name="connsiteY10" fmla="*/ 5891516 h 5891516"/>
                <a:gd name="connsiteX11" fmla="*/ 4784651 w 5316637"/>
                <a:gd name="connsiteY11" fmla="*/ 5859619 h 5891516"/>
                <a:gd name="connsiteX12" fmla="*/ 4890977 w 5316637"/>
                <a:gd name="connsiteY12" fmla="*/ 3520456 h 5891516"/>
                <a:gd name="connsiteX13" fmla="*/ 3030279 w 5316637"/>
                <a:gd name="connsiteY13" fmla="*/ 1079 h 5891516"/>
                <a:gd name="connsiteX0" fmla="*/ 3030279 w 5338934"/>
                <a:gd name="connsiteY0" fmla="*/ 561 h 5890998"/>
                <a:gd name="connsiteX1" fmla="*/ 765544 w 5338934"/>
                <a:gd name="connsiteY1" fmla="*/ 1935687 h 5890998"/>
                <a:gd name="connsiteX2" fmla="*/ 0 w 5338934"/>
                <a:gd name="connsiteY2" fmla="*/ 3052105 h 5890998"/>
                <a:gd name="connsiteX3" fmla="*/ 510363 w 5338934"/>
                <a:gd name="connsiteY3" fmla="*/ 3328552 h 5890998"/>
                <a:gd name="connsiteX4" fmla="*/ 297711 w 5338934"/>
                <a:gd name="connsiteY4" fmla="*/ 3658161 h 5890998"/>
                <a:gd name="connsiteX5" fmla="*/ 489097 w 5338934"/>
                <a:gd name="connsiteY5" fmla="*/ 3870812 h 5890998"/>
                <a:gd name="connsiteX6" fmla="*/ 372139 w 5338934"/>
                <a:gd name="connsiteY6" fmla="*/ 4062198 h 5890998"/>
                <a:gd name="connsiteX7" fmla="*/ 563525 w 5338934"/>
                <a:gd name="connsiteY7" fmla="*/ 4317380 h 5890998"/>
                <a:gd name="connsiteX8" fmla="*/ 499730 w 5338934"/>
                <a:gd name="connsiteY8" fmla="*/ 4976598 h 5890998"/>
                <a:gd name="connsiteX9" fmla="*/ 1754372 w 5338934"/>
                <a:gd name="connsiteY9" fmla="*/ 5199882 h 5890998"/>
                <a:gd name="connsiteX10" fmla="*/ 1945758 w 5338934"/>
                <a:gd name="connsiteY10" fmla="*/ 5890998 h 5890998"/>
                <a:gd name="connsiteX11" fmla="*/ 4784651 w 5338934"/>
                <a:gd name="connsiteY11" fmla="*/ 5859101 h 5890998"/>
                <a:gd name="connsiteX12" fmla="*/ 4890977 w 5338934"/>
                <a:gd name="connsiteY12" fmla="*/ 3519938 h 5890998"/>
                <a:gd name="connsiteX13" fmla="*/ 3030279 w 5338934"/>
                <a:gd name="connsiteY13" fmla="*/ 561 h 5890998"/>
                <a:gd name="connsiteX0" fmla="*/ 3030279 w 5381346"/>
                <a:gd name="connsiteY0" fmla="*/ 115 h 5890552"/>
                <a:gd name="connsiteX1" fmla="*/ 765544 w 5381346"/>
                <a:gd name="connsiteY1" fmla="*/ 1935241 h 5890552"/>
                <a:gd name="connsiteX2" fmla="*/ 0 w 5381346"/>
                <a:gd name="connsiteY2" fmla="*/ 3051659 h 5890552"/>
                <a:gd name="connsiteX3" fmla="*/ 510363 w 5381346"/>
                <a:gd name="connsiteY3" fmla="*/ 3328106 h 5890552"/>
                <a:gd name="connsiteX4" fmla="*/ 297711 w 5381346"/>
                <a:gd name="connsiteY4" fmla="*/ 3657715 h 5890552"/>
                <a:gd name="connsiteX5" fmla="*/ 489097 w 5381346"/>
                <a:gd name="connsiteY5" fmla="*/ 3870366 h 5890552"/>
                <a:gd name="connsiteX6" fmla="*/ 372139 w 5381346"/>
                <a:gd name="connsiteY6" fmla="*/ 4061752 h 5890552"/>
                <a:gd name="connsiteX7" fmla="*/ 563525 w 5381346"/>
                <a:gd name="connsiteY7" fmla="*/ 4316934 h 5890552"/>
                <a:gd name="connsiteX8" fmla="*/ 499730 w 5381346"/>
                <a:gd name="connsiteY8" fmla="*/ 4976152 h 5890552"/>
                <a:gd name="connsiteX9" fmla="*/ 1754372 w 5381346"/>
                <a:gd name="connsiteY9" fmla="*/ 5199436 h 5890552"/>
                <a:gd name="connsiteX10" fmla="*/ 1945758 w 5381346"/>
                <a:gd name="connsiteY10" fmla="*/ 5890552 h 5890552"/>
                <a:gd name="connsiteX11" fmla="*/ 4784651 w 5381346"/>
                <a:gd name="connsiteY11" fmla="*/ 5858655 h 5890552"/>
                <a:gd name="connsiteX12" fmla="*/ 4890977 w 5381346"/>
                <a:gd name="connsiteY12" fmla="*/ 3519492 h 5890552"/>
                <a:gd name="connsiteX13" fmla="*/ 3030279 w 5381346"/>
                <a:gd name="connsiteY13" fmla="*/ 115 h 5890552"/>
                <a:gd name="connsiteX0" fmla="*/ 3030279 w 5381346"/>
                <a:gd name="connsiteY0" fmla="*/ 115 h 5890552"/>
                <a:gd name="connsiteX1" fmla="*/ 765544 w 5381346"/>
                <a:gd name="connsiteY1" fmla="*/ 1935241 h 5890552"/>
                <a:gd name="connsiteX2" fmla="*/ 0 w 5381346"/>
                <a:gd name="connsiteY2" fmla="*/ 3051659 h 5890552"/>
                <a:gd name="connsiteX3" fmla="*/ 510363 w 5381346"/>
                <a:gd name="connsiteY3" fmla="*/ 3328106 h 5890552"/>
                <a:gd name="connsiteX4" fmla="*/ 297711 w 5381346"/>
                <a:gd name="connsiteY4" fmla="*/ 3657715 h 5890552"/>
                <a:gd name="connsiteX5" fmla="*/ 489097 w 5381346"/>
                <a:gd name="connsiteY5" fmla="*/ 3870366 h 5890552"/>
                <a:gd name="connsiteX6" fmla="*/ 372139 w 5381346"/>
                <a:gd name="connsiteY6" fmla="*/ 4061752 h 5890552"/>
                <a:gd name="connsiteX7" fmla="*/ 563525 w 5381346"/>
                <a:gd name="connsiteY7" fmla="*/ 4316934 h 5890552"/>
                <a:gd name="connsiteX8" fmla="*/ 499730 w 5381346"/>
                <a:gd name="connsiteY8" fmla="*/ 4976152 h 5890552"/>
                <a:gd name="connsiteX9" fmla="*/ 1754372 w 5381346"/>
                <a:gd name="connsiteY9" fmla="*/ 5199436 h 5890552"/>
                <a:gd name="connsiteX10" fmla="*/ 1945758 w 5381346"/>
                <a:gd name="connsiteY10" fmla="*/ 5890552 h 5890552"/>
                <a:gd name="connsiteX11" fmla="*/ 4784651 w 5381346"/>
                <a:gd name="connsiteY11" fmla="*/ 5858655 h 5890552"/>
                <a:gd name="connsiteX12" fmla="*/ 4890977 w 5381346"/>
                <a:gd name="connsiteY12" fmla="*/ 3519492 h 5890552"/>
                <a:gd name="connsiteX13" fmla="*/ 3030279 w 5381346"/>
                <a:gd name="connsiteY13" fmla="*/ 115 h 5890552"/>
                <a:gd name="connsiteX0" fmla="*/ 3030279 w 5381346"/>
                <a:gd name="connsiteY0" fmla="*/ 115 h 5890552"/>
                <a:gd name="connsiteX1" fmla="*/ 765544 w 5381346"/>
                <a:gd name="connsiteY1" fmla="*/ 1935241 h 5890552"/>
                <a:gd name="connsiteX2" fmla="*/ 0 w 5381346"/>
                <a:gd name="connsiteY2" fmla="*/ 3051659 h 5890552"/>
                <a:gd name="connsiteX3" fmla="*/ 510363 w 5381346"/>
                <a:gd name="connsiteY3" fmla="*/ 3328106 h 5890552"/>
                <a:gd name="connsiteX4" fmla="*/ 297711 w 5381346"/>
                <a:gd name="connsiteY4" fmla="*/ 3657715 h 5890552"/>
                <a:gd name="connsiteX5" fmla="*/ 489097 w 5381346"/>
                <a:gd name="connsiteY5" fmla="*/ 3870366 h 5890552"/>
                <a:gd name="connsiteX6" fmla="*/ 372139 w 5381346"/>
                <a:gd name="connsiteY6" fmla="*/ 4061752 h 5890552"/>
                <a:gd name="connsiteX7" fmla="*/ 563525 w 5381346"/>
                <a:gd name="connsiteY7" fmla="*/ 4316934 h 5890552"/>
                <a:gd name="connsiteX8" fmla="*/ 499730 w 5381346"/>
                <a:gd name="connsiteY8" fmla="*/ 4976152 h 5890552"/>
                <a:gd name="connsiteX9" fmla="*/ 1754372 w 5381346"/>
                <a:gd name="connsiteY9" fmla="*/ 5199436 h 5890552"/>
                <a:gd name="connsiteX10" fmla="*/ 1945758 w 5381346"/>
                <a:gd name="connsiteY10" fmla="*/ 5890552 h 5890552"/>
                <a:gd name="connsiteX11" fmla="*/ 4784651 w 5381346"/>
                <a:gd name="connsiteY11" fmla="*/ 5858655 h 5890552"/>
                <a:gd name="connsiteX12" fmla="*/ 4890977 w 5381346"/>
                <a:gd name="connsiteY12" fmla="*/ 3519492 h 5890552"/>
                <a:gd name="connsiteX13" fmla="*/ 3030279 w 5381346"/>
                <a:gd name="connsiteY13" fmla="*/ 115 h 5890552"/>
                <a:gd name="connsiteX0" fmla="*/ 3030279 w 5381346"/>
                <a:gd name="connsiteY0" fmla="*/ 115 h 5890552"/>
                <a:gd name="connsiteX1" fmla="*/ 765544 w 5381346"/>
                <a:gd name="connsiteY1" fmla="*/ 1935241 h 5890552"/>
                <a:gd name="connsiteX2" fmla="*/ 0 w 5381346"/>
                <a:gd name="connsiteY2" fmla="*/ 3051659 h 5890552"/>
                <a:gd name="connsiteX3" fmla="*/ 510363 w 5381346"/>
                <a:gd name="connsiteY3" fmla="*/ 3328106 h 5890552"/>
                <a:gd name="connsiteX4" fmla="*/ 297711 w 5381346"/>
                <a:gd name="connsiteY4" fmla="*/ 3657715 h 5890552"/>
                <a:gd name="connsiteX5" fmla="*/ 489097 w 5381346"/>
                <a:gd name="connsiteY5" fmla="*/ 3870366 h 5890552"/>
                <a:gd name="connsiteX6" fmla="*/ 372139 w 5381346"/>
                <a:gd name="connsiteY6" fmla="*/ 4061752 h 5890552"/>
                <a:gd name="connsiteX7" fmla="*/ 563525 w 5381346"/>
                <a:gd name="connsiteY7" fmla="*/ 4316934 h 5890552"/>
                <a:gd name="connsiteX8" fmla="*/ 499730 w 5381346"/>
                <a:gd name="connsiteY8" fmla="*/ 4976152 h 5890552"/>
                <a:gd name="connsiteX9" fmla="*/ 1754372 w 5381346"/>
                <a:gd name="connsiteY9" fmla="*/ 5199436 h 5890552"/>
                <a:gd name="connsiteX10" fmla="*/ 1945758 w 5381346"/>
                <a:gd name="connsiteY10" fmla="*/ 5890552 h 5890552"/>
                <a:gd name="connsiteX11" fmla="*/ 4784651 w 5381346"/>
                <a:gd name="connsiteY11" fmla="*/ 5858655 h 5890552"/>
                <a:gd name="connsiteX12" fmla="*/ 4890977 w 5381346"/>
                <a:gd name="connsiteY12" fmla="*/ 3519492 h 5890552"/>
                <a:gd name="connsiteX13" fmla="*/ 3030279 w 5381346"/>
                <a:gd name="connsiteY13" fmla="*/ 115 h 5890552"/>
                <a:gd name="connsiteX0" fmla="*/ 3030279 w 5381346"/>
                <a:gd name="connsiteY0" fmla="*/ 115 h 5890552"/>
                <a:gd name="connsiteX1" fmla="*/ 765544 w 5381346"/>
                <a:gd name="connsiteY1" fmla="*/ 1935241 h 5890552"/>
                <a:gd name="connsiteX2" fmla="*/ 0 w 5381346"/>
                <a:gd name="connsiteY2" fmla="*/ 3051659 h 5890552"/>
                <a:gd name="connsiteX3" fmla="*/ 510363 w 5381346"/>
                <a:gd name="connsiteY3" fmla="*/ 3328106 h 5890552"/>
                <a:gd name="connsiteX4" fmla="*/ 297711 w 5381346"/>
                <a:gd name="connsiteY4" fmla="*/ 3657715 h 5890552"/>
                <a:gd name="connsiteX5" fmla="*/ 489097 w 5381346"/>
                <a:gd name="connsiteY5" fmla="*/ 3870366 h 5890552"/>
                <a:gd name="connsiteX6" fmla="*/ 372139 w 5381346"/>
                <a:gd name="connsiteY6" fmla="*/ 4061752 h 5890552"/>
                <a:gd name="connsiteX7" fmla="*/ 563525 w 5381346"/>
                <a:gd name="connsiteY7" fmla="*/ 4316934 h 5890552"/>
                <a:gd name="connsiteX8" fmla="*/ 499730 w 5381346"/>
                <a:gd name="connsiteY8" fmla="*/ 4976152 h 5890552"/>
                <a:gd name="connsiteX9" fmla="*/ 1754372 w 5381346"/>
                <a:gd name="connsiteY9" fmla="*/ 5199436 h 5890552"/>
                <a:gd name="connsiteX10" fmla="*/ 1945758 w 5381346"/>
                <a:gd name="connsiteY10" fmla="*/ 5890552 h 5890552"/>
                <a:gd name="connsiteX11" fmla="*/ 4784651 w 5381346"/>
                <a:gd name="connsiteY11" fmla="*/ 5858655 h 5890552"/>
                <a:gd name="connsiteX12" fmla="*/ 4890977 w 5381346"/>
                <a:gd name="connsiteY12" fmla="*/ 3519492 h 5890552"/>
                <a:gd name="connsiteX13" fmla="*/ 3030279 w 5381346"/>
                <a:gd name="connsiteY13" fmla="*/ 115 h 5890552"/>
                <a:gd name="connsiteX0" fmla="*/ 3030279 w 5381346"/>
                <a:gd name="connsiteY0" fmla="*/ 175 h 5890612"/>
                <a:gd name="connsiteX1" fmla="*/ 765544 w 5381346"/>
                <a:gd name="connsiteY1" fmla="*/ 1935301 h 5890612"/>
                <a:gd name="connsiteX2" fmla="*/ 0 w 5381346"/>
                <a:gd name="connsiteY2" fmla="*/ 3051719 h 5890612"/>
                <a:gd name="connsiteX3" fmla="*/ 510363 w 5381346"/>
                <a:gd name="connsiteY3" fmla="*/ 3328166 h 5890612"/>
                <a:gd name="connsiteX4" fmla="*/ 297711 w 5381346"/>
                <a:gd name="connsiteY4" fmla="*/ 3657775 h 5890612"/>
                <a:gd name="connsiteX5" fmla="*/ 489097 w 5381346"/>
                <a:gd name="connsiteY5" fmla="*/ 3870426 h 5890612"/>
                <a:gd name="connsiteX6" fmla="*/ 372139 w 5381346"/>
                <a:gd name="connsiteY6" fmla="*/ 4061812 h 5890612"/>
                <a:gd name="connsiteX7" fmla="*/ 563525 w 5381346"/>
                <a:gd name="connsiteY7" fmla="*/ 4316994 h 5890612"/>
                <a:gd name="connsiteX8" fmla="*/ 499730 w 5381346"/>
                <a:gd name="connsiteY8" fmla="*/ 4976212 h 5890612"/>
                <a:gd name="connsiteX9" fmla="*/ 1754372 w 5381346"/>
                <a:gd name="connsiteY9" fmla="*/ 5199496 h 5890612"/>
                <a:gd name="connsiteX10" fmla="*/ 1945758 w 5381346"/>
                <a:gd name="connsiteY10" fmla="*/ 5890612 h 5890612"/>
                <a:gd name="connsiteX11" fmla="*/ 4784651 w 5381346"/>
                <a:gd name="connsiteY11" fmla="*/ 5858715 h 5890612"/>
                <a:gd name="connsiteX12" fmla="*/ 4890977 w 5381346"/>
                <a:gd name="connsiteY12" fmla="*/ 3519552 h 5890612"/>
                <a:gd name="connsiteX13" fmla="*/ 3030279 w 5381346"/>
                <a:gd name="connsiteY13" fmla="*/ 175 h 5890612"/>
                <a:gd name="connsiteX0" fmla="*/ 3030279 w 5381346"/>
                <a:gd name="connsiteY0" fmla="*/ 1733 h 5892170"/>
                <a:gd name="connsiteX1" fmla="*/ 0 w 5381346"/>
                <a:gd name="connsiteY1" fmla="*/ 3053277 h 5892170"/>
                <a:gd name="connsiteX2" fmla="*/ 510363 w 5381346"/>
                <a:gd name="connsiteY2" fmla="*/ 3329724 h 5892170"/>
                <a:gd name="connsiteX3" fmla="*/ 297711 w 5381346"/>
                <a:gd name="connsiteY3" fmla="*/ 3659333 h 5892170"/>
                <a:gd name="connsiteX4" fmla="*/ 489097 w 5381346"/>
                <a:gd name="connsiteY4" fmla="*/ 3871984 h 5892170"/>
                <a:gd name="connsiteX5" fmla="*/ 372139 w 5381346"/>
                <a:gd name="connsiteY5" fmla="*/ 4063370 h 5892170"/>
                <a:gd name="connsiteX6" fmla="*/ 563525 w 5381346"/>
                <a:gd name="connsiteY6" fmla="*/ 4318552 h 5892170"/>
                <a:gd name="connsiteX7" fmla="*/ 499730 w 5381346"/>
                <a:gd name="connsiteY7" fmla="*/ 4977770 h 5892170"/>
                <a:gd name="connsiteX8" fmla="*/ 1754372 w 5381346"/>
                <a:gd name="connsiteY8" fmla="*/ 5201054 h 5892170"/>
                <a:gd name="connsiteX9" fmla="*/ 1945758 w 5381346"/>
                <a:gd name="connsiteY9" fmla="*/ 5892170 h 5892170"/>
                <a:gd name="connsiteX10" fmla="*/ 4784651 w 5381346"/>
                <a:gd name="connsiteY10" fmla="*/ 5860273 h 5892170"/>
                <a:gd name="connsiteX11" fmla="*/ 4890977 w 5381346"/>
                <a:gd name="connsiteY11" fmla="*/ 3521110 h 5892170"/>
                <a:gd name="connsiteX12" fmla="*/ 3030279 w 5381346"/>
                <a:gd name="connsiteY12" fmla="*/ 1733 h 5892170"/>
                <a:gd name="connsiteX0" fmla="*/ 3030279 w 5381346"/>
                <a:gd name="connsiteY0" fmla="*/ 4 h 5890441"/>
                <a:gd name="connsiteX1" fmla="*/ 0 w 5381346"/>
                <a:gd name="connsiteY1" fmla="*/ 3051548 h 5890441"/>
                <a:gd name="connsiteX2" fmla="*/ 510363 w 5381346"/>
                <a:gd name="connsiteY2" fmla="*/ 3327995 h 5890441"/>
                <a:gd name="connsiteX3" fmla="*/ 297711 w 5381346"/>
                <a:gd name="connsiteY3" fmla="*/ 3657604 h 5890441"/>
                <a:gd name="connsiteX4" fmla="*/ 489097 w 5381346"/>
                <a:gd name="connsiteY4" fmla="*/ 3870255 h 5890441"/>
                <a:gd name="connsiteX5" fmla="*/ 372139 w 5381346"/>
                <a:gd name="connsiteY5" fmla="*/ 4061641 h 5890441"/>
                <a:gd name="connsiteX6" fmla="*/ 563525 w 5381346"/>
                <a:gd name="connsiteY6" fmla="*/ 4316823 h 5890441"/>
                <a:gd name="connsiteX7" fmla="*/ 499730 w 5381346"/>
                <a:gd name="connsiteY7" fmla="*/ 4976041 h 5890441"/>
                <a:gd name="connsiteX8" fmla="*/ 1754372 w 5381346"/>
                <a:gd name="connsiteY8" fmla="*/ 5199325 h 5890441"/>
                <a:gd name="connsiteX9" fmla="*/ 1945758 w 5381346"/>
                <a:gd name="connsiteY9" fmla="*/ 5890441 h 5890441"/>
                <a:gd name="connsiteX10" fmla="*/ 4784651 w 5381346"/>
                <a:gd name="connsiteY10" fmla="*/ 5858544 h 5890441"/>
                <a:gd name="connsiteX11" fmla="*/ 4890977 w 5381346"/>
                <a:gd name="connsiteY11" fmla="*/ 3519381 h 5890441"/>
                <a:gd name="connsiteX12" fmla="*/ 3030279 w 5381346"/>
                <a:gd name="connsiteY12" fmla="*/ 4 h 5890441"/>
                <a:gd name="connsiteX0" fmla="*/ 3040277 w 5391344"/>
                <a:gd name="connsiteY0" fmla="*/ 4 h 5890441"/>
                <a:gd name="connsiteX1" fmla="*/ 9998 w 5391344"/>
                <a:gd name="connsiteY1" fmla="*/ 3051548 h 5890441"/>
                <a:gd name="connsiteX2" fmla="*/ 520361 w 5391344"/>
                <a:gd name="connsiteY2" fmla="*/ 3327995 h 5890441"/>
                <a:gd name="connsiteX3" fmla="*/ 307709 w 5391344"/>
                <a:gd name="connsiteY3" fmla="*/ 3657604 h 5890441"/>
                <a:gd name="connsiteX4" fmla="*/ 499095 w 5391344"/>
                <a:gd name="connsiteY4" fmla="*/ 3870255 h 5890441"/>
                <a:gd name="connsiteX5" fmla="*/ 382137 w 5391344"/>
                <a:gd name="connsiteY5" fmla="*/ 4061641 h 5890441"/>
                <a:gd name="connsiteX6" fmla="*/ 573523 w 5391344"/>
                <a:gd name="connsiteY6" fmla="*/ 4316823 h 5890441"/>
                <a:gd name="connsiteX7" fmla="*/ 509728 w 5391344"/>
                <a:gd name="connsiteY7" fmla="*/ 4976041 h 5890441"/>
                <a:gd name="connsiteX8" fmla="*/ 1764370 w 5391344"/>
                <a:gd name="connsiteY8" fmla="*/ 5199325 h 5890441"/>
                <a:gd name="connsiteX9" fmla="*/ 1955756 w 5391344"/>
                <a:gd name="connsiteY9" fmla="*/ 5890441 h 5890441"/>
                <a:gd name="connsiteX10" fmla="*/ 4794649 w 5391344"/>
                <a:gd name="connsiteY10" fmla="*/ 5858544 h 5890441"/>
                <a:gd name="connsiteX11" fmla="*/ 4900975 w 5391344"/>
                <a:gd name="connsiteY11" fmla="*/ 3519381 h 5890441"/>
                <a:gd name="connsiteX12" fmla="*/ 3040277 w 5391344"/>
                <a:gd name="connsiteY12" fmla="*/ 4 h 5890441"/>
                <a:gd name="connsiteX0" fmla="*/ 3040277 w 5391344"/>
                <a:gd name="connsiteY0" fmla="*/ 4 h 5890441"/>
                <a:gd name="connsiteX1" fmla="*/ 9998 w 5391344"/>
                <a:gd name="connsiteY1" fmla="*/ 3051548 h 5890441"/>
                <a:gd name="connsiteX2" fmla="*/ 520361 w 5391344"/>
                <a:gd name="connsiteY2" fmla="*/ 3327995 h 5890441"/>
                <a:gd name="connsiteX3" fmla="*/ 307709 w 5391344"/>
                <a:gd name="connsiteY3" fmla="*/ 3657604 h 5890441"/>
                <a:gd name="connsiteX4" fmla="*/ 499095 w 5391344"/>
                <a:gd name="connsiteY4" fmla="*/ 3870255 h 5890441"/>
                <a:gd name="connsiteX5" fmla="*/ 382137 w 5391344"/>
                <a:gd name="connsiteY5" fmla="*/ 4061641 h 5890441"/>
                <a:gd name="connsiteX6" fmla="*/ 573523 w 5391344"/>
                <a:gd name="connsiteY6" fmla="*/ 4316823 h 5890441"/>
                <a:gd name="connsiteX7" fmla="*/ 509728 w 5391344"/>
                <a:gd name="connsiteY7" fmla="*/ 4976041 h 5890441"/>
                <a:gd name="connsiteX8" fmla="*/ 1764370 w 5391344"/>
                <a:gd name="connsiteY8" fmla="*/ 5199325 h 5890441"/>
                <a:gd name="connsiteX9" fmla="*/ 1955756 w 5391344"/>
                <a:gd name="connsiteY9" fmla="*/ 5890441 h 5890441"/>
                <a:gd name="connsiteX10" fmla="*/ 4794649 w 5391344"/>
                <a:gd name="connsiteY10" fmla="*/ 5858544 h 5890441"/>
                <a:gd name="connsiteX11" fmla="*/ 4900975 w 5391344"/>
                <a:gd name="connsiteY11" fmla="*/ 3519381 h 5890441"/>
                <a:gd name="connsiteX12" fmla="*/ 3040277 w 5391344"/>
                <a:gd name="connsiteY12" fmla="*/ 4 h 5890441"/>
                <a:gd name="connsiteX0" fmla="*/ 3030279 w 5381346"/>
                <a:gd name="connsiteY0" fmla="*/ 92120 h 5982557"/>
                <a:gd name="connsiteX1" fmla="*/ 914399 w 5381346"/>
                <a:gd name="connsiteY1" fmla="*/ 1187274 h 5982557"/>
                <a:gd name="connsiteX2" fmla="*/ 0 w 5381346"/>
                <a:gd name="connsiteY2" fmla="*/ 3143664 h 5982557"/>
                <a:gd name="connsiteX3" fmla="*/ 510363 w 5381346"/>
                <a:gd name="connsiteY3" fmla="*/ 3420111 h 5982557"/>
                <a:gd name="connsiteX4" fmla="*/ 297711 w 5381346"/>
                <a:gd name="connsiteY4" fmla="*/ 3749720 h 5982557"/>
                <a:gd name="connsiteX5" fmla="*/ 489097 w 5381346"/>
                <a:gd name="connsiteY5" fmla="*/ 3962371 h 5982557"/>
                <a:gd name="connsiteX6" fmla="*/ 372139 w 5381346"/>
                <a:gd name="connsiteY6" fmla="*/ 4153757 h 5982557"/>
                <a:gd name="connsiteX7" fmla="*/ 563525 w 5381346"/>
                <a:gd name="connsiteY7" fmla="*/ 4408939 h 5982557"/>
                <a:gd name="connsiteX8" fmla="*/ 499730 w 5381346"/>
                <a:gd name="connsiteY8" fmla="*/ 5068157 h 5982557"/>
                <a:gd name="connsiteX9" fmla="*/ 1754372 w 5381346"/>
                <a:gd name="connsiteY9" fmla="*/ 5291441 h 5982557"/>
                <a:gd name="connsiteX10" fmla="*/ 1945758 w 5381346"/>
                <a:gd name="connsiteY10" fmla="*/ 5982557 h 5982557"/>
                <a:gd name="connsiteX11" fmla="*/ 4784651 w 5381346"/>
                <a:gd name="connsiteY11" fmla="*/ 5950660 h 5982557"/>
                <a:gd name="connsiteX12" fmla="*/ 4890977 w 5381346"/>
                <a:gd name="connsiteY12" fmla="*/ 3611497 h 5982557"/>
                <a:gd name="connsiteX13" fmla="*/ 3030279 w 5381346"/>
                <a:gd name="connsiteY13" fmla="*/ 92120 h 5982557"/>
                <a:gd name="connsiteX0" fmla="*/ 3030279 w 5381346"/>
                <a:gd name="connsiteY0" fmla="*/ 94250 h 5984687"/>
                <a:gd name="connsiteX1" fmla="*/ 914399 w 5381346"/>
                <a:gd name="connsiteY1" fmla="*/ 1189404 h 5984687"/>
                <a:gd name="connsiteX2" fmla="*/ 0 w 5381346"/>
                <a:gd name="connsiteY2" fmla="*/ 3145794 h 5984687"/>
                <a:gd name="connsiteX3" fmla="*/ 510363 w 5381346"/>
                <a:gd name="connsiteY3" fmla="*/ 3422241 h 5984687"/>
                <a:gd name="connsiteX4" fmla="*/ 297711 w 5381346"/>
                <a:gd name="connsiteY4" fmla="*/ 3751850 h 5984687"/>
                <a:gd name="connsiteX5" fmla="*/ 489097 w 5381346"/>
                <a:gd name="connsiteY5" fmla="*/ 3964501 h 5984687"/>
                <a:gd name="connsiteX6" fmla="*/ 372139 w 5381346"/>
                <a:gd name="connsiteY6" fmla="*/ 4155887 h 5984687"/>
                <a:gd name="connsiteX7" fmla="*/ 563525 w 5381346"/>
                <a:gd name="connsiteY7" fmla="*/ 4411069 h 5984687"/>
                <a:gd name="connsiteX8" fmla="*/ 499730 w 5381346"/>
                <a:gd name="connsiteY8" fmla="*/ 5070287 h 5984687"/>
                <a:gd name="connsiteX9" fmla="*/ 1754372 w 5381346"/>
                <a:gd name="connsiteY9" fmla="*/ 5293571 h 5984687"/>
                <a:gd name="connsiteX10" fmla="*/ 1945758 w 5381346"/>
                <a:gd name="connsiteY10" fmla="*/ 5984687 h 5984687"/>
                <a:gd name="connsiteX11" fmla="*/ 4784651 w 5381346"/>
                <a:gd name="connsiteY11" fmla="*/ 5952790 h 5984687"/>
                <a:gd name="connsiteX12" fmla="*/ 4890977 w 5381346"/>
                <a:gd name="connsiteY12" fmla="*/ 3613627 h 5984687"/>
                <a:gd name="connsiteX13" fmla="*/ 3030279 w 5381346"/>
                <a:gd name="connsiteY13" fmla="*/ 94250 h 5984687"/>
                <a:gd name="connsiteX0" fmla="*/ 3030279 w 5381346"/>
                <a:gd name="connsiteY0" fmla="*/ 0 h 5890437"/>
                <a:gd name="connsiteX1" fmla="*/ 914399 w 5381346"/>
                <a:gd name="connsiteY1" fmla="*/ 1095154 h 5890437"/>
                <a:gd name="connsiteX2" fmla="*/ 0 w 5381346"/>
                <a:gd name="connsiteY2" fmla="*/ 3051544 h 5890437"/>
                <a:gd name="connsiteX3" fmla="*/ 510363 w 5381346"/>
                <a:gd name="connsiteY3" fmla="*/ 3327991 h 5890437"/>
                <a:gd name="connsiteX4" fmla="*/ 297711 w 5381346"/>
                <a:gd name="connsiteY4" fmla="*/ 3657600 h 5890437"/>
                <a:gd name="connsiteX5" fmla="*/ 489097 w 5381346"/>
                <a:gd name="connsiteY5" fmla="*/ 3870251 h 5890437"/>
                <a:gd name="connsiteX6" fmla="*/ 372139 w 5381346"/>
                <a:gd name="connsiteY6" fmla="*/ 4061637 h 5890437"/>
                <a:gd name="connsiteX7" fmla="*/ 563525 w 5381346"/>
                <a:gd name="connsiteY7" fmla="*/ 4316819 h 5890437"/>
                <a:gd name="connsiteX8" fmla="*/ 499730 w 5381346"/>
                <a:gd name="connsiteY8" fmla="*/ 4976037 h 5890437"/>
                <a:gd name="connsiteX9" fmla="*/ 1754372 w 5381346"/>
                <a:gd name="connsiteY9" fmla="*/ 5199321 h 5890437"/>
                <a:gd name="connsiteX10" fmla="*/ 1945758 w 5381346"/>
                <a:gd name="connsiteY10" fmla="*/ 5890437 h 5890437"/>
                <a:gd name="connsiteX11" fmla="*/ 4784651 w 5381346"/>
                <a:gd name="connsiteY11" fmla="*/ 5858540 h 5890437"/>
                <a:gd name="connsiteX12" fmla="*/ 4890977 w 5381346"/>
                <a:gd name="connsiteY12" fmla="*/ 3519377 h 5890437"/>
                <a:gd name="connsiteX13" fmla="*/ 3030279 w 5381346"/>
                <a:gd name="connsiteY13" fmla="*/ 0 h 5890437"/>
                <a:gd name="connsiteX0" fmla="*/ 3030279 w 5381346"/>
                <a:gd name="connsiteY0" fmla="*/ 0 h 5890437"/>
                <a:gd name="connsiteX1" fmla="*/ 914399 w 5381346"/>
                <a:gd name="connsiteY1" fmla="*/ 1095154 h 5890437"/>
                <a:gd name="connsiteX2" fmla="*/ 0 w 5381346"/>
                <a:gd name="connsiteY2" fmla="*/ 3051544 h 5890437"/>
                <a:gd name="connsiteX3" fmla="*/ 510363 w 5381346"/>
                <a:gd name="connsiteY3" fmla="*/ 3327991 h 5890437"/>
                <a:gd name="connsiteX4" fmla="*/ 297711 w 5381346"/>
                <a:gd name="connsiteY4" fmla="*/ 3657600 h 5890437"/>
                <a:gd name="connsiteX5" fmla="*/ 489097 w 5381346"/>
                <a:gd name="connsiteY5" fmla="*/ 3870251 h 5890437"/>
                <a:gd name="connsiteX6" fmla="*/ 372139 w 5381346"/>
                <a:gd name="connsiteY6" fmla="*/ 4061637 h 5890437"/>
                <a:gd name="connsiteX7" fmla="*/ 563525 w 5381346"/>
                <a:gd name="connsiteY7" fmla="*/ 4316819 h 5890437"/>
                <a:gd name="connsiteX8" fmla="*/ 499730 w 5381346"/>
                <a:gd name="connsiteY8" fmla="*/ 4976037 h 5890437"/>
                <a:gd name="connsiteX9" fmla="*/ 1754372 w 5381346"/>
                <a:gd name="connsiteY9" fmla="*/ 5199321 h 5890437"/>
                <a:gd name="connsiteX10" fmla="*/ 1945758 w 5381346"/>
                <a:gd name="connsiteY10" fmla="*/ 5890437 h 5890437"/>
                <a:gd name="connsiteX11" fmla="*/ 4784651 w 5381346"/>
                <a:gd name="connsiteY11" fmla="*/ 5858540 h 5890437"/>
                <a:gd name="connsiteX12" fmla="*/ 4890977 w 5381346"/>
                <a:gd name="connsiteY12" fmla="*/ 3519377 h 5890437"/>
                <a:gd name="connsiteX13" fmla="*/ 3030279 w 5381346"/>
                <a:gd name="connsiteY13" fmla="*/ 0 h 5890437"/>
                <a:gd name="connsiteX0" fmla="*/ 3030726 w 5381793"/>
                <a:gd name="connsiteY0" fmla="*/ 0 h 5890437"/>
                <a:gd name="connsiteX1" fmla="*/ 914846 w 5381793"/>
                <a:gd name="connsiteY1" fmla="*/ 1095154 h 5890437"/>
                <a:gd name="connsiteX2" fmla="*/ 649032 w 5381793"/>
                <a:gd name="connsiteY2" fmla="*/ 2137144 h 5890437"/>
                <a:gd name="connsiteX3" fmla="*/ 447 w 5381793"/>
                <a:gd name="connsiteY3" fmla="*/ 3051544 h 5890437"/>
                <a:gd name="connsiteX4" fmla="*/ 510810 w 5381793"/>
                <a:gd name="connsiteY4" fmla="*/ 3327991 h 5890437"/>
                <a:gd name="connsiteX5" fmla="*/ 298158 w 5381793"/>
                <a:gd name="connsiteY5" fmla="*/ 3657600 h 5890437"/>
                <a:gd name="connsiteX6" fmla="*/ 489544 w 5381793"/>
                <a:gd name="connsiteY6" fmla="*/ 3870251 h 5890437"/>
                <a:gd name="connsiteX7" fmla="*/ 372586 w 5381793"/>
                <a:gd name="connsiteY7" fmla="*/ 4061637 h 5890437"/>
                <a:gd name="connsiteX8" fmla="*/ 563972 w 5381793"/>
                <a:gd name="connsiteY8" fmla="*/ 4316819 h 5890437"/>
                <a:gd name="connsiteX9" fmla="*/ 500177 w 5381793"/>
                <a:gd name="connsiteY9" fmla="*/ 4976037 h 5890437"/>
                <a:gd name="connsiteX10" fmla="*/ 1754819 w 5381793"/>
                <a:gd name="connsiteY10" fmla="*/ 5199321 h 5890437"/>
                <a:gd name="connsiteX11" fmla="*/ 1946205 w 5381793"/>
                <a:gd name="connsiteY11" fmla="*/ 5890437 h 5890437"/>
                <a:gd name="connsiteX12" fmla="*/ 4785098 w 5381793"/>
                <a:gd name="connsiteY12" fmla="*/ 5858540 h 5890437"/>
                <a:gd name="connsiteX13" fmla="*/ 4891424 w 5381793"/>
                <a:gd name="connsiteY13" fmla="*/ 3519377 h 5890437"/>
                <a:gd name="connsiteX14" fmla="*/ 3030726 w 5381793"/>
                <a:gd name="connsiteY14" fmla="*/ 0 h 5890437"/>
                <a:gd name="connsiteX0" fmla="*/ 3030726 w 5381793"/>
                <a:gd name="connsiteY0" fmla="*/ 0 h 5890437"/>
                <a:gd name="connsiteX1" fmla="*/ 914846 w 5381793"/>
                <a:gd name="connsiteY1" fmla="*/ 1095154 h 5890437"/>
                <a:gd name="connsiteX2" fmla="*/ 649032 w 5381793"/>
                <a:gd name="connsiteY2" fmla="*/ 2137144 h 5890437"/>
                <a:gd name="connsiteX3" fmla="*/ 447 w 5381793"/>
                <a:gd name="connsiteY3" fmla="*/ 3051544 h 5890437"/>
                <a:gd name="connsiteX4" fmla="*/ 510810 w 5381793"/>
                <a:gd name="connsiteY4" fmla="*/ 3327991 h 5890437"/>
                <a:gd name="connsiteX5" fmla="*/ 298158 w 5381793"/>
                <a:gd name="connsiteY5" fmla="*/ 3657600 h 5890437"/>
                <a:gd name="connsiteX6" fmla="*/ 489544 w 5381793"/>
                <a:gd name="connsiteY6" fmla="*/ 3870251 h 5890437"/>
                <a:gd name="connsiteX7" fmla="*/ 372586 w 5381793"/>
                <a:gd name="connsiteY7" fmla="*/ 4061637 h 5890437"/>
                <a:gd name="connsiteX8" fmla="*/ 563972 w 5381793"/>
                <a:gd name="connsiteY8" fmla="*/ 4316819 h 5890437"/>
                <a:gd name="connsiteX9" fmla="*/ 500177 w 5381793"/>
                <a:gd name="connsiteY9" fmla="*/ 4976037 h 5890437"/>
                <a:gd name="connsiteX10" fmla="*/ 1754819 w 5381793"/>
                <a:gd name="connsiteY10" fmla="*/ 5199321 h 5890437"/>
                <a:gd name="connsiteX11" fmla="*/ 1946205 w 5381793"/>
                <a:gd name="connsiteY11" fmla="*/ 5890437 h 5890437"/>
                <a:gd name="connsiteX12" fmla="*/ 4785098 w 5381793"/>
                <a:gd name="connsiteY12" fmla="*/ 5858540 h 5890437"/>
                <a:gd name="connsiteX13" fmla="*/ 4891424 w 5381793"/>
                <a:gd name="connsiteY13" fmla="*/ 3519377 h 5890437"/>
                <a:gd name="connsiteX14" fmla="*/ 3030726 w 5381793"/>
                <a:gd name="connsiteY14" fmla="*/ 0 h 5890437"/>
                <a:gd name="connsiteX0" fmla="*/ 3030726 w 5381793"/>
                <a:gd name="connsiteY0" fmla="*/ 0 h 5890437"/>
                <a:gd name="connsiteX1" fmla="*/ 914846 w 5381793"/>
                <a:gd name="connsiteY1" fmla="*/ 1095154 h 5890437"/>
                <a:gd name="connsiteX2" fmla="*/ 649032 w 5381793"/>
                <a:gd name="connsiteY2" fmla="*/ 2137144 h 5890437"/>
                <a:gd name="connsiteX3" fmla="*/ 447 w 5381793"/>
                <a:gd name="connsiteY3" fmla="*/ 3051544 h 5890437"/>
                <a:gd name="connsiteX4" fmla="*/ 510810 w 5381793"/>
                <a:gd name="connsiteY4" fmla="*/ 3327991 h 5890437"/>
                <a:gd name="connsiteX5" fmla="*/ 298158 w 5381793"/>
                <a:gd name="connsiteY5" fmla="*/ 3657600 h 5890437"/>
                <a:gd name="connsiteX6" fmla="*/ 489544 w 5381793"/>
                <a:gd name="connsiteY6" fmla="*/ 3870251 h 5890437"/>
                <a:gd name="connsiteX7" fmla="*/ 372586 w 5381793"/>
                <a:gd name="connsiteY7" fmla="*/ 4061637 h 5890437"/>
                <a:gd name="connsiteX8" fmla="*/ 563972 w 5381793"/>
                <a:gd name="connsiteY8" fmla="*/ 4316819 h 5890437"/>
                <a:gd name="connsiteX9" fmla="*/ 500177 w 5381793"/>
                <a:gd name="connsiteY9" fmla="*/ 4976037 h 5890437"/>
                <a:gd name="connsiteX10" fmla="*/ 1754819 w 5381793"/>
                <a:gd name="connsiteY10" fmla="*/ 5199321 h 5890437"/>
                <a:gd name="connsiteX11" fmla="*/ 1946205 w 5381793"/>
                <a:gd name="connsiteY11" fmla="*/ 5890437 h 5890437"/>
                <a:gd name="connsiteX12" fmla="*/ 4785098 w 5381793"/>
                <a:gd name="connsiteY12" fmla="*/ 5858540 h 5890437"/>
                <a:gd name="connsiteX13" fmla="*/ 4891424 w 5381793"/>
                <a:gd name="connsiteY13" fmla="*/ 3519377 h 5890437"/>
                <a:gd name="connsiteX14" fmla="*/ 3030726 w 5381793"/>
                <a:gd name="connsiteY14" fmla="*/ 0 h 5890437"/>
                <a:gd name="connsiteX0" fmla="*/ 3030726 w 5381793"/>
                <a:gd name="connsiteY0" fmla="*/ 0 h 5890437"/>
                <a:gd name="connsiteX1" fmla="*/ 872315 w 5381793"/>
                <a:gd name="connsiteY1" fmla="*/ 1063257 h 5890437"/>
                <a:gd name="connsiteX2" fmla="*/ 649032 w 5381793"/>
                <a:gd name="connsiteY2" fmla="*/ 2137144 h 5890437"/>
                <a:gd name="connsiteX3" fmla="*/ 447 w 5381793"/>
                <a:gd name="connsiteY3" fmla="*/ 3051544 h 5890437"/>
                <a:gd name="connsiteX4" fmla="*/ 510810 w 5381793"/>
                <a:gd name="connsiteY4" fmla="*/ 3327991 h 5890437"/>
                <a:gd name="connsiteX5" fmla="*/ 298158 w 5381793"/>
                <a:gd name="connsiteY5" fmla="*/ 3657600 h 5890437"/>
                <a:gd name="connsiteX6" fmla="*/ 489544 w 5381793"/>
                <a:gd name="connsiteY6" fmla="*/ 3870251 h 5890437"/>
                <a:gd name="connsiteX7" fmla="*/ 372586 w 5381793"/>
                <a:gd name="connsiteY7" fmla="*/ 4061637 h 5890437"/>
                <a:gd name="connsiteX8" fmla="*/ 563972 w 5381793"/>
                <a:gd name="connsiteY8" fmla="*/ 4316819 h 5890437"/>
                <a:gd name="connsiteX9" fmla="*/ 500177 w 5381793"/>
                <a:gd name="connsiteY9" fmla="*/ 4976037 h 5890437"/>
                <a:gd name="connsiteX10" fmla="*/ 1754819 w 5381793"/>
                <a:gd name="connsiteY10" fmla="*/ 5199321 h 5890437"/>
                <a:gd name="connsiteX11" fmla="*/ 1946205 w 5381793"/>
                <a:gd name="connsiteY11" fmla="*/ 5890437 h 5890437"/>
                <a:gd name="connsiteX12" fmla="*/ 4785098 w 5381793"/>
                <a:gd name="connsiteY12" fmla="*/ 5858540 h 5890437"/>
                <a:gd name="connsiteX13" fmla="*/ 4891424 w 5381793"/>
                <a:gd name="connsiteY13" fmla="*/ 3519377 h 5890437"/>
                <a:gd name="connsiteX14" fmla="*/ 3030726 w 5381793"/>
                <a:gd name="connsiteY14" fmla="*/ 0 h 5890437"/>
                <a:gd name="connsiteX0" fmla="*/ 3030726 w 5381793"/>
                <a:gd name="connsiteY0" fmla="*/ 0 h 5890437"/>
                <a:gd name="connsiteX1" fmla="*/ 872315 w 5381793"/>
                <a:gd name="connsiteY1" fmla="*/ 1063257 h 5890437"/>
                <a:gd name="connsiteX2" fmla="*/ 649032 w 5381793"/>
                <a:gd name="connsiteY2" fmla="*/ 2137144 h 5890437"/>
                <a:gd name="connsiteX3" fmla="*/ 447 w 5381793"/>
                <a:gd name="connsiteY3" fmla="*/ 3051544 h 5890437"/>
                <a:gd name="connsiteX4" fmla="*/ 510810 w 5381793"/>
                <a:gd name="connsiteY4" fmla="*/ 3327991 h 5890437"/>
                <a:gd name="connsiteX5" fmla="*/ 298158 w 5381793"/>
                <a:gd name="connsiteY5" fmla="*/ 3657600 h 5890437"/>
                <a:gd name="connsiteX6" fmla="*/ 489544 w 5381793"/>
                <a:gd name="connsiteY6" fmla="*/ 3870251 h 5890437"/>
                <a:gd name="connsiteX7" fmla="*/ 372586 w 5381793"/>
                <a:gd name="connsiteY7" fmla="*/ 4061637 h 5890437"/>
                <a:gd name="connsiteX8" fmla="*/ 563972 w 5381793"/>
                <a:gd name="connsiteY8" fmla="*/ 4316819 h 5890437"/>
                <a:gd name="connsiteX9" fmla="*/ 500177 w 5381793"/>
                <a:gd name="connsiteY9" fmla="*/ 4976037 h 5890437"/>
                <a:gd name="connsiteX10" fmla="*/ 1754819 w 5381793"/>
                <a:gd name="connsiteY10" fmla="*/ 5199321 h 5890437"/>
                <a:gd name="connsiteX11" fmla="*/ 1946205 w 5381793"/>
                <a:gd name="connsiteY11" fmla="*/ 5890437 h 5890437"/>
                <a:gd name="connsiteX12" fmla="*/ 4785098 w 5381793"/>
                <a:gd name="connsiteY12" fmla="*/ 5858540 h 5890437"/>
                <a:gd name="connsiteX13" fmla="*/ 4891424 w 5381793"/>
                <a:gd name="connsiteY13" fmla="*/ 3519377 h 5890437"/>
                <a:gd name="connsiteX14" fmla="*/ 3030726 w 5381793"/>
                <a:gd name="connsiteY14" fmla="*/ 0 h 5890437"/>
                <a:gd name="connsiteX0" fmla="*/ 3030726 w 5381793"/>
                <a:gd name="connsiteY0" fmla="*/ 0 h 5890437"/>
                <a:gd name="connsiteX1" fmla="*/ 872315 w 5381793"/>
                <a:gd name="connsiteY1" fmla="*/ 1063257 h 5890437"/>
                <a:gd name="connsiteX2" fmla="*/ 649032 w 5381793"/>
                <a:gd name="connsiteY2" fmla="*/ 2137144 h 5890437"/>
                <a:gd name="connsiteX3" fmla="*/ 447 w 5381793"/>
                <a:gd name="connsiteY3" fmla="*/ 3051544 h 5890437"/>
                <a:gd name="connsiteX4" fmla="*/ 510810 w 5381793"/>
                <a:gd name="connsiteY4" fmla="*/ 3327991 h 5890437"/>
                <a:gd name="connsiteX5" fmla="*/ 298158 w 5381793"/>
                <a:gd name="connsiteY5" fmla="*/ 3657600 h 5890437"/>
                <a:gd name="connsiteX6" fmla="*/ 489544 w 5381793"/>
                <a:gd name="connsiteY6" fmla="*/ 3870251 h 5890437"/>
                <a:gd name="connsiteX7" fmla="*/ 372586 w 5381793"/>
                <a:gd name="connsiteY7" fmla="*/ 4061637 h 5890437"/>
                <a:gd name="connsiteX8" fmla="*/ 563972 w 5381793"/>
                <a:gd name="connsiteY8" fmla="*/ 4316819 h 5890437"/>
                <a:gd name="connsiteX9" fmla="*/ 500177 w 5381793"/>
                <a:gd name="connsiteY9" fmla="*/ 4976037 h 5890437"/>
                <a:gd name="connsiteX10" fmla="*/ 1754819 w 5381793"/>
                <a:gd name="connsiteY10" fmla="*/ 5199321 h 5890437"/>
                <a:gd name="connsiteX11" fmla="*/ 1946205 w 5381793"/>
                <a:gd name="connsiteY11" fmla="*/ 5890437 h 5890437"/>
                <a:gd name="connsiteX12" fmla="*/ 4785098 w 5381793"/>
                <a:gd name="connsiteY12" fmla="*/ 5858540 h 5890437"/>
                <a:gd name="connsiteX13" fmla="*/ 4891424 w 5381793"/>
                <a:gd name="connsiteY13" fmla="*/ 3519377 h 5890437"/>
                <a:gd name="connsiteX14" fmla="*/ 3030726 w 5381793"/>
                <a:gd name="connsiteY14" fmla="*/ 0 h 5890437"/>
                <a:gd name="connsiteX0" fmla="*/ 3030726 w 5381793"/>
                <a:gd name="connsiteY0" fmla="*/ 0 h 5890437"/>
                <a:gd name="connsiteX1" fmla="*/ 872315 w 5381793"/>
                <a:gd name="connsiteY1" fmla="*/ 1063257 h 5890437"/>
                <a:gd name="connsiteX2" fmla="*/ 649032 w 5381793"/>
                <a:gd name="connsiteY2" fmla="*/ 2137144 h 5890437"/>
                <a:gd name="connsiteX3" fmla="*/ 447 w 5381793"/>
                <a:gd name="connsiteY3" fmla="*/ 3051544 h 5890437"/>
                <a:gd name="connsiteX4" fmla="*/ 510810 w 5381793"/>
                <a:gd name="connsiteY4" fmla="*/ 3327991 h 5890437"/>
                <a:gd name="connsiteX5" fmla="*/ 298158 w 5381793"/>
                <a:gd name="connsiteY5" fmla="*/ 3657600 h 5890437"/>
                <a:gd name="connsiteX6" fmla="*/ 489544 w 5381793"/>
                <a:gd name="connsiteY6" fmla="*/ 3870251 h 5890437"/>
                <a:gd name="connsiteX7" fmla="*/ 372586 w 5381793"/>
                <a:gd name="connsiteY7" fmla="*/ 4061637 h 5890437"/>
                <a:gd name="connsiteX8" fmla="*/ 563972 w 5381793"/>
                <a:gd name="connsiteY8" fmla="*/ 4316819 h 5890437"/>
                <a:gd name="connsiteX9" fmla="*/ 500177 w 5381793"/>
                <a:gd name="connsiteY9" fmla="*/ 4976037 h 5890437"/>
                <a:gd name="connsiteX10" fmla="*/ 1754819 w 5381793"/>
                <a:gd name="connsiteY10" fmla="*/ 5199321 h 5890437"/>
                <a:gd name="connsiteX11" fmla="*/ 1946205 w 5381793"/>
                <a:gd name="connsiteY11" fmla="*/ 5890437 h 5890437"/>
                <a:gd name="connsiteX12" fmla="*/ 4785098 w 5381793"/>
                <a:gd name="connsiteY12" fmla="*/ 5858540 h 5890437"/>
                <a:gd name="connsiteX13" fmla="*/ 4891424 w 5381793"/>
                <a:gd name="connsiteY13" fmla="*/ 3519377 h 5890437"/>
                <a:gd name="connsiteX14" fmla="*/ 3030726 w 5381793"/>
                <a:gd name="connsiteY14" fmla="*/ 0 h 5890437"/>
                <a:gd name="connsiteX0" fmla="*/ 3030726 w 5381793"/>
                <a:gd name="connsiteY0" fmla="*/ 0 h 5890437"/>
                <a:gd name="connsiteX1" fmla="*/ 872315 w 5381793"/>
                <a:gd name="connsiteY1" fmla="*/ 1063257 h 5890437"/>
                <a:gd name="connsiteX2" fmla="*/ 649032 w 5381793"/>
                <a:gd name="connsiteY2" fmla="*/ 2137144 h 5890437"/>
                <a:gd name="connsiteX3" fmla="*/ 447 w 5381793"/>
                <a:gd name="connsiteY3" fmla="*/ 3051544 h 5890437"/>
                <a:gd name="connsiteX4" fmla="*/ 510810 w 5381793"/>
                <a:gd name="connsiteY4" fmla="*/ 3327991 h 5890437"/>
                <a:gd name="connsiteX5" fmla="*/ 298158 w 5381793"/>
                <a:gd name="connsiteY5" fmla="*/ 3657600 h 5890437"/>
                <a:gd name="connsiteX6" fmla="*/ 489544 w 5381793"/>
                <a:gd name="connsiteY6" fmla="*/ 3870251 h 5890437"/>
                <a:gd name="connsiteX7" fmla="*/ 372586 w 5381793"/>
                <a:gd name="connsiteY7" fmla="*/ 4061637 h 5890437"/>
                <a:gd name="connsiteX8" fmla="*/ 563972 w 5381793"/>
                <a:gd name="connsiteY8" fmla="*/ 4316819 h 5890437"/>
                <a:gd name="connsiteX9" fmla="*/ 500177 w 5381793"/>
                <a:gd name="connsiteY9" fmla="*/ 4976037 h 5890437"/>
                <a:gd name="connsiteX10" fmla="*/ 1754819 w 5381793"/>
                <a:gd name="connsiteY10" fmla="*/ 5199321 h 5890437"/>
                <a:gd name="connsiteX11" fmla="*/ 1946205 w 5381793"/>
                <a:gd name="connsiteY11" fmla="*/ 5890437 h 5890437"/>
                <a:gd name="connsiteX12" fmla="*/ 4785098 w 5381793"/>
                <a:gd name="connsiteY12" fmla="*/ 5858540 h 5890437"/>
                <a:gd name="connsiteX13" fmla="*/ 4891424 w 5381793"/>
                <a:gd name="connsiteY13" fmla="*/ 3519377 h 5890437"/>
                <a:gd name="connsiteX14" fmla="*/ 3030726 w 5381793"/>
                <a:gd name="connsiteY14" fmla="*/ 0 h 5890437"/>
                <a:gd name="connsiteX0" fmla="*/ 3030726 w 5381793"/>
                <a:gd name="connsiteY0" fmla="*/ 0 h 5890437"/>
                <a:gd name="connsiteX1" fmla="*/ 890128 w 5381793"/>
                <a:gd name="connsiteY1" fmla="*/ 1098883 h 5890437"/>
                <a:gd name="connsiteX2" fmla="*/ 649032 w 5381793"/>
                <a:gd name="connsiteY2" fmla="*/ 2137144 h 5890437"/>
                <a:gd name="connsiteX3" fmla="*/ 447 w 5381793"/>
                <a:gd name="connsiteY3" fmla="*/ 3051544 h 5890437"/>
                <a:gd name="connsiteX4" fmla="*/ 510810 w 5381793"/>
                <a:gd name="connsiteY4" fmla="*/ 3327991 h 5890437"/>
                <a:gd name="connsiteX5" fmla="*/ 298158 w 5381793"/>
                <a:gd name="connsiteY5" fmla="*/ 3657600 h 5890437"/>
                <a:gd name="connsiteX6" fmla="*/ 489544 w 5381793"/>
                <a:gd name="connsiteY6" fmla="*/ 3870251 h 5890437"/>
                <a:gd name="connsiteX7" fmla="*/ 372586 w 5381793"/>
                <a:gd name="connsiteY7" fmla="*/ 4061637 h 5890437"/>
                <a:gd name="connsiteX8" fmla="*/ 563972 w 5381793"/>
                <a:gd name="connsiteY8" fmla="*/ 4316819 h 5890437"/>
                <a:gd name="connsiteX9" fmla="*/ 500177 w 5381793"/>
                <a:gd name="connsiteY9" fmla="*/ 4976037 h 5890437"/>
                <a:gd name="connsiteX10" fmla="*/ 1754819 w 5381793"/>
                <a:gd name="connsiteY10" fmla="*/ 5199321 h 5890437"/>
                <a:gd name="connsiteX11" fmla="*/ 1946205 w 5381793"/>
                <a:gd name="connsiteY11" fmla="*/ 5890437 h 5890437"/>
                <a:gd name="connsiteX12" fmla="*/ 4785098 w 5381793"/>
                <a:gd name="connsiteY12" fmla="*/ 5858540 h 5890437"/>
                <a:gd name="connsiteX13" fmla="*/ 4891424 w 5381793"/>
                <a:gd name="connsiteY13" fmla="*/ 3519377 h 5890437"/>
                <a:gd name="connsiteX14" fmla="*/ 3030726 w 5381793"/>
                <a:gd name="connsiteY14" fmla="*/ 0 h 5890437"/>
                <a:gd name="connsiteX0" fmla="*/ 3030726 w 5381793"/>
                <a:gd name="connsiteY0" fmla="*/ 0 h 5890437"/>
                <a:gd name="connsiteX1" fmla="*/ 890128 w 5381793"/>
                <a:gd name="connsiteY1" fmla="*/ 1098883 h 5890437"/>
                <a:gd name="connsiteX2" fmla="*/ 649032 w 5381793"/>
                <a:gd name="connsiteY2" fmla="*/ 2137144 h 5890437"/>
                <a:gd name="connsiteX3" fmla="*/ 447 w 5381793"/>
                <a:gd name="connsiteY3" fmla="*/ 3051544 h 5890437"/>
                <a:gd name="connsiteX4" fmla="*/ 510810 w 5381793"/>
                <a:gd name="connsiteY4" fmla="*/ 3327991 h 5890437"/>
                <a:gd name="connsiteX5" fmla="*/ 298158 w 5381793"/>
                <a:gd name="connsiteY5" fmla="*/ 3657600 h 5890437"/>
                <a:gd name="connsiteX6" fmla="*/ 489544 w 5381793"/>
                <a:gd name="connsiteY6" fmla="*/ 3870251 h 5890437"/>
                <a:gd name="connsiteX7" fmla="*/ 372586 w 5381793"/>
                <a:gd name="connsiteY7" fmla="*/ 4061637 h 5890437"/>
                <a:gd name="connsiteX8" fmla="*/ 563972 w 5381793"/>
                <a:gd name="connsiteY8" fmla="*/ 4316819 h 5890437"/>
                <a:gd name="connsiteX9" fmla="*/ 500177 w 5381793"/>
                <a:gd name="connsiteY9" fmla="*/ 4976037 h 5890437"/>
                <a:gd name="connsiteX10" fmla="*/ 1754819 w 5381793"/>
                <a:gd name="connsiteY10" fmla="*/ 5199321 h 5890437"/>
                <a:gd name="connsiteX11" fmla="*/ 1946205 w 5381793"/>
                <a:gd name="connsiteY11" fmla="*/ 5890437 h 5890437"/>
                <a:gd name="connsiteX12" fmla="*/ 4785098 w 5381793"/>
                <a:gd name="connsiteY12" fmla="*/ 5858540 h 5890437"/>
                <a:gd name="connsiteX13" fmla="*/ 4891424 w 5381793"/>
                <a:gd name="connsiteY13" fmla="*/ 3519377 h 5890437"/>
                <a:gd name="connsiteX14" fmla="*/ 3030726 w 5381793"/>
                <a:gd name="connsiteY14" fmla="*/ 0 h 5890437"/>
                <a:gd name="connsiteX0" fmla="*/ 3030764 w 5381831"/>
                <a:gd name="connsiteY0" fmla="*/ 0 h 5890437"/>
                <a:gd name="connsiteX1" fmla="*/ 890166 w 5381831"/>
                <a:gd name="connsiteY1" fmla="*/ 1098883 h 5890437"/>
                <a:gd name="connsiteX2" fmla="*/ 607506 w 5381831"/>
                <a:gd name="connsiteY2" fmla="*/ 2172770 h 5890437"/>
                <a:gd name="connsiteX3" fmla="*/ 485 w 5381831"/>
                <a:gd name="connsiteY3" fmla="*/ 3051544 h 5890437"/>
                <a:gd name="connsiteX4" fmla="*/ 510848 w 5381831"/>
                <a:gd name="connsiteY4" fmla="*/ 3327991 h 5890437"/>
                <a:gd name="connsiteX5" fmla="*/ 298196 w 5381831"/>
                <a:gd name="connsiteY5" fmla="*/ 3657600 h 5890437"/>
                <a:gd name="connsiteX6" fmla="*/ 489582 w 5381831"/>
                <a:gd name="connsiteY6" fmla="*/ 3870251 h 5890437"/>
                <a:gd name="connsiteX7" fmla="*/ 372624 w 5381831"/>
                <a:gd name="connsiteY7" fmla="*/ 4061637 h 5890437"/>
                <a:gd name="connsiteX8" fmla="*/ 564010 w 5381831"/>
                <a:gd name="connsiteY8" fmla="*/ 4316819 h 5890437"/>
                <a:gd name="connsiteX9" fmla="*/ 500215 w 5381831"/>
                <a:gd name="connsiteY9" fmla="*/ 4976037 h 5890437"/>
                <a:gd name="connsiteX10" fmla="*/ 1754857 w 5381831"/>
                <a:gd name="connsiteY10" fmla="*/ 5199321 h 5890437"/>
                <a:gd name="connsiteX11" fmla="*/ 1946243 w 5381831"/>
                <a:gd name="connsiteY11" fmla="*/ 5890437 h 5890437"/>
                <a:gd name="connsiteX12" fmla="*/ 4785136 w 5381831"/>
                <a:gd name="connsiteY12" fmla="*/ 5858540 h 5890437"/>
                <a:gd name="connsiteX13" fmla="*/ 4891462 w 5381831"/>
                <a:gd name="connsiteY13" fmla="*/ 3519377 h 5890437"/>
                <a:gd name="connsiteX14" fmla="*/ 3030764 w 5381831"/>
                <a:gd name="connsiteY14" fmla="*/ 0 h 5890437"/>
                <a:gd name="connsiteX0" fmla="*/ 3030764 w 5381831"/>
                <a:gd name="connsiteY0" fmla="*/ 0 h 5890437"/>
                <a:gd name="connsiteX1" fmla="*/ 890166 w 5381831"/>
                <a:gd name="connsiteY1" fmla="*/ 1098883 h 5890437"/>
                <a:gd name="connsiteX2" fmla="*/ 607506 w 5381831"/>
                <a:gd name="connsiteY2" fmla="*/ 2172770 h 5890437"/>
                <a:gd name="connsiteX3" fmla="*/ 485 w 5381831"/>
                <a:gd name="connsiteY3" fmla="*/ 3051544 h 5890437"/>
                <a:gd name="connsiteX4" fmla="*/ 510848 w 5381831"/>
                <a:gd name="connsiteY4" fmla="*/ 3327991 h 5890437"/>
                <a:gd name="connsiteX5" fmla="*/ 298196 w 5381831"/>
                <a:gd name="connsiteY5" fmla="*/ 3657600 h 5890437"/>
                <a:gd name="connsiteX6" fmla="*/ 489582 w 5381831"/>
                <a:gd name="connsiteY6" fmla="*/ 3870251 h 5890437"/>
                <a:gd name="connsiteX7" fmla="*/ 372624 w 5381831"/>
                <a:gd name="connsiteY7" fmla="*/ 4061637 h 5890437"/>
                <a:gd name="connsiteX8" fmla="*/ 564010 w 5381831"/>
                <a:gd name="connsiteY8" fmla="*/ 4316819 h 5890437"/>
                <a:gd name="connsiteX9" fmla="*/ 500215 w 5381831"/>
                <a:gd name="connsiteY9" fmla="*/ 4976037 h 5890437"/>
                <a:gd name="connsiteX10" fmla="*/ 1754857 w 5381831"/>
                <a:gd name="connsiteY10" fmla="*/ 5199321 h 5890437"/>
                <a:gd name="connsiteX11" fmla="*/ 1946243 w 5381831"/>
                <a:gd name="connsiteY11" fmla="*/ 5890437 h 5890437"/>
                <a:gd name="connsiteX12" fmla="*/ 4785136 w 5381831"/>
                <a:gd name="connsiteY12" fmla="*/ 5858540 h 5890437"/>
                <a:gd name="connsiteX13" fmla="*/ 4891462 w 5381831"/>
                <a:gd name="connsiteY13" fmla="*/ 3519377 h 5890437"/>
                <a:gd name="connsiteX14" fmla="*/ 3030764 w 5381831"/>
                <a:gd name="connsiteY14" fmla="*/ 0 h 5890437"/>
                <a:gd name="connsiteX0" fmla="*/ 3030839 w 5381906"/>
                <a:gd name="connsiteY0" fmla="*/ 0 h 5890437"/>
                <a:gd name="connsiteX1" fmla="*/ 890241 w 5381906"/>
                <a:gd name="connsiteY1" fmla="*/ 1098883 h 5890437"/>
                <a:gd name="connsiteX2" fmla="*/ 607581 w 5381906"/>
                <a:gd name="connsiteY2" fmla="*/ 2172770 h 5890437"/>
                <a:gd name="connsiteX3" fmla="*/ 560 w 5381906"/>
                <a:gd name="connsiteY3" fmla="*/ 3051544 h 5890437"/>
                <a:gd name="connsiteX4" fmla="*/ 510923 w 5381906"/>
                <a:gd name="connsiteY4" fmla="*/ 3327991 h 5890437"/>
                <a:gd name="connsiteX5" fmla="*/ 298271 w 5381906"/>
                <a:gd name="connsiteY5" fmla="*/ 3657600 h 5890437"/>
                <a:gd name="connsiteX6" fmla="*/ 489657 w 5381906"/>
                <a:gd name="connsiteY6" fmla="*/ 3870251 h 5890437"/>
                <a:gd name="connsiteX7" fmla="*/ 372699 w 5381906"/>
                <a:gd name="connsiteY7" fmla="*/ 4061637 h 5890437"/>
                <a:gd name="connsiteX8" fmla="*/ 564085 w 5381906"/>
                <a:gd name="connsiteY8" fmla="*/ 4316819 h 5890437"/>
                <a:gd name="connsiteX9" fmla="*/ 500290 w 5381906"/>
                <a:gd name="connsiteY9" fmla="*/ 4976037 h 5890437"/>
                <a:gd name="connsiteX10" fmla="*/ 1754932 w 5381906"/>
                <a:gd name="connsiteY10" fmla="*/ 5199321 h 5890437"/>
                <a:gd name="connsiteX11" fmla="*/ 1946318 w 5381906"/>
                <a:gd name="connsiteY11" fmla="*/ 5890437 h 5890437"/>
                <a:gd name="connsiteX12" fmla="*/ 4785211 w 5381906"/>
                <a:gd name="connsiteY12" fmla="*/ 5858540 h 5890437"/>
                <a:gd name="connsiteX13" fmla="*/ 4891537 w 5381906"/>
                <a:gd name="connsiteY13" fmla="*/ 3519377 h 5890437"/>
                <a:gd name="connsiteX14" fmla="*/ 3030839 w 5381906"/>
                <a:gd name="connsiteY14" fmla="*/ 0 h 5890437"/>
                <a:gd name="connsiteX0" fmla="*/ 3030839 w 5381906"/>
                <a:gd name="connsiteY0" fmla="*/ 0 h 5890437"/>
                <a:gd name="connsiteX1" fmla="*/ 890241 w 5381906"/>
                <a:gd name="connsiteY1" fmla="*/ 1098883 h 5890437"/>
                <a:gd name="connsiteX2" fmla="*/ 607581 w 5381906"/>
                <a:gd name="connsiteY2" fmla="*/ 2172770 h 5890437"/>
                <a:gd name="connsiteX3" fmla="*/ 560 w 5381906"/>
                <a:gd name="connsiteY3" fmla="*/ 3051544 h 5890437"/>
                <a:gd name="connsiteX4" fmla="*/ 510923 w 5381906"/>
                <a:gd name="connsiteY4" fmla="*/ 3327991 h 5890437"/>
                <a:gd name="connsiteX5" fmla="*/ 298271 w 5381906"/>
                <a:gd name="connsiteY5" fmla="*/ 3657600 h 5890437"/>
                <a:gd name="connsiteX6" fmla="*/ 489657 w 5381906"/>
                <a:gd name="connsiteY6" fmla="*/ 3870251 h 5890437"/>
                <a:gd name="connsiteX7" fmla="*/ 372699 w 5381906"/>
                <a:gd name="connsiteY7" fmla="*/ 4061637 h 5890437"/>
                <a:gd name="connsiteX8" fmla="*/ 564085 w 5381906"/>
                <a:gd name="connsiteY8" fmla="*/ 4316819 h 5890437"/>
                <a:gd name="connsiteX9" fmla="*/ 500290 w 5381906"/>
                <a:gd name="connsiteY9" fmla="*/ 4976037 h 5890437"/>
                <a:gd name="connsiteX10" fmla="*/ 1754932 w 5381906"/>
                <a:gd name="connsiteY10" fmla="*/ 5199321 h 5890437"/>
                <a:gd name="connsiteX11" fmla="*/ 1946318 w 5381906"/>
                <a:gd name="connsiteY11" fmla="*/ 5890437 h 5890437"/>
                <a:gd name="connsiteX12" fmla="*/ 4785211 w 5381906"/>
                <a:gd name="connsiteY12" fmla="*/ 5858540 h 5890437"/>
                <a:gd name="connsiteX13" fmla="*/ 4891537 w 5381906"/>
                <a:gd name="connsiteY13" fmla="*/ 3519377 h 5890437"/>
                <a:gd name="connsiteX14" fmla="*/ 3030839 w 5381906"/>
                <a:gd name="connsiteY14" fmla="*/ 0 h 5890437"/>
                <a:gd name="connsiteX0" fmla="*/ 3030839 w 5381906"/>
                <a:gd name="connsiteY0" fmla="*/ 0 h 5890437"/>
                <a:gd name="connsiteX1" fmla="*/ 890241 w 5381906"/>
                <a:gd name="connsiteY1" fmla="*/ 1098883 h 5890437"/>
                <a:gd name="connsiteX2" fmla="*/ 607581 w 5381906"/>
                <a:gd name="connsiteY2" fmla="*/ 2172770 h 5890437"/>
                <a:gd name="connsiteX3" fmla="*/ 560 w 5381906"/>
                <a:gd name="connsiteY3" fmla="*/ 3051544 h 5890437"/>
                <a:gd name="connsiteX4" fmla="*/ 510923 w 5381906"/>
                <a:gd name="connsiteY4" fmla="*/ 3327991 h 5890437"/>
                <a:gd name="connsiteX5" fmla="*/ 298271 w 5381906"/>
                <a:gd name="connsiteY5" fmla="*/ 3657600 h 5890437"/>
                <a:gd name="connsiteX6" fmla="*/ 489657 w 5381906"/>
                <a:gd name="connsiteY6" fmla="*/ 3870251 h 5890437"/>
                <a:gd name="connsiteX7" fmla="*/ 372699 w 5381906"/>
                <a:gd name="connsiteY7" fmla="*/ 4061637 h 5890437"/>
                <a:gd name="connsiteX8" fmla="*/ 564085 w 5381906"/>
                <a:gd name="connsiteY8" fmla="*/ 4316819 h 5890437"/>
                <a:gd name="connsiteX9" fmla="*/ 500290 w 5381906"/>
                <a:gd name="connsiteY9" fmla="*/ 4976037 h 5890437"/>
                <a:gd name="connsiteX10" fmla="*/ 1754932 w 5381906"/>
                <a:gd name="connsiteY10" fmla="*/ 5199321 h 5890437"/>
                <a:gd name="connsiteX11" fmla="*/ 1946318 w 5381906"/>
                <a:gd name="connsiteY11" fmla="*/ 5890437 h 5890437"/>
                <a:gd name="connsiteX12" fmla="*/ 4785211 w 5381906"/>
                <a:gd name="connsiteY12" fmla="*/ 5858540 h 5890437"/>
                <a:gd name="connsiteX13" fmla="*/ 4891537 w 5381906"/>
                <a:gd name="connsiteY13" fmla="*/ 3519377 h 5890437"/>
                <a:gd name="connsiteX14" fmla="*/ 3030839 w 5381906"/>
                <a:gd name="connsiteY14" fmla="*/ 0 h 5890437"/>
                <a:gd name="connsiteX0" fmla="*/ 3030839 w 5381906"/>
                <a:gd name="connsiteY0" fmla="*/ 0 h 5890437"/>
                <a:gd name="connsiteX1" fmla="*/ 890241 w 5381906"/>
                <a:gd name="connsiteY1" fmla="*/ 1098883 h 5890437"/>
                <a:gd name="connsiteX2" fmla="*/ 607581 w 5381906"/>
                <a:gd name="connsiteY2" fmla="*/ 2172770 h 5890437"/>
                <a:gd name="connsiteX3" fmla="*/ 560 w 5381906"/>
                <a:gd name="connsiteY3" fmla="*/ 3051544 h 5890437"/>
                <a:gd name="connsiteX4" fmla="*/ 510923 w 5381906"/>
                <a:gd name="connsiteY4" fmla="*/ 3327991 h 5890437"/>
                <a:gd name="connsiteX5" fmla="*/ 339835 w 5381906"/>
                <a:gd name="connsiteY5" fmla="*/ 3734790 h 5890437"/>
                <a:gd name="connsiteX6" fmla="*/ 489657 w 5381906"/>
                <a:gd name="connsiteY6" fmla="*/ 3870251 h 5890437"/>
                <a:gd name="connsiteX7" fmla="*/ 372699 w 5381906"/>
                <a:gd name="connsiteY7" fmla="*/ 4061637 h 5890437"/>
                <a:gd name="connsiteX8" fmla="*/ 564085 w 5381906"/>
                <a:gd name="connsiteY8" fmla="*/ 4316819 h 5890437"/>
                <a:gd name="connsiteX9" fmla="*/ 500290 w 5381906"/>
                <a:gd name="connsiteY9" fmla="*/ 4976037 h 5890437"/>
                <a:gd name="connsiteX10" fmla="*/ 1754932 w 5381906"/>
                <a:gd name="connsiteY10" fmla="*/ 5199321 h 5890437"/>
                <a:gd name="connsiteX11" fmla="*/ 1946318 w 5381906"/>
                <a:gd name="connsiteY11" fmla="*/ 5890437 h 5890437"/>
                <a:gd name="connsiteX12" fmla="*/ 4785211 w 5381906"/>
                <a:gd name="connsiteY12" fmla="*/ 5858540 h 5890437"/>
                <a:gd name="connsiteX13" fmla="*/ 4891537 w 5381906"/>
                <a:gd name="connsiteY13" fmla="*/ 3519377 h 5890437"/>
                <a:gd name="connsiteX14" fmla="*/ 3030839 w 5381906"/>
                <a:gd name="connsiteY14" fmla="*/ 0 h 5890437"/>
                <a:gd name="connsiteX0" fmla="*/ 3030839 w 5381906"/>
                <a:gd name="connsiteY0" fmla="*/ 0 h 5890437"/>
                <a:gd name="connsiteX1" fmla="*/ 890241 w 5381906"/>
                <a:gd name="connsiteY1" fmla="*/ 1098883 h 5890437"/>
                <a:gd name="connsiteX2" fmla="*/ 607581 w 5381906"/>
                <a:gd name="connsiteY2" fmla="*/ 2172770 h 5890437"/>
                <a:gd name="connsiteX3" fmla="*/ 560 w 5381906"/>
                <a:gd name="connsiteY3" fmla="*/ 3051544 h 5890437"/>
                <a:gd name="connsiteX4" fmla="*/ 510923 w 5381906"/>
                <a:gd name="connsiteY4" fmla="*/ 3327991 h 5890437"/>
                <a:gd name="connsiteX5" fmla="*/ 339835 w 5381906"/>
                <a:gd name="connsiteY5" fmla="*/ 3734790 h 5890437"/>
                <a:gd name="connsiteX6" fmla="*/ 489657 w 5381906"/>
                <a:gd name="connsiteY6" fmla="*/ 3870251 h 5890437"/>
                <a:gd name="connsiteX7" fmla="*/ 372699 w 5381906"/>
                <a:gd name="connsiteY7" fmla="*/ 4061637 h 5890437"/>
                <a:gd name="connsiteX8" fmla="*/ 564085 w 5381906"/>
                <a:gd name="connsiteY8" fmla="*/ 4316819 h 5890437"/>
                <a:gd name="connsiteX9" fmla="*/ 500290 w 5381906"/>
                <a:gd name="connsiteY9" fmla="*/ 4976037 h 5890437"/>
                <a:gd name="connsiteX10" fmla="*/ 1754932 w 5381906"/>
                <a:gd name="connsiteY10" fmla="*/ 5199321 h 5890437"/>
                <a:gd name="connsiteX11" fmla="*/ 1946318 w 5381906"/>
                <a:gd name="connsiteY11" fmla="*/ 5890437 h 5890437"/>
                <a:gd name="connsiteX12" fmla="*/ 4785211 w 5381906"/>
                <a:gd name="connsiteY12" fmla="*/ 5858540 h 5890437"/>
                <a:gd name="connsiteX13" fmla="*/ 4891537 w 5381906"/>
                <a:gd name="connsiteY13" fmla="*/ 3519377 h 5890437"/>
                <a:gd name="connsiteX14" fmla="*/ 3030839 w 5381906"/>
                <a:gd name="connsiteY14" fmla="*/ 0 h 5890437"/>
                <a:gd name="connsiteX0" fmla="*/ 3030839 w 5381906"/>
                <a:gd name="connsiteY0" fmla="*/ 0 h 5890437"/>
                <a:gd name="connsiteX1" fmla="*/ 890241 w 5381906"/>
                <a:gd name="connsiteY1" fmla="*/ 1098883 h 5890437"/>
                <a:gd name="connsiteX2" fmla="*/ 607581 w 5381906"/>
                <a:gd name="connsiteY2" fmla="*/ 2172770 h 5890437"/>
                <a:gd name="connsiteX3" fmla="*/ 560 w 5381906"/>
                <a:gd name="connsiteY3" fmla="*/ 3051544 h 5890437"/>
                <a:gd name="connsiteX4" fmla="*/ 510923 w 5381906"/>
                <a:gd name="connsiteY4" fmla="*/ 3327991 h 5890437"/>
                <a:gd name="connsiteX5" fmla="*/ 339835 w 5381906"/>
                <a:gd name="connsiteY5" fmla="*/ 3734790 h 5890437"/>
                <a:gd name="connsiteX6" fmla="*/ 531221 w 5381906"/>
                <a:gd name="connsiteY6" fmla="*/ 3870251 h 5890437"/>
                <a:gd name="connsiteX7" fmla="*/ 372699 w 5381906"/>
                <a:gd name="connsiteY7" fmla="*/ 4061637 h 5890437"/>
                <a:gd name="connsiteX8" fmla="*/ 564085 w 5381906"/>
                <a:gd name="connsiteY8" fmla="*/ 4316819 h 5890437"/>
                <a:gd name="connsiteX9" fmla="*/ 500290 w 5381906"/>
                <a:gd name="connsiteY9" fmla="*/ 4976037 h 5890437"/>
                <a:gd name="connsiteX10" fmla="*/ 1754932 w 5381906"/>
                <a:gd name="connsiteY10" fmla="*/ 5199321 h 5890437"/>
                <a:gd name="connsiteX11" fmla="*/ 1946318 w 5381906"/>
                <a:gd name="connsiteY11" fmla="*/ 5890437 h 5890437"/>
                <a:gd name="connsiteX12" fmla="*/ 4785211 w 5381906"/>
                <a:gd name="connsiteY12" fmla="*/ 5858540 h 5890437"/>
                <a:gd name="connsiteX13" fmla="*/ 4891537 w 5381906"/>
                <a:gd name="connsiteY13" fmla="*/ 3519377 h 5890437"/>
                <a:gd name="connsiteX14" fmla="*/ 3030839 w 5381906"/>
                <a:gd name="connsiteY14" fmla="*/ 0 h 5890437"/>
                <a:gd name="connsiteX0" fmla="*/ 3030839 w 5381906"/>
                <a:gd name="connsiteY0" fmla="*/ 0 h 5890437"/>
                <a:gd name="connsiteX1" fmla="*/ 890241 w 5381906"/>
                <a:gd name="connsiteY1" fmla="*/ 1098883 h 5890437"/>
                <a:gd name="connsiteX2" fmla="*/ 607581 w 5381906"/>
                <a:gd name="connsiteY2" fmla="*/ 2172770 h 5890437"/>
                <a:gd name="connsiteX3" fmla="*/ 560 w 5381906"/>
                <a:gd name="connsiteY3" fmla="*/ 3051544 h 5890437"/>
                <a:gd name="connsiteX4" fmla="*/ 510923 w 5381906"/>
                <a:gd name="connsiteY4" fmla="*/ 3327991 h 5890437"/>
                <a:gd name="connsiteX5" fmla="*/ 339835 w 5381906"/>
                <a:gd name="connsiteY5" fmla="*/ 3734790 h 5890437"/>
                <a:gd name="connsiteX6" fmla="*/ 531221 w 5381906"/>
                <a:gd name="connsiteY6" fmla="*/ 3870251 h 5890437"/>
                <a:gd name="connsiteX7" fmla="*/ 372699 w 5381906"/>
                <a:gd name="connsiteY7" fmla="*/ 4061637 h 5890437"/>
                <a:gd name="connsiteX8" fmla="*/ 564085 w 5381906"/>
                <a:gd name="connsiteY8" fmla="*/ 4316819 h 5890437"/>
                <a:gd name="connsiteX9" fmla="*/ 500290 w 5381906"/>
                <a:gd name="connsiteY9" fmla="*/ 4976037 h 5890437"/>
                <a:gd name="connsiteX10" fmla="*/ 1754932 w 5381906"/>
                <a:gd name="connsiteY10" fmla="*/ 5199321 h 5890437"/>
                <a:gd name="connsiteX11" fmla="*/ 1946318 w 5381906"/>
                <a:gd name="connsiteY11" fmla="*/ 5890437 h 5890437"/>
                <a:gd name="connsiteX12" fmla="*/ 4785211 w 5381906"/>
                <a:gd name="connsiteY12" fmla="*/ 5858540 h 5890437"/>
                <a:gd name="connsiteX13" fmla="*/ 4891537 w 5381906"/>
                <a:gd name="connsiteY13" fmla="*/ 3519377 h 5890437"/>
                <a:gd name="connsiteX14" fmla="*/ 3030839 w 5381906"/>
                <a:gd name="connsiteY14" fmla="*/ 0 h 5890437"/>
                <a:gd name="connsiteX0" fmla="*/ 3030839 w 5381906"/>
                <a:gd name="connsiteY0" fmla="*/ 0 h 5890437"/>
                <a:gd name="connsiteX1" fmla="*/ 890241 w 5381906"/>
                <a:gd name="connsiteY1" fmla="*/ 1098883 h 5890437"/>
                <a:gd name="connsiteX2" fmla="*/ 607581 w 5381906"/>
                <a:gd name="connsiteY2" fmla="*/ 2172770 h 5890437"/>
                <a:gd name="connsiteX3" fmla="*/ 560 w 5381906"/>
                <a:gd name="connsiteY3" fmla="*/ 3051544 h 5890437"/>
                <a:gd name="connsiteX4" fmla="*/ 510923 w 5381906"/>
                <a:gd name="connsiteY4" fmla="*/ 3327991 h 5890437"/>
                <a:gd name="connsiteX5" fmla="*/ 339835 w 5381906"/>
                <a:gd name="connsiteY5" fmla="*/ 3734790 h 5890437"/>
                <a:gd name="connsiteX6" fmla="*/ 531221 w 5381906"/>
                <a:gd name="connsiteY6" fmla="*/ 3870251 h 5890437"/>
                <a:gd name="connsiteX7" fmla="*/ 372699 w 5381906"/>
                <a:gd name="connsiteY7" fmla="*/ 4061637 h 5890437"/>
                <a:gd name="connsiteX8" fmla="*/ 564085 w 5381906"/>
                <a:gd name="connsiteY8" fmla="*/ 4316819 h 5890437"/>
                <a:gd name="connsiteX9" fmla="*/ 500290 w 5381906"/>
                <a:gd name="connsiteY9" fmla="*/ 4976037 h 5890437"/>
                <a:gd name="connsiteX10" fmla="*/ 1754932 w 5381906"/>
                <a:gd name="connsiteY10" fmla="*/ 5199321 h 5890437"/>
                <a:gd name="connsiteX11" fmla="*/ 1946318 w 5381906"/>
                <a:gd name="connsiteY11" fmla="*/ 5890437 h 5890437"/>
                <a:gd name="connsiteX12" fmla="*/ 4785211 w 5381906"/>
                <a:gd name="connsiteY12" fmla="*/ 5858540 h 5890437"/>
                <a:gd name="connsiteX13" fmla="*/ 4891537 w 5381906"/>
                <a:gd name="connsiteY13" fmla="*/ 3519377 h 5890437"/>
                <a:gd name="connsiteX14" fmla="*/ 3030839 w 5381906"/>
                <a:gd name="connsiteY14" fmla="*/ 0 h 5890437"/>
                <a:gd name="connsiteX0" fmla="*/ 3030839 w 5381906"/>
                <a:gd name="connsiteY0" fmla="*/ 0 h 5890437"/>
                <a:gd name="connsiteX1" fmla="*/ 890241 w 5381906"/>
                <a:gd name="connsiteY1" fmla="*/ 1098883 h 5890437"/>
                <a:gd name="connsiteX2" fmla="*/ 607581 w 5381906"/>
                <a:gd name="connsiteY2" fmla="*/ 2172770 h 5890437"/>
                <a:gd name="connsiteX3" fmla="*/ 560 w 5381906"/>
                <a:gd name="connsiteY3" fmla="*/ 3051544 h 5890437"/>
                <a:gd name="connsiteX4" fmla="*/ 510923 w 5381906"/>
                <a:gd name="connsiteY4" fmla="*/ 3327991 h 5890437"/>
                <a:gd name="connsiteX5" fmla="*/ 339835 w 5381906"/>
                <a:gd name="connsiteY5" fmla="*/ 3734790 h 5890437"/>
                <a:gd name="connsiteX6" fmla="*/ 531221 w 5381906"/>
                <a:gd name="connsiteY6" fmla="*/ 3870251 h 5890437"/>
                <a:gd name="connsiteX7" fmla="*/ 372699 w 5381906"/>
                <a:gd name="connsiteY7" fmla="*/ 4061637 h 5890437"/>
                <a:gd name="connsiteX8" fmla="*/ 564085 w 5381906"/>
                <a:gd name="connsiteY8" fmla="*/ 4316819 h 5890437"/>
                <a:gd name="connsiteX9" fmla="*/ 500290 w 5381906"/>
                <a:gd name="connsiteY9" fmla="*/ 4976037 h 5890437"/>
                <a:gd name="connsiteX10" fmla="*/ 1754932 w 5381906"/>
                <a:gd name="connsiteY10" fmla="*/ 5199321 h 5890437"/>
                <a:gd name="connsiteX11" fmla="*/ 1946318 w 5381906"/>
                <a:gd name="connsiteY11" fmla="*/ 5890437 h 5890437"/>
                <a:gd name="connsiteX12" fmla="*/ 4785211 w 5381906"/>
                <a:gd name="connsiteY12" fmla="*/ 5858540 h 5890437"/>
                <a:gd name="connsiteX13" fmla="*/ 4891537 w 5381906"/>
                <a:gd name="connsiteY13" fmla="*/ 3519377 h 5890437"/>
                <a:gd name="connsiteX14" fmla="*/ 3030839 w 5381906"/>
                <a:gd name="connsiteY14" fmla="*/ 0 h 5890437"/>
                <a:gd name="connsiteX0" fmla="*/ 3030839 w 5381906"/>
                <a:gd name="connsiteY0" fmla="*/ 0 h 5890437"/>
                <a:gd name="connsiteX1" fmla="*/ 890241 w 5381906"/>
                <a:gd name="connsiteY1" fmla="*/ 1098883 h 5890437"/>
                <a:gd name="connsiteX2" fmla="*/ 607581 w 5381906"/>
                <a:gd name="connsiteY2" fmla="*/ 2172770 h 5890437"/>
                <a:gd name="connsiteX3" fmla="*/ 560 w 5381906"/>
                <a:gd name="connsiteY3" fmla="*/ 3051544 h 5890437"/>
                <a:gd name="connsiteX4" fmla="*/ 510923 w 5381906"/>
                <a:gd name="connsiteY4" fmla="*/ 3327991 h 5890437"/>
                <a:gd name="connsiteX5" fmla="*/ 339835 w 5381906"/>
                <a:gd name="connsiteY5" fmla="*/ 3734790 h 5890437"/>
                <a:gd name="connsiteX6" fmla="*/ 531221 w 5381906"/>
                <a:gd name="connsiteY6" fmla="*/ 3870251 h 5890437"/>
                <a:gd name="connsiteX7" fmla="*/ 372699 w 5381906"/>
                <a:gd name="connsiteY7" fmla="*/ 4061637 h 5890437"/>
                <a:gd name="connsiteX8" fmla="*/ 564085 w 5381906"/>
                <a:gd name="connsiteY8" fmla="*/ 4316819 h 5890437"/>
                <a:gd name="connsiteX9" fmla="*/ 500290 w 5381906"/>
                <a:gd name="connsiteY9" fmla="*/ 4976037 h 5890437"/>
                <a:gd name="connsiteX10" fmla="*/ 1754932 w 5381906"/>
                <a:gd name="connsiteY10" fmla="*/ 5199321 h 5890437"/>
                <a:gd name="connsiteX11" fmla="*/ 1946318 w 5381906"/>
                <a:gd name="connsiteY11" fmla="*/ 5890437 h 5890437"/>
                <a:gd name="connsiteX12" fmla="*/ 4785211 w 5381906"/>
                <a:gd name="connsiteY12" fmla="*/ 5858540 h 5890437"/>
                <a:gd name="connsiteX13" fmla="*/ 4891537 w 5381906"/>
                <a:gd name="connsiteY13" fmla="*/ 3519377 h 5890437"/>
                <a:gd name="connsiteX14" fmla="*/ 3030839 w 5381906"/>
                <a:gd name="connsiteY14" fmla="*/ 0 h 5890437"/>
                <a:gd name="connsiteX0" fmla="*/ 3030839 w 5381906"/>
                <a:gd name="connsiteY0" fmla="*/ 0 h 5890437"/>
                <a:gd name="connsiteX1" fmla="*/ 890241 w 5381906"/>
                <a:gd name="connsiteY1" fmla="*/ 1098883 h 5890437"/>
                <a:gd name="connsiteX2" fmla="*/ 607581 w 5381906"/>
                <a:gd name="connsiteY2" fmla="*/ 2172770 h 5890437"/>
                <a:gd name="connsiteX3" fmla="*/ 560 w 5381906"/>
                <a:gd name="connsiteY3" fmla="*/ 3051544 h 5890437"/>
                <a:gd name="connsiteX4" fmla="*/ 510923 w 5381906"/>
                <a:gd name="connsiteY4" fmla="*/ 3327991 h 5890437"/>
                <a:gd name="connsiteX5" fmla="*/ 339835 w 5381906"/>
                <a:gd name="connsiteY5" fmla="*/ 3734790 h 5890437"/>
                <a:gd name="connsiteX6" fmla="*/ 531221 w 5381906"/>
                <a:gd name="connsiteY6" fmla="*/ 3870251 h 5890437"/>
                <a:gd name="connsiteX7" fmla="*/ 372699 w 5381906"/>
                <a:gd name="connsiteY7" fmla="*/ 4061637 h 5890437"/>
                <a:gd name="connsiteX8" fmla="*/ 564085 w 5381906"/>
                <a:gd name="connsiteY8" fmla="*/ 4316819 h 5890437"/>
                <a:gd name="connsiteX9" fmla="*/ 500290 w 5381906"/>
                <a:gd name="connsiteY9" fmla="*/ 4976037 h 5890437"/>
                <a:gd name="connsiteX10" fmla="*/ 1754932 w 5381906"/>
                <a:gd name="connsiteY10" fmla="*/ 5199321 h 5890437"/>
                <a:gd name="connsiteX11" fmla="*/ 1946318 w 5381906"/>
                <a:gd name="connsiteY11" fmla="*/ 5890437 h 5890437"/>
                <a:gd name="connsiteX12" fmla="*/ 4785211 w 5381906"/>
                <a:gd name="connsiteY12" fmla="*/ 5858540 h 5890437"/>
                <a:gd name="connsiteX13" fmla="*/ 4891537 w 5381906"/>
                <a:gd name="connsiteY13" fmla="*/ 3519377 h 5890437"/>
                <a:gd name="connsiteX14" fmla="*/ 3030839 w 5381906"/>
                <a:gd name="connsiteY14" fmla="*/ 0 h 5890437"/>
                <a:gd name="connsiteX0" fmla="*/ 3030839 w 5381906"/>
                <a:gd name="connsiteY0" fmla="*/ 0 h 5890437"/>
                <a:gd name="connsiteX1" fmla="*/ 890241 w 5381906"/>
                <a:gd name="connsiteY1" fmla="*/ 1098883 h 5890437"/>
                <a:gd name="connsiteX2" fmla="*/ 607581 w 5381906"/>
                <a:gd name="connsiteY2" fmla="*/ 2172770 h 5890437"/>
                <a:gd name="connsiteX3" fmla="*/ 560 w 5381906"/>
                <a:gd name="connsiteY3" fmla="*/ 3051544 h 5890437"/>
                <a:gd name="connsiteX4" fmla="*/ 510923 w 5381906"/>
                <a:gd name="connsiteY4" fmla="*/ 3327991 h 5890437"/>
                <a:gd name="connsiteX5" fmla="*/ 339835 w 5381906"/>
                <a:gd name="connsiteY5" fmla="*/ 3734790 h 5890437"/>
                <a:gd name="connsiteX6" fmla="*/ 531221 w 5381906"/>
                <a:gd name="connsiteY6" fmla="*/ 3870251 h 5890437"/>
                <a:gd name="connsiteX7" fmla="*/ 372699 w 5381906"/>
                <a:gd name="connsiteY7" fmla="*/ 4061637 h 5890437"/>
                <a:gd name="connsiteX8" fmla="*/ 564085 w 5381906"/>
                <a:gd name="connsiteY8" fmla="*/ 4316819 h 5890437"/>
                <a:gd name="connsiteX9" fmla="*/ 500290 w 5381906"/>
                <a:gd name="connsiteY9" fmla="*/ 4976037 h 5890437"/>
                <a:gd name="connsiteX10" fmla="*/ 1754932 w 5381906"/>
                <a:gd name="connsiteY10" fmla="*/ 5199321 h 5890437"/>
                <a:gd name="connsiteX11" fmla="*/ 1946318 w 5381906"/>
                <a:gd name="connsiteY11" fmla="*/ 5890437 h 5890437"/>
                <a:gd name="connsiteX12" fmla="*/ 4785211 w 5381906"/>
                <a:gd name="connsiteY12" fmla="*/ 5858540 h 5890437"/>
                <a:gd name="connsiteX13" fmla="*/ 4891537 w 5381906"/>
                <a:gd name="connsiteY13" fmla="*/ 3519377 h 5890437"/>
                <a:gd name="connsiteX14" fmla="*/ 3030839 w 5381906"/>
                <a:gd name="connsiteY14" fmla="*/ 0 h 5890437"/>
                <a:gd name="connsiteX0" fmla="*/ 3030839 w 5381906"/>
                <a:gd name="connsiteY0" fmla="*/ 0 h 5890437"/>
                <a:gd name="connsiteX1" fmla="*/ 890241 w 5381906"/>
                <a:gd name="connsiteY1" fmla="*/ 1098883 h 5890437"/>
                <a:gd name="connsiteX2" fmla="*/ 607581 w 5381906"/>
                <a:gd name="connsiteY2" fmla="*/ 2172770 h 5890437"/>
                <a:gd name="connsiteX3" fmla="*/ 560 w 5381906"/>
                <a:gd name="connsiteY3" fmla="*/ 3051544 h 5890437"/>
                <a:gd name="connsiteX4" fmla="*/ 510923 w 5381906"/>
                <a:gd name="connsiteY4" fmla="*/ 3327991 h 5890437"/>
                <a:gd name="connsiteX5" fmla="*/ 339835 w 5381906"/>
                <a:gd name="connsiteY5" fmla="*/ 3734790 h 5890437"/>
                <a:gd name="connsiteX6" fmla="*/ 531221 w 5381906"/>
                <a:gd name="connsiteY6" fmla="*/ 3870251 h 5890437"/>
                <a:gd name="connsiteX7" fmla="*/ 372699 w 5381906"/>
                <a:gd name="connsiteY7" fmla="*/ 4061637 h 5890437"/>
                <a:gd name="connsiteX8" fmla="*/ 564085 w 5381906"/>
                <a:gd name="connsiteY8" fmla="*/ 4316819 h 5890437"/>
                <a:gd name="connsiteX9" fmla="*/ 500290 w 5381906"/>
                <a:gd name="connsiteY9" fmla="*/ 4976037 h 5890437"/>
                <a:gd name="connsiteX10" fmla="*/ 1754932 w 5381906"/>
                <a:gd name="connsiteY10" fmla="*/ 5199321 h 5890437"/>
                <a:gd name="connsiteX11" fmla="*/ 1946318 w 5381906"/>
                <a:gd name="connsiteY11" fmla="*/ 5890437 h 5890437"/>
                <a:gd name="connsiteX12" fmla="*/ 4785211 w 5381906"/>
                <a:gd name="connsiteY12" fmla="*/ 5858540 h 5890437"/>
                <a:gd name="connsiteX13" fmla="*/ 4891537 w 5381906"/>
                <a:gd name="connsiteY13" fmla="*/ 3519377 h 5890437"/>
                <a:gd name="connsiteX14" fmla="*/ 3030839 w 5381906"/>
                <a:gd name="connsiteY14" fmla="*/ 0 h 5890437"/>
                <a:gd name="connsiteX0" fmla="*/ 3030839 w 5381906"/>
                <a:gd name="connsiteY0" fmla="*/ 0 h 5890437"/>
                <a:gd name="connsiteX1" fmla="*/ 890241 w 5381906"/>
                <a:gd name="connsiteY1" fmla="*/ 1098883 h 5890437"/>
                <a:gd name="connsiteX2" fmla="*/ 607581 w 5381906"/>
                <a:gd name="connsiteY2" fmla="*/ 2172770 h 5890437"/>
                <a:gd name="connsiteX3" fmla="*/ 560 w 5381906"/>
                <a:gd name="connsiteY3" fmla="*/ 3051544 h 5890437"/>
                <a:gd name="connsiteX4" fmla="*/ 510923 w 5381906"/>
                <a:gd name="connsiteY4" fmla="*/ 3327991 h 5890437"/>
                <a:gd name="connsiteX5" fmla="*/ 339835 w 5381906"/>
                <a:gd name="connsiteY5" fmla="*/ 3734790 h 5890437"/>
                <a:gd name="connsiteX6" fmla="*/ 531221 w 5381906"/>
                <a:gd name="connsiteY6" fmla="*/ 3870251 h 5890437"/>
                <a:gd name="connsiteX7" fmla="*/ 372699 w 5381906"/>
                <a:gd name="connsiteY7" fmla="*/ 4061637 h 5890437"/>
                <a:gd name="connsiteX8" fmla="*/ 564085 w 5381906"/>
                <a:gd name="connsiteY8" fmla="*/ 4316819 h 5890437"/>
                <a:gd name="connsiteX9" fmla="*/ 500290 w 5381906"/>
                <a:gd name="connsiteY9" fmla="*/ 4976037 h 5890437"/>
                <a:gd name="connsiteX10" fmla="*/ 1754932 w 5381906"/>
                <a:gd name="connsiteY10" fmla="*/ 5039004 h 5890437"/>
                <a:gd name="connsiteX11" fmla="*/ 1946318 w 5381906"/>
                <a:gd name="connsiteY11" fmla="*/ 5890437 h 5890437"/>
                <a:gd name="connsiteX12" fmla="*/ 4785211 w 5381906"/>
                <a:gd name="connsiteY12" fmla="*/ 5858540 h 5890437"/>
                <a:gd name="connsiteX13" fmla="*/ 4891537 w 5381906"/>
                <a:gd name="connsiteY13" fmla="*/ 3519377 h 5890437"/>
                <a:gd name="connsiteX14" fmla="*/ 3030839 w 5381906"/>
                <a:gd name="connsiteY14" fmla="*/ 0 h 5890437"/>
                <a:gd name="connsiteX0" fmla="*/ 3030839 w 5381906"/>
                <a:gd name="connsiteY0" fmla="*/ 0 h 5890437"/>
                <a:gd name="connsiteX1" fmla="*/ 890241 w 5381906"/>
                <a:gd name="connsiteY1" fmla="*/ 1098883 h 5890437"/>
                <a:gd name="connsiteX2" fmla="*/ 607581 w 5381906"/>
                <a:gd name="connsiteY2" fmla="*/ 2172770 h 5890437"/>
                <a:gd name="connsiteX3" fmla="*/ 560 w 5381906"/>
                <a:gd name="connsiteY3" fmla="*/ 3051544 h 5890437"/>
                <a:gd name="connsiteX4" fmla="*/ 510923 w 5381906"/>
                <a:gd name="connsiteY4" fmla="*/ 3327991 h 5890437"/>
                <a:gd name="connsiteX5" fmla="*/ 339835 w 5381906"/>
                <a:gd name="connsiteY5" fmla="*/ 3734790 h 5890437"/>
                <a:gd name="connsiteX6" fmla="*/ 531221 w 5381906"/>
                <a:gd name="connsiteY6" fmla="*/ 3870251 h 5890437"/>
                <a:gd name="connsiteX7" fmla="*/ 372699 w 5381906"/>
                <a:gd name="connsiteY7" fmla="*/ 4061637 h 5890437"/>
                <a:gd name="connsiteX8" fmla="*/ 564085 w 5381906"/>
                <a:gd name="connsiteY8" fmla="*/ 4316819 h 5890437"/>
                <a:gd name="connsiteX9" fmla="*/ 500290 w 5381906"/>
                <a:gd name="connsiteY9" fmla="*/ 4976037 h 5890437"/>
                <a:gd name="connsiteX10" fmla="*/ 1754932 w 5381906"/>
                <a:gd name="connsiteY10" fmla="*/ 5039004 h 5890437"/>
                <a:gd name="connsiteX11" fmla="*/ 1946318 w 5381906"/>
                <a:gd name="connsiteY11" fmla="*/ 5890437 h 5890437"/>
                <a:gd name="connsiteX12" fmla="*/ 4785211 w 5381906"/>
                <a:gd name="connsiteY12" fmla="*/ 5858540 h 5890437"/>
                <a:gd name="connsiteX13" fmla="*/ 4891537 w 5381906"/>
                <a:gd name="connsiteY13" fmla="*/ 3519377 h 5890437"/>
                <a:gd name="connsiteX14" fmla="*/ 3030839 w 5381906"/>
                <a:gd name="connsiteY14" fmla="*/ 0 h 5890437"/>
                <a:gd name="connsiteX0" fmla="*/ 3030839 w 5381906"/>
                <a:gd name="connsiteY0" fmla="*/ 0 h 5890437"/>
                <a:gd name="connsiteX1" fmla="*/ 890241 w 5381906"/>
                <a:gd name="connsiteY1" fmla="*/ 1098883 h 5890437"/>
                <a:gd name="connsiteX2" fmla="*/ 607581 w 5381906"/>
                <a:gd name="connsiteY2" fmla="*/ 2172770 h 5890437"/>
                <a:gd name="connsiteX3" fmla="*/ 560 w 5381906"/>
                <a:gd name="connsiteY3" fmla="*/ 3051544 h 5890437"/>
                <a:gd name="connsiteX4" fmla="*/ 510923 w 5381906"/>
                <a:gd name="connsiteY4" fmla="*/ 3327991 h 5890437"/>
                <a:gd name="connsiteX5" fmla="*/ 339835 w 5381906"/>
                <a:gd name="connsiteY5" fmla="*/ 3734790 h 5890437"/>
                <a:gd name="connsiteX6" fmla="*/ 531221 w 5381906"/>
                <a:gd name="connsiteY6" fmla="*/ 3870251 h 5890437"/>
                <a:gd name="connsiteX7" fmla="*/ 372699 w 5381906"/>
                <a:gd name="connsiteY7" fmla="*/ 4061637 h 5890437"/>
                <a:gd name="connsiteX8" fmla="*/ 564085 w 5381906"/>
                <a:gd name="connsiteY8" fmla="*/ 4316819 h 5890437"/>
                <a:gd name="connsiteX9" fmla="*/ 500290 w 5381906"/>
                <a:gd name="connsiteY9" fmla="*/ 4976037 h 5890437"/>
                <a:gd name="connsiteX10" fmla="*/ 1754932 w 5381906"/>
                <a:gd name="connsiteY10" fmla="*/ 5039004 h 5890437"/>
                <a:gd name="connsiteX11" fmla="*/ 1946318 w 5381906"/>
                <a:gd name="connsiteY11" fmla="*/ 5890437 h 5890437"/>
                <a:gd name="connsiteX12" fmla="*/ 4785211 w 5381906"/>
                <a:gd name="connsiteY12" fmla="*/ 5858540 h 5890437"/>
                <a:gd name="connsiteX13" fmla="*/ 4891537 w 5381906"/>
                <a:gd name="connsiteY13" fmla="*/ 3519377 h 5890437"/>
                <a:gd name="connsiteX14" fmla="*/ 3030839 w 5381906"/>
                <a:gd name="connsiteY14" fmla="*/ 0 h 5890437"/>
                <a:gd name="connsiteX0" fmla="*/ 3030839 w 5381906"/>
                <a:gd name="connsiteY0" fmla="*/ 0 h 5890437"/>
                <a:gd name="connsiteX1" fmla="*/ 890241 w 5381906"/>
                <a:gd name="connsiteY1" fmla="*/ 1098883 h 5890437"/>
                <a:gd name="connsiteX2" fmla="*/ 607581 w 5381906"/>
                <a:gd name="connsiteY2" fmla="*/ 2172770 h 5890437"/>
                <a:gd name="connsiteX3" fmla="*/ 560 w 5381906"/>
                <a:gd name="connsiteY3" fmla="*/ 3051544 h 5890437"/>
                <a:gd name="connsiteX4" fmla="*/ 510923 w 5381906"/>
                <a:gd name="connsiteY4" fmla="*/ 3327991 h 5890437"/>
                <a:gd name="connsiteX5" fmla="*/ 339835 w 5381906"/>
                <a:gd name="connsiteY5" fmla="*/ 3734790 h 5890437"/>
                <a:gd name="connsiteX6" fmla="*/ 531221 w 5381906"/>
                <a:gd name="connsiteY6" fmla="*/ 3870251 h 5890437"/>
                <a:gd name="connsiteX7" fmla="*/ 372699 w 5381906"/>
                <a:gd name="connsiteY7" fmla="*/ 4061637 h 5890437"/>
                <a:gd name="connsiteX8" fmla="*/ 564085 w 5381906"/>
                <a:gd name="connsiteY8" fmla="*/ 4316819 h 5890437"/>
                <a:gd name="connsiteX9" fmla="*/ 500290 w 5381906"/>
                <a:gd name="connsiteY9" fmla="*/ 4976037 h 5890437"/>
                <a:gd name="connsiteX10" fmla="*/ 1754932 w 5381906"/>
                <a:gd name="connsiteY10" fmla="*/ 5039004 h 5890437"/>
                <a:gd name="connsiteX11" fmla="*/ 1946318 w 5381906"/>
                <a:gd name="connsiteY11" fmla="*/ 5890437 h 5890437"/>
                <a:gd name="connsiteX12" fmla="*/ 4785211 w 5381906"/>
                <a:gd name="connsiteY12" fmla="*/ 5858540 h 5890437"/>
                <a:gd name="connsiteX13" fmla="*/ 4891537 w 5381906"/>
                <a:gd name="connsiteY13" fmla="*/ 3519377 h 5890437"/>
                <a:gd name="connsiteX14" fmla="*/ 3030839 w 5381906"/>
                <a:gd name="connsiteY14" fmla="*/ 0 h 5890437"/>
                <a:gd name="connsiteX0" fmla="*/ 3030839 w 5381906"/>
                <a:gd name="connsiteY0" fmla="*/ 0 h 5890437"/>
                <a:gd name="connsiteX1" fmla="*/ 890241 w 5381906"/>
                <a:gd name="connsiteY1" fmla="*/ 1098883 h 5890437"/>
                <a:gd name="connsiteX2" fmla="*/ 607581 w 5381906"/>
                <a:gd name="connsiteY2" fmla="*/ 2172770 h 5890437"/>
                <a:gd name="connsiteX3" fmla="*/ 560 w 5381906"/>
                <a:gd name="connsiteY3" fmla="*/ 3051544 h 5890437"/>
                <a:gd name="connsiteX4" fmla="*/ 510923 w 5381906"/>
                <a:gd name="connsiteY4" fmla="*/ 3327991 h 5890437"/>
                <a:gd name="connsiteX5" fmla="*/ 339835 w 5381906"/>
                <a:gd name="connsiteY5" fmla="*/ 3734790 h 5890437"/>
                <a:gd name="connsiteX6" fmla="*/ 531221 w 5381906"/>
                <a:gd name="connsiteY6" fmla="*/ 3870251 h 5890437"/>
                <a:gd name="connsiteX7" fmla="*/ 372699 w 5381906"/>
                <a:gd name="connsiteY7" fmla="*/ 4061637 h 5890437"/>
                <a:gd name="connsiteX8" fmla="*/ 564085 w 5381906"/>
                <a:gd name="connsiteY8" fmla="*/ 4316819 h 5890437"/>
                <a:gd name="connsiteX9" fmla="*/ 500290 w 5381906"/>
                <a:gd name="connsiteY9" fmla="*/ 4976037 h 5890437"/>
                <a:gd name="connsiteX10" fmla="*/ 1754932 w 5381906"/>
                <a:gd name="connsiteY10" fmla="*/ 5039004 h 5890437"/>
                <a:gd name="connsiteX11" fmla="*/ 1946318 w 5381906"/>
                <a:gd name="connsiteY11" fmla="*/ 5890437 h 5890437"/>
                <a:gd name="connsiteX12" fmla="*/ 4785211 w 5381906"/>
                <a:gd name="connsiteY12" fmla="*/ 5858540 h 5890437"/>
                <a:gd name="connsiteX13" fmla="*/ 4891537 w 5381906"/>
                <a:gd name="connsiteY13" fmla="*/ 3519377 h 5890437"/>
                <a:gd name="connsiteX14" fmla="*/ 3030839 w 5381906"/>
                <a:gd name="connsiteY14" fmla="*/ 0 h 5890437"/>
                <a:gd name="connsiteX0" fmla="*/ 3030765 w 5381832"/>
                <a:gd name="connsiteY0" fmla="*/ 0 h 5890437"/>
                <a:gd name="connsiteX1" fmla="*/ 890167 w 5381832"/>
                <a:gd name="connsiteY1" fmla="*/ 1098883 h 5890437"/>
                <a:gd name="connsiteX2" fmla="*/ 672821 w 5381832"/>
                <a:gd name="connsiteY2" fmla="*/ 2220272 h 5890437"/>
                <a:gd name="connsiteX3" fmla="*/ 486 w 5381832"/>
                <a:gd name="connsiteY3" fmla="*/ 3051544 h 5890437"/>
                <a:gd name="connsiteX4" fmla="*/ 510849 w 5381832"/>
                <a:gd name="connsiteY4" fmla="*/ 3327991 h 5890437"/>
                <a:gd name="connsiteX5" fmla="*/ 339761 w 5381832"/>
                <a:gd name="connsiteY5" fmla="*/ 3734790 h 5890437"/>
                <a:gd name="connsiteX6" fmla="*/ 531147 w 5381832"/>
                <a:gd name="connsiteY6" fmla="*/ 3870251 h 5890437"/>
                <a:gd name="connsiteX7" fmla="*/ 372625 w 5381832"/>
                <a:gd name="connsiteY7" fmla="*/ 4061637 h 5890437"/>
                <a:gd name="connsiteX8" fmla="*/ 564011 w 5381832"/>
                <a:gd name="connsiteY8" fmla="*/ 4316819 h 5890437"/>
                <a:gd name="connsiteX9" fmla="*/ 500216 w 5381832"/>
                <a:gd name="connsiteY9" fmla="*/ 4976037 h 5890437"/>
                <a:gd name="connsiteX10" fmla="*/ 1754858 w 5381832"/>
                <a:gd name="connsiteY10" fmla="*/ 5039004 h 5890437"/>
                <a:gd name="connsiteX11" fmla="*/ 1946244 w 5381832"/>
                <a:gd name="connsiteY11" fmla="*/ 5890437 h 5890437"/>
                <a:gd name="connsiteX12" fmla="*/ 4785137 w 5381832"/>
                <a:gd name="connsiteY12" fmla="*/ 5858540 h 5890437"/>
                <a:gd name="connsiteX13" fmla="*/ 4891463 w 5381832"/>
                <a:gd name="connsiteY13" fmla="*/ 3519377 h 5890437"/>
                <a:gd name="connsiteX14" fmla="*/ 3030765 w 5381832"/>
                <a:gd name="connsiteY14" fmla="*/ 0 h 5890437"/>
                <a:gd name="connsiteX0" fmla="*/ 3030862 w 5381929"/>
                <a:gd name="connsiteY0" fmla="*/ 0 h 5890437"/>
                <a:gd name="connsiteX1" fmla="*/ 890264 w 5381929"/>
                <a:gd name="connsiteY1" fmla="*/ 1098883 h 5890437"/>
                <a:gd name="connsiteX2" fmla="*/ 672918 w 5381929"/>
                <a:gd name="connsiteY2" fmla="*/ 2220272 h 5890437"/>
                <a:gd name="connsiteX3" fmla="*/ 583 w 5381929"/>
                <a:gd name="connsiteY3" fmla="*/ 3051544 h 5890437"/>
                <a:gd name="connsiteX4" fmla="*/ 510946 w 5381929"/>
                <a:gd name="connsiteY4" fmla="*/ 3327991 h 5890437"/>
                <a:gd name="connsiteX5" fmla="*/ 339858 w 5381929"/>
                <a:gd name="connsiteY5" fmla="*/ 3734790 h 5890437"/>
                <a:gd name="connsiteX6" fmla="*/ 531244 w 5381929"/>
                <a:gd name="connsiteY6" fmla="*/ 3870251 h 5890437"/>
                <a:gd name="connsiteX7" fmla="*/ 372722 w 5381929"/>
                <a:gd name="connsiteY7" fmla="*/ 4061637 h 5890437"/>
                <a:gd name="connsiteX8" fmla="*/ 564108 w 5381929"/>
                <a:gd name="connsiteY8" fmla="*/ 4316819 h 5890437"/>
                <a:gd name="connsiteX9" fmla="*/ 500313 w 5381929"/>
                <a:gd name="connsiteY9" fmla="*/ 4976037 h 5890437"/>
                <a:gd name="connsiteX10" fmla="*/ 1754955 w 5381929"/>
                <a:gd name="connsiteY10" fmla="*/ 5039004 h 5890437"/>
                <a:gd name="connsiteX11" fmla="*/ 1946341 w 5381929"/>
                <a:gd name="connsiteY11" fmla="*/ 5890437 h 5890437"/>
                <a:gd name="connsiteX12" fmla="*/ 4785234 w 5381929"/>
                <a:gd name="connsiteY12" fmla="*/ 5858540 h 5890437"/>
                <a:gd name="connsiteX13" fmla="*/ 4891560 w 5381929"/>
                <a:gd name="connsiteY13" fmla="*/ 3519377 h 5890437"/>
                <a:gd name="connsiteX14" fmla="*/ 3030862 w 5381929"/>
                <a:gd name="connsiteY14" fmla="*/ 0 h 5890437"/>
                <a:gd name="connsiteX0" fmla="*/ 3030862 w 5381929"/>
                <a:gd name="connsiteY0" fmla="*/ 0 h 5890437"/>
                <a:gd name="connsiteX1" fmla="*/ 890264 w 5381929"/>
                <a:gd name="connsiteY1" fmla="*/ 1098883 h 5890437"/>
                <a:gd name="connsiteX2" fmla="*/ 672918 w 5381929"/>
                <a:gd name="connsiteY2" fmla="*/ 2220272 h 5890437"/>
                <a:gd name="connsiteX3" fmla="*/ 583 w 5381929"/>
                <a:gd name="connsiteY3" fmla="*/ 3051544 h 5890437"/>
                <a:gd name="connsiteX4" fmla="*/ 510946 w 5381929"/>
                <a:gd name="connsiteY4" fmla="*/ 3327991 h 5890437"/>
                <a:gd name="connsiteX5" fmla="*/ 339858 w 5381929"/>
                <a:gd name="connsiteY5" fmla="*/ 3734790 h 5890437"/>
                <a:gd name="connsiteX6" fmla="*/ 531244 w 5381929"/>
                <a:gd name="connsiteY6" fmla="*/ 3870251 h 5890437"/>
                <a:gd name="connsiteX7" fmla="*/ 372722 w 5381929"/>
                <a:gd name="connsiteY7" fmla="*/ 4061637 h 5890437"/>
                <a:gd name="connsiteX8" fmla="*/ 564108 w 5381929"/>
                <a:gd name="connsiteY8" fmla="*/ 4316819 h 5890437"/>
                <a:gd name="connsiteX9" fmla="*/ 500313 w 5381929"/>
                <a:gd name="connsiteY9" fmla="*/ 4976037 h 5890437"/>
                <a:gd name="connsiteX10" fmla="*/ 1754955 w 5381929"/>
                <a:gd name="connsiteY10" fmla="*/ 5039004 h 5890437"/>
                <a:gd name="connsiteX11" fmla="*/ 1946341 w 5381929"/>
                <a:gd name="connsiteY11" fmla="*/ 5890437 h 5890437"/>
                <a:gd name="connsiteX12" fmla="*/ 4785234 w 5381929"/>
                <a:gd name="connsiteY12" fmla="*/ 5858540 h 5890437"/>
                <a:gd name="connsiteX13" fmla="*/ 4891560 w 5381929"/>
                <a:gd name="connsiteY13" fmla="*/ 3519377 h 5890437"/>
                <a:gd name="connsiteX14" fmla="*/ 3030862 w 5381929"/>
                <a:gd name="connsiteY14" fmla="*/ 0 h 5890437"/>
                <a:gd name="connsiteX0" fmla="*/ 3030862 w 5381929"/>
                <a:gd name="connsiteY0" fmla="*/ 0 h 5890437"/>
                <a:gd name="connsiteX1" fmla="*/ 890264 w 5381929"/>
                <a:gd name="connsiteY1" fmla="*/ 1098883 h 5890437"/>
                <a:gd name="connsiteX2" fmla="*/ 672918 w 5381929"/>
                <a:gd name="connsiteY2" fmla="*/ 2220272 h 5890437"/>
                <a:gd name="connsiteX3" fmla="*/ 583 w 5381929"/>
                <a:gd name="connsiteY3" fmla="*/ 3051544 h 5890437"/>
                <a:gd name="connsiteX4" fmla="*/ 510946 w 5381929"/>
                <a:gd name="connsiteY4" fmla="*/ 3327991 h 5890437"/>
                <a:gd name="connsiteX5" fmla="*/ 339858 w 5381929"/>
                <a:gd name="connsiteY5" fmla="*/ 3734790 h 5890437"/>
                <a:gd name="connsiteX6" fmla="*/ 531244 w 5381929"/>
                <a:gd name="connsiteY6" fmla="*/ 3870251 h 5890437"/>
                <a:gd name="connsiteX7" fmla="*/ 372722 w 5381929"/>
                <a:gd name="connsiteY7" fmla="*/ 4061637 h 5890437"/>
                <a:gd name="connsiteX8" fmla="*/ 564108 w 5381929"/>
                <a:gd name="connsiteY8" fmla="*/ 4316819 h 5890437"/>
                <a:gd name="connsiteX9" fmla="*/ 500313 w 5381929"/>
                <a:gd name="connsiteY9" fmla="*/ 4976037 h 5890437"/>
                <a:gd name="connsiteX10" fmla="*/ 1754955 w 5381929"/>
                <a:gd name="connsiteY10" fmla="*/ 5039004 h 5890437"/>
                <a:gd name="connsiteX11" fmla="*/ 1946341 w 5381929"/>
                <a:gd name="connsiteY11" fmla="*/ 5890437 h 5890437"/>
                <a:gd name="connsiteX12" fmla="*/ 4785234 w 5381929"/>
                <a:gd name="connsiteY12" fmla="*/ 5858540 h 5890437"/>
                <a:gd name="connsiteX13" fmla="*/ 4891560 w 5381929"/>
                <a:gd name="connsiteY13" fmla="*/ 3519377 h 5890437"/>
                <a:gd name="connsiteX14" fmla="*/ 3030862 w 5381929"/>
                <a:gd name="connsiteY14" fmla="*/ 0 h 5890437"/>
                <a:gd name="connsiteX0" fmla="*/ 3030862 w 5381929"/>
                <a:gd name="connsiteY0" fmla="*/ 0 h 5890437"/>
                <a:gd name="connsiteX1" fmla="*/ 890264 w 5381929"/>
                <a:gd name="connsiteY1" fmla="*/ 1098883 h 5890437"/>
                <a:gd name="connsiteX2" fmla="*/ 672918 w 5381929"/>
                <a:gd name="connsiteY2" fmla="*/ 2220272 h 5890437"/>
                <a:gd name="connsiteX3" fmla="*/ 583 w 5381929"/>
                <a:gd name="connsiteY3" fmla="*/ 3051544 h 5890437"/>
                <a:gd name="connsiteX4" fmla="*/ 510946 w 5381929"/>
                <a:gd name="connsiteY4" fmla="*/ 3327991 h 5890437"/>
                <a:gd name="connsiteX5" fmla="*/ 339858 w 5381929"/>
                <a:gd name="connsiteY5" fmla="*/ 3734790 h 5890437"/>
                <a:gd name="connsiteX6" fmla="*/ 531244 w 5381929"/>
                <a:gd name="connsiteY6" fmla="*/ 3870251 h 5890437"/>
                <a:gd name="connsiteX7" fmla="*/ 372722 w 5381929"/>
                <a:gd name="connsiteY7" fmla="*/ 4061637 h 5890437"/>
                <a:gd name="connsiteX8" fmla="*/ 564108 w 5381929"/>
                <a:gd name="connsiteY8" fmla="*/ 4316819 h 5890437"/>
                <a:gd name="connsiteX9" fmla="*/ 500313 w 5381929"/>
                <a:gd name="connsiteY9" fmla="*/ 4976037 h 5890437"/>
                <a:gd name="connsiteX10" fmla="*/ 1754955 w 5381929"/>
                <a:gd name="connsiteY10" fmla="*/ 5039004 h 5890437"/>
                <a:gd name="connsiteX11" fmla="*/ 1946341 w 5381929"/>
                <a:gd name="connsiteY11" fmla="*/ 5890437 h 5890437"/>
                <a:gd name="connsiteX12" fmla="*/ 4785234 w 5381929"/>
                <a:gd name="connsiteY12" fmla="*/ 5858540 h 5890437"/>
                <a:gd name="connsiteX13" fmla="*/ 4891560 w 5381929"/>
                <a:gd name="connsiteY13" fmla="*/ 3519377 h 5890437"/>
                <a:gd name="connsiteX14" fmla="*/ 3030862 w 5381929"/>
                <a:gd name="connsiteY14" fmla="*/ 0 h 5890437"/>
                <a:gd name="connsiteX0" fmla="*/ 3030862 w 5381929"/>
                <a:gd name="connsiteY0" fmla="*/ 0 h 5890437"/>
                <a:gd name="connsiteX1" fmla="*/ 872451 w 5381929"/>
                <a:gd name="connsiteY1" fmla="*/ 1057320 h 5890437"/>
                <a:gd name="connsiteX2" fmla="*/ 672918 w 5381929"/>
                <a:gd name="connsiteY2" fmla="*/ 2220272 h 5890437"/>
                <a:gd name="connsiteX3" fmla="*/ 583 w 5381929"/>
                <a:gd name="connsiteY3" fmla="*/ 3051544 h 5890437"/>
                <a:gd name="connsiteX4" fmla="*/ 510946 w 5381929"/>
                <a:gd name="connsiteY4" fmla="*/ 3327991 h 5890437"/>
                <a:gd name="connsiteX5" fmla="*/ 339858 w 5381929"/>
                <a:gd name="connsiteY5" fmla="*/ 3734790 h 5890437"/>
                <a:gd name="connsiteX6" fmla="*/ 531244 w 5381929"/>
                <a:gd name="connsiteY6" fmla="*/ 3870251 h 5890437"/>
                <a:gd name="connsiteX7" fmla="*/ 372722 w 5381929"/>
                <a:gd name="connsiteY7" fmla="*/ 4061637 h 5890437"/>
                <a:gd name="connsiteX8" fmla="*/ 564108 w 5381929"/>
                <a:gd name="connsiteY8" fmla="*/ 4316819 h 5890437"/>
                <a:gd name="connsiteX9" fmla="*/ 500313 w 5381929"/>
                <a:gd name="connsiteY9" fmla="*/ 4976037 h 5890437"/>
                <a:gd name="connsiteX10" fmla="*/ 1754955 w 5381929"/>
                <a:gd name="connsiteY10" fmla="*/ 5039004 h 5890437"/>
                <a:gd name="connsiteX11" fmla="*/ 1946341 w 5381929"/>
                <a:gd name="connsiteY11" fmla="*/ 5890437 h 5890437"/>
                <a:gd name="connsiteX12" fmla="*/ 4785234 w 5381929"/>
                <a:gd name="connsiteY12" fmla="*/ 5858540 h 5890437"/>
                <a:gd name="connsiteX13" fmla="*/ 4891560 w 5381929"/>
                <a:gd name="connsiteY13" fmla="*/ 3519377 h 5890437"/>
                <a:gd name="connsiteX14" fmla="*/ 3030862 w 5381929"/>
                <a:gd name="connsiteY14" fmla="*/ 0 h 5890437"/>
                <a:gd name="connsiteX0" fmla="*/ 3030862 w 5381929"/>
                <a:gd name="connsiteY0" fmla="*/ 0 h 5890437"/>
                <a:gd name="connsiteX1" fmla="*/ 872451 w 5381929"/>
                <a:gd name="connsiteY1" fmla="*/ 1057320 h 5890437"/>
                <a:gd name="connsiteX2" fmla="*/ 672918 w 5381929"/>
                <a:gd name="connsiteY2" fmla="*/ 2220272 h 5890437"/>
                <a:gd name="connsiteX3" fmla="*/ 583 w 5381929"/>
                <a:gd name="connsiteY3" fmla="*/ 3051544 h 5890437"/>
                <a:gd name="connsiteX4" fmla="*/ 510946 w 5381929"/>
                <a:gd name="connsiteY4" fmla="*/ 3327991 h 5890437"/>
                <a:gd name="connsiteX5" fmla="*/ 339858 w 5381929"/>
                <a:gd name="connsiteY5" fmla="*/ 3734790 h 5890437"/>
                <a:gd name="connsiteX6" fmla="*/ 531244 w 5381929"/>
                <a:gd name="connsiteY6" fmla="*/ 3870251 h 5890437"/>
                <a:gd name="connsiteX7" fmla="*/ 372722 w 5381929"/>
                <a:gd name="connsiteY7" fmla="*/ 4061637 h 5890437"/>
                <a:gd name="connsiteX8" fmla="*/ 564108 w 5381929"/>
                <a:gd name="connsiteY8" fmla="*/ 4316819 h 5890437"/>
                <a:gd name="connsiteX9" fmla="*/ 500313 w 5381929"/>
                <a:gd name="connsiteY9" fmla="*/ 4976037 h 5890437"/>
                <a:gd name="connsiteX10" fmla="*/ 1754955 w 5381929"/>
                <a:gd name="connsiteY10" fmla="*/ 5039004 h 5890437"/>
                <a:gd name="connsiteX11" fmla="*/ 1946341 w 5381929"/>
                <a:gd name="connsiteY11" fmla="*/ 5890437 h 5890437"/>
                <a:gd name="connsiteX12" fmla="*/ 4785234 w 5381929"/>
                <a:gd name="connsiteY12" fmla="*/ 5858540 h 5890437"/>
                <a:gd name="connsiteX13" fmla="*/ 4891560 w 5381929"/>
                <a:gd name="connsiteY13" fmla="*/ 3519377 h 5890437"/>
                <a:gd name="connsiteX14" fmla="*/ 3030862 w 5381929"/>
                <a:gd name="connsiteY14" fmla="*/ 0 h 5890437"/>
                <a:gd name="connsiteX0" fmla="*/ 3030862 w 5381929"/>
                <a:gd name="connsiteY0" fmla="*/ 0 h 5890437"/>
                <a:gd name="connsiteX1" fmla="*/ 981633 w 5381929"/>
                <a:gd name="connsiteY1" fmla="*/ 920842 h 5890437"/>
                <a:gd name="connsiteX2" fmla="*/ 672918 w 5381929"/>
                <a:gd name="connsiteY2" fmla="*/ 2220272 h 5890437"/>
                <a:gd name="connsiteX3" fmla="*/ 583 w 5381929"/>
                <a:gd name="connsiteY3" fmla="*/ 3051544 h 5890437"/>
                <a:gd name="connsiteX4" fmla="*/ 510946 w 5381929"/>
                <a:gd name="connsiteY4" fmla="*/ 3327991 h 5890437"/>
                <a:gd name="connsiteX5" fmla="*/ 339858 w 5381929"/>
                <a:gd name="connsiteY5" fmla="*/ 3734790 h 5890437"/>
                <a:gd name="connsiteX6" fmla="*/ 531244 w 5381929"/>
                <a:gd name="connsiteY6" fmla="*/ 3870251 h 5890437"/>
                <a:gd name="connsiteX7" fmla="*/ 372722 w 5381929"/>
                <a:gd name="connsiteY7" fmla="*/ 4061637 h 5890437"/>
                <a:gd name="connsiteX8" fmla="*/ 564108 w 5381929"/>
                <a:gd name="connsiteY8" fmla="*/ 4316819 h 5890437"/>
                <a:gd name="connsiteX9" fmla="*/ 500313 w 5381929"/>
                <a:gd name="connsiteY9" fmla="*/ 4976037 h 5890437"/>
                <a:gd name="connsiteX10" fmla="*/ 1754955 w 5381929"/>
                <a:gd name="connsiteY10" fmla="*/ 5039004 h 5890437"/>
                <a:gd name="connsiteX11" fmla="*/ 1946341 w 5381929"/>
                <a:gd name="connsiteY11" fmla="*/ 5890437 h 5890437"/>
                <a:gd name="connsiteX12" fmla="*/ 4785234 w 5381929"/>
                <a:gd name="connsiteY12" fmla="*/ 5858540 h 5890437"/>
                <a:gd name="connsiteX13" fmla="*/ 4891560 w 5381929"/>
                <a:gd name="connsiteY13" fmla="*/ 3519377 h 5890437"/>
                <a:gd name="connsiteX14" fmla="*/ 3030862 w 5381929"/>
                <a:gd name="connsiteY14" fmla="*/ 0 h 5890437"/>
                <a:gd name="connsiteX0" fmla="*/ 3030862 w 5381929"/>
                <a:gd name="connsiteY0" fmla="*/ 0 h 5890437"/>
                <a:gd name="connsiteX1" fmla="*/ 981633 w 5381929"/>
                <a:gd name="connsiteY1" fmla="*/ 920842 h 5890437"/>
                <a:gd name="connsiteX2" fmla="*/ 672918 w 5381929"/>
                <a:gd name="connsiteY2" fmla="*/ 2220272 h 5890437"/>
                <a:gd name="connsiteX3" fmla="*/ 583 w 5381929"/>
                <a:gd name="connsiteY3" fmla="*/ 3051544 h 5890437"/>
                <a:gd name="connsiteX4" fmla="*/ 510946 w 5381929"/>
                <a:gd name="connsiteY4" fmla="*/ 3327991 h 5890437"/>
                <a:gd name="connsiteX5" fmla="*/ 339858 w 5381929"/>
                <a:gd name="connsiteY5" fmla="*/ 3734790 h 5890437"/>
                <a:gd name="connsiteX6" fmla="*/ 531244 w 5381929"/>
                <a:gd name="connsiteY6" fmla="*/ 3870251 h 5890437"/>
                <a:gd name="connsiteX7" fmla="*/ 372722 w 5381929"/>
                <a:gd name="connsiteY7" fmla="*/ 4061637 h 5890437"/>
                <a:gd name="connsiteX8" fmla="*/ 564108 w 5381929"/>
                <a:gd name="connsiteY8" fmla="*/ 4316819 h 5890437"/>
                <a:gd name="connsiteX9" fmla="*/ 500313 w 5381929"/>
                <a:gd name="connsiteY9" fmla="*/ 4976037 h 5890437"/>
                <a:gd name="connsiteX10" fmla="*/ 1754955 w 5381929"/>
                <a:gd name="connsiteY10" fmla="*/ 5039004 h 5890437"/>
                <a:gd name="connsiteX11" fmla="*/ 1946341 w 5381929"/>
                <a:gd name="connsiteY11" fmla="*/ 5890437 h 5890437"/>
                <a:gd name="connsiteX12" fmla="*/ 4785234 w 5381929"/>
                <a:gd name="connsiteY12" fmla="*/ 5858540 h 5890437"/>
                <a:gd name="connsiteX13" fmla="*/ 4891560 w 5381929"/>
                <a:gd name="connsiteY13" fmla="*/ 3519377 h 5890437"/>
                <a:gd name="connsiteX14" fmla="*/ 3030862 w 5381929"/>
                <a:gd name="connsiteY14" fmla="*/ 0 h 5890437"/>
                <a:gd name="connsiteX0" fmla="*/ 3030862 w 5381929"/>
                <a:gd name="connsiteY0" fmla="*/ 0 h 5890437"/>
                <a:gd name="connsiteX1" fmla="*/ 927042 w 5381929"/>
                <a:gd name="connsiteY1" fmla="*/ 866251 h 5890437"/>
                <a:gd name="connsiteX2" fmla="*/ 672918 w 5381929"/>
                <a:gd name="connsiteY2" fmla="*/ 2220272 h 5890437"/>
                <a:gd name="connsiteX3" fmla="*/ 583 w 5381929"/>
                <a:gd name="connsiteY3" fmla="*/ 3051544 h 5890437"/>
                <a:gd name="connsiteX4" fmla="*/ 510946 w 5381929"/>
                <a:gd name="connsiteY4" fmla="*/ 3327991 h 5890437"/>
                <a:gd name="connsiteX5" fmla="*/ 339858 w 5381929"/>
                <a:gd name="connsiteY5" fmla="*/ 3734790 h 5890437"/>
                <a:gd name="connsiteX6" fmla="*/ 531244 w 5381929"/>
                <a:gd name="connsiteY6" fmla="*/ 3870251 h 5890437"/>
                <a:gd name="connsiteX7" fmla="*/ 372722 w 5381929"/>
                <a:gd name="connsiteY7" fmla="*/ 4061637 h 5890437"/>
                <a:gd name="connsiteX8" fmla="*/ 564108 w 5381929"/>
                <a:gd name="connsiteY8" fmla="*/ 4316819 h 5890437"/>
                <a:gd name="connsiteX9" fmla="*/ 500313 w 5381929"/>
                <a:gd name="connsiteY9" fmla="*/ 4976037 h 5890437"/>
                <a:gd name="connsiteX10" fmla="*/ 1754955 w 5381929"/>
                <a:gd name="connsiteY10" fmla="*/ 5039004 h 5890437"/>
                <a:gd name="connsiteX11" fmla="*/ 1946341 w 5381929"/>
                <a:gd name="connsiteY11" fmla="*/ 5890437 h 5890437"/>
                <a:gd name="connsiteX12" fmla="*/ 4785234 w 5381929"/>
                <a:gd name="connsiteY12" fmla="*/ 5858540 h 5890437"/>
                <a:gd name="connsiteX13" fmla="*/ 4891560 w 5381929"/>
                <a:gd name="connsiteY13" fmla="*/ 3519377 h 5890437"/>
                <a:gd name="connsiteX14" fmla="*/ 3030862 w 5381929"/>
                <a:gd name="connsiteY14" fmla="*/ 0 h 5890437"/>
                <a:gd name="connsiteX0" fmla="*/ 3030862 w 5381929"/>
                <a:gd name="connsiteY0" fmla="*/ 0 h 5890437"/>
                <a:gd name="connsiteX1" fmla="*/ 927042 w 5381929"/>
                <a:gd name="connsiteY1" fmla="*/ 866251 h 5890437"/>
                <a:gd name="connsiteX2" fmla="*/ 672918 w 5381929"/>
                <a:gd name="connsiteY2" fmla="*/ 2220272 h 5890437"/>
                <a:gd name="connsiteX3" fmla="*/ 583 w 5381929"/>
                <a:gd name="connsiteY3" fmla="*/ 3051544 h 5890437"/>
                <a:gd name="connsiteX4" fmla="*/ 510946 w 5381929"/>
                <a:gd name="connsiteY4" fmla="*/ 3327991 h 5890437"/>
                <a:gd name="connsiteX5" fmla="*/ 339858 w 5381929"/>
                <a:gd name="connsiteY5" fmla="*/ 3734790 h 5890437"/>
                <a:gd name="connsiteX6" fmla="*/ 531244 w 5381929"/>
                <a:gd name="connsiteY6" fmla="*/ 3870251 h 5890437"/>
                <a:gd name="connsiteX7" fmla="*/ 372722 w 5381929"/>
                <a:gd name="connsiteY7" fmla="*/ 4061637 h 5890437"/>
                <a:gd name="connsiteX8" fmla="*/ 564108 w 5381929"/>
                <a:gd name="connsiteY8" fmla="*/ 4316819 h 5890437"/>
                <a:gd name="connsiteX9" fmla="*/ 500313 w 5381929"/>
                <a:gd name="connsiteY9" fmla="*/ 4976037 h 5890437"/>
                <a:gd name="connsiteX10" fmla="*/ 1754955 w 5381929"/>
                <a:gd name="connsiteY10" fmla="*/ 5039004 h 5890437"/>
                <a:gd name="connsiteX11" fmla="*/ 1946341 w 5381929"/>
                <a:gd name="connsiteY11" fmla="*/ 5890437 h 5890437"/>
                <a:gd name="connsiteX12" fmla="*/ 4785234 w 5381929"/>
                <a:gd name="connsiteY12" fmla="*/ 5858540 h 5890437"/>
                <a:gd name="connsiteX13" fmla="*/ 4891560 w 5381929"/>
                <a:gd name="connsiteY13" fmla="*/ 3519377 h 5890437"/>
                <a:gd name="connsiteX14" fmla="*/ 3030862 w 5381929"/>
                <a:gd name="connsiteY14" fmla="*/ 0 h 5890437"/>
                <a:gd name="connsiteX0" fmla="*/ 3030862 w 5381929"/>
                <a:gd name="connsiteY0" fmla="*/ 0 h 5890437"/>
                <a:gd name="connsiteX1" fmla="*/ 927042 w 5381929"/>
                <a:gd name="connsiteY1" fmla="*/ 866251 h 5890437"/>
                <a:gd name="connsiteX2" fmla="*/ 672918 w 5381929"/>
                <a:gd name="connsiteY2" fmla="*/ 2220272 h 5890437"/>
                <a:gd name="connsiteX3" fmla="*/ 583 w 5381929"/>
                <a:gd name="connsiteY3" fmla="*/ 3051544 h 5890437"/>
                <a:gd name="connsiteX4" fmla="*/ 510946 w 5381929"/>
                <a:gd name="connsiteY4" fmla="*/ 3327991 h 5890437"/>
                <a:gd name="connsiteX5" fmla="*/ 339858 w 5381929"/>
                <a:gd name="connsiteY5" fmla="*/ 3734790 h 5890437"/>
                <a:gd name="connsiteX6" fmla="*/ 531244 w 5381929"/>
                <a:gd name="connsiteY6" fmla="*/ 3870251 h 5890437"/>
                <a:gd name="connsiteX7" fmla="*/ 372722 w 5381929"/>
                <a:gd name="connsiteY7" fmla="*/ 4061637 h 5890437"/>
                <a:gd name="connsiteX8" fmla="*/ 564108 w 5381929"/>
                <a:gd name="connsiteY8" fmla="*/ 4316819 h 5890437"/>
                <a:gd name="connsiteX9" fmla="*/ 500313 w 5381929"/>
                <a:gd name="connsiteY9" fmla="*/ 4976037 h 5890437"/>
                <a:gd name="connsiteX10" fmla="*/ 1754955 w 5381929"/>
                <a:gd name="connsiteY10" fmla="*/ 5039004 h 5890437"/>
                <a:gd name="connsiteX11" fmla="*/ 1946341 w 5381929"/>
                <a:gd name="connsiteY11" fmla="*/ 5890437 h 5890437"/>
                <a:gd name="connsiteX12" fmla="*/ 4785234 w 5381929"/>
                <a:gd name="connsiteY12" fmla="*/ 5858540 h 5890437"/>
                <a:gd name="connsiteX13" fmla="*/ 4891560 w 5381929"/>
                <a:gd name="connsiteY13" fmla="*/ 3519377 h 5890437"/>
                <a:gd name="connsiteX14" fmla="*/ 3030862 w 5381929"/>
                <a:gd name="connsiteY14" fmla="*/ 0 h 5890437"/>
                <a:gd name="connsiteX0" fmla="*/ 3030862 w 5381929"/>
                <a:gd name="connsiteY0" fmla="*/ 1751 h 5892188"/>
                <a:gd name="connsiteX1" fmla="*/ 927042 w 5381929"/>
                <a:gd name="connsiteY1" fmla="*/ 868002 h 5892188"/>
                <a:gd name="connsiteX2" fmla="*/ 672918 w 5381929"/>
                <a:gd name="connsiteY2" fmla="*/ 2222023 h 5892188"/>
                <a:gd name="connsiteX3" fmla="*/ 583 w 5381929"/>
                <a:gd name="connsiteY3" fmla="*/ 3053295 h 5892188"/>
                <a:gd name="connsiteX4" fmla="*/ 510946 w 5381929"/>
                <a:gd name="connsiteY4" fmla="*/ 3329742 h 5892188"/>
                <a:gd name="connsiteX5" fmla="*/ 339858 w 5381929"/>
                <a:gd name="connsiteY5" fmla="*/ 3736541 h 5892188"/>
                <a:gd name="connsiteX6" fmla="*/ 531244 w 5381929"/>
                <a:gd name="connsiteY6" fmla="*/ 3872002 h 5892188"/>
                <a:gd name="connsiteX7" fmla="*/ 372722 w 5381929"/>
                <a:gd name="connsiteY7" fmla="*/ 4063388 h 5892188"/>
                <a:gd name="connsiteX8" fmla="*/ 564108 w 5381929"/>
                <a:gd name="connsiteY8" fmla="*/ 4318570 h 5892188"/>
                <a:gd name="connsiteX9" fmla="*/ 500313 w 5381929"/>
                <a:gd name="connsiteY9" fmla="*/ 4977788 h 5892188"/>
                <a:gd name="connsiteX10" fmla="*/ 1754955 w 5381929"/>
                <a:gd name="connsiteY10" fmla="*/ 5040755 h 5892188"/>
                <a:gd name="connsiteX11" fmla="*/ 1946341 w 5381929"/>
                <a:gd name="connsiteY11" fmla="*/ 5892188 h 5892188"/>
                <a:gd name="connsiteX12" fmla="*/ 4785234 w 5381929"/>
                <a:gd name="connsiteY12" fmla="*/ 5860291 h 5892188"/>
                <a:gd name="connsiteX13" fmla="*/ 4891560 w 5381929"/>
                <a:gd name="connsiteY13" fmla="*/ 3521128 h 5892188"/>
                <a:gd name="connsiteX14" fmla="*/ 3030862 w 5381929"/>
                <a:gd name="connsiteY14" fmla="*/ 1751 h 5892188"/>
                <a:gd name="connsiteX0" fmla="*/ 3031042 w 5382109"/>
                <a:gd name="connsiteY0" fmla="*/ 1751 h 5892188"/>
                <a:gd name="connsiteX1" fmla="*/ 927222 w 5382109"/>
                <a:gd name="connsiteY1" fmla="*/ 868002 h 5892188"/>
                <a:gd name="connsiteX2" fmla="*/ 577563 w 5382109"/>
                <a:gd name="connsiteY2" fmla="*/ 2303910 h 5892188"/>
                <a:gd name="connsiteX3" fmla="*/ 763 w 5382109"/>
                <a:gd name="connsiteY3" fmla="*/ 3053295 h 5892188"/>
                <a:gd name="connsiteX4" fmla="*/ 511126 w 5382109"/>
                <a:gd name="connsiteY4" fmla="*/ 3329742 h 5892188"/>
                <a:gd name="connsiteX5" fmla="*/ 340038 w 5382109"/>
                <a:gd name="connsiteY5" fmla="*/ 3736541 h 5892188"/>
                <a:gd name="connsiteX6" fmla="*/ 531424 w 5382109"/>
                <a:gd name="connsiteY6" fmla="*/ 3872002 h 5892188"/>
                <a:gd name="connsiteX7" fmla="*/ 372902 w 5382109"/>
                <a:gd name="connsiteY7" fmla="*/ 4063388 h 5892188"/>
                <a:gd name="connsiteX8" fmla="*/ 564288 w 5382109"/>
                <a:gd name="connsiteY8" fmla="*/ 4318570 h 5892188"/>
                <a:gd name="connsiteX9" fmla="*/ 500493 w 5382109"/>
                <a:gd name="connsiteY9" fmla="*/ 4977788 h 5892188"/>
                <a:gd name="connsiteX10" fmla="*/ 1755135 w 5382109"/>
                <a:gd name="connsiteY10" fmla="*/ 5040755 h 5892188"/>
                <a:gd name="connsiteX11" fmla="*/ 1946521 w 5382109"/>
                <a:gd name="connsiteY11" fmla="*/ 5892188 h 5892188"/>
                <a:gd name="connsiteX12" fmla="*/ 4785414 w 5382109"/>
                <a:gd name="connsiteY12" fmla="*/ 5860291 h 5892188"/>
                <a:gd name="connsiteX13" fmla="*/ 4891740 w 5382109"/>
                <a:gd name="connsiteY13" fmla="*/ 3521128 h 5892188"/>
                <a:gd name="connsiteX14" fmla="*/ 3031042 w 5382109"/>
                <a:gd name="connsiteY14" fmla="*/ 1751 h 5892188"/>
                <a:gd name="connsiteX0" fmla="*/ 3031042 w 5382109"/>
                <a:gd name="connsiteY0" fmla="*/ 2101 h 5892538"/>
                <a:gd name="connsiteX1" fmla="*/ 913575 w 5382109"/>
                <a:gd name="connsiteY1" fmla="*/ 827408 h 5892538"/>
                <a:gd name="connsiteX2" fmla="*/ 577563 w 5382109"/>
                <a:gd name="connsiteY2" fmla="*/ 2304260 h 5892538"/>
                <a:gd name="connsiteX3" fmla="*/ 763 w 5382109"/>
                <a:gd name="connsiteY3" fmla="*/ 3053645 h 5892538"/>
                <a:gd name="connsiteX4" fmla="*/ 511126 w 5382109"/>
                <a:gd name="connsiteY4" fmla="*/ 3330092 h 5892538"/>
                <a:gd name="connsiteX5" fmla="*/ 340038 w 5382109"/>
                <a:gd name="connsiteY5" fmla="*/ 3736891 h 5892538"/>
                <a:gd name="connsiteX6" fmla="*/ 531424 w 5382109"/>
                <a:gd name="connsiteY6" fmla="*/ 3872352 h 5892538"/>
                <a:gd name="connsiteX7" fmla="*/ 372902 w 5382109"/>
                <a:gd name="connsiteY7" fmla="*/ 4063738 h 5892538"/>
                <a:gd name="connsiteX8" fmla="*/ 564288 w 5382109"/>
                <a:gd name="connsiteY8" fmla="*/ 4318920 h 5892538"/>
                <a:gd name="connsiteX9" fmla="*/ 500493 w 5382109"/>
                <a:gd name="connsiteY9" fmla="*/ 4978138 h 5892538"/>
                <a:gd name="connsiteX10" fmla="*/ 1755135 w 5382109"/>
                <a:gd name="connsiteY10" fmla="*/ 5041105 h 5892538"/>
                <a:gd name="connsiteX11" fmla="*/ 1946521 w 5382109"/>
                <a:gd name="connsiteY11" fmla="*/ 5892538 h 5892538"/>
                <a:gd name="connsiteX12" fmla="*/ 4785414 w 5382109"/>
                <a:gd name="connsiteY12" fmla="*/ 5860641 h 5892538"/>
                <a:gd name="connsiteX13" fmla="*/ 4891740 w 5382109"/>
                <a:gd name="connsiteY13" fmla="*/ 3521478 h 5892538"/>
                <a:gd name="connsiteX14" fmla="*/ 3031042 w 5382109"/>
                <a:gd name="connsiteY14" fmla="*/ 2101 h 5892538"/>
                <a:gd name="connsiteX0" fmla="*/ 3031042 w 5382109"/>
                <a:gd name="connsiteY0" fmla="*/ 941 h 5891378"/>
                <a:gd name="connsiteX1" fmla="*/ 886280 w 5382109"/>
                <a:gd name="connsiteY1" fmla="*/ 1071908 h 5891378"/>
                <a:gd name="connsiteX2" fmla="*/ 577563 w 5382109"/>
                <a:gd name="connsiteY2" fmla="*/ 2303100 h 5891378"/>
                <a:gd name="connsiteX3" fmla="*/ 763 w 5382109"/>
                <a:gd name="connsiteY3" fmla="*/ 3052485 h 5891378"/>
                <a:gd name="connsiteX4" fmla="*/ 511126 w 5382109"/>
                <a:gd name="connsiteY4" fmla="*/ 3328932 h 5891378"/>
                <a:gd name="connsiteX5" fmla="*/ 340038 w 5382109"/>
                <a:gd name="connsiteY5" fmla="*/ 3735731 h 5891378"/>
                <a:gd name="connsiteX6" fmla="*/ 531424 w 5382109"/>
                <a:gd name="connsiteY6" fmla="*/ 3871192 h 5891378"/>
                <a:gd name="connsiteX7" fmla="*/ 372902 w 5382109"/>
                <a:gd name="connsiteY7" fmla="*/ 4062578 h 5891378"/>
                <a:gd name="connsiteX8" fmla="*/ 564288 w 5382109"/>
                <a:gd name="connsiteY8" fmla="*/ 4317760 h 5891378"/>
                <a:gd name="connsiteX9" fmla="*/ 500493 w 5382109"/>
                <a:gd name="connsiteY9" fmla="*/ 4976978 h 5891378"/>
                <a:gd name="connsiteX10" fmla="*/ 1755135 w 5382109"/>
                <a:gd name="connsiteY10" fmla="*/ 5039945 h 5891378"/>
                <a:gd name="connsiteX11" fmla="*/ 1946521 w 5382109"/>
                <a:gd name="connsiteY11" fmla="*/ 5891378 h 5891378"/>
                <a:gd name="connsiteX12" fmla="*/ 4785414 w 5382109"/>
                <a:gd name="connsiteY12" fmla="*/ 5859481 h 5891378"/>
                <a:gd name="connsiteX13" fmla="*/ 4891740 w 5382109"/>
                <a:gd name="connsiteY13" fmla="*/ 3520318 h 5891378"/>
                <a:gd name="connsiteX14" fmla="*/ 3031042 w 5382109"/>
                <a:gd name="connsiteY14" fmla="*/ 941 h 5891378"/>
                <a:gd name="connsiteX0" fmla="*/ 3031042 w 5382109"/>
                <a:gd name="connsiteY0" fmla="*/ 753 h 5891190"/>
                <a:gd name="connsiteX1" fmla="*/ 886280 w 5382109"/>
                <a:gd name="connsiteY1" fmla="*/ 1071720 h 5891190"/>
                <a:gd name="connsiteX2" fmla="*/ 577563 w 5382109"/>
                <a:gd name="connsiteY2" fmla="*/ 2302912 h 5891190"/>
                <a:gd name="connsiteX3" fmla="*/ 763 w 5382109"/>
                <a:gd name="connsiteY3" fmla="*/ 3052297 h 5891190"/>
                <a:gd name="connsiteX4" fmla="*/ 511126 w 5382109"/>
                <a:gd name="connsiteY4" fmla="*/ 3328744 h 5891190"/>
                <a:gd name="connsiteX5" fmla="*/ 340038 w 5382109"/>
                <a:gd name="connsiteY5" fmla="*/ 3735543 h 5891190"/>
                <a:gd name="connsiteX6" fmla="*/ 531424 w 5382109"/>
                <a:gd name="connsiteY6" fmla="*/ 3871004 h 5891190"/>
                <a:gd name="connsiteX7" fmla="*/ 372902 w 5382109"/>
                <a:gd name="connsiteY7" fmla="*/ 4062390 h 5891190"/>
                <a:gd name="connsiteX8" fmla="*/ 564288 w 5382109"/>
                <a:gd name="connsiteY8" fmla="*/ 4317572 h 5891190"/>
                <a:gd name="connsiteX9" fmla="*/ 500493 w 5382109"/>
                <a:gd name="connsiteY9" fmla="*/ 4976790 h 5891190"/>
                <a:gd name="connsiteX10" fmla="*/ 1755135 w 5382109"/>
                <a:gd name="connsiteY10" fmla="*/ 5039757 h 5891190"/>
                <a:gd name="connsiteX11" fmla="*/ 1946521 w 5382109"/>
                <a:gd name="connsiteY11" fmla="*/ 5891190 h 5891190"/>
                <a:gd name="connsiteX12" fmla="*/ 4785414 w 5382109"/>
                <a:gd name="connsiteY12" fmla="*/ 5859293 h 5891190"/>
                <a:gd name="connsiteX13" fmla="*/ 4891740 w 5382109"/>
                <a:gd name="connsiteY13" fmla="*/ 3520130 h 5891190"/>
                <a:gd name="connsiteX14" fmla="*/ 3031042 w 5382109"/>
                <a:gd name="connsiteY14" fmla="*/ 753 h 5891190"/>
                <a:gd name="connsiteX0" fmla="*/ 3031042 w 5382109"/>
                <a:gd name="connsiteY0" fmla="*/ 753 h 5891190"/>
                <a:gd name="connsiteX1" fmla="*/ 886280 w 5382109"/>
                <a:gd name="connsiteY1" fmla="*/ 1071720 h 5891190"/>
                <a:gd name="connsiteX2" fmla="*/ 577563 w 5382109"/>
                <a:gd name="connsiteY2" fmla="*/ 2302912 h 5891190"/>
                <a:gd name="connsiteX3" fmla="*/ 763 w 5382109"/>
                <a:gd name="connsiteY3" fmla="*/ 3052297 h 5891190"/>
                <a:gd name="connsiteX4" fmla="*/ 511126 w 5382109"/>
                <a:gd name="connsiteY4" fmla="*/ 3328744 h 5891190"/>
                <a:gd name="connsiteX5" fmla="*/ 340038 w 5382109"/>
                <a:gd name="connsiteY5" fmla="*/ 3735543 h 5891190"/>
                <a:gd name="connsiteX6" fmla="*/ 531424 w 5382109"/>
                <a:gd name="connsiteY6" fmla="*/ 3871004 h 5891190"/>
                <a:gd name="connsiteX7" fmla="*/ 372902 w 5382109"/>
                <a:gd name="connsiteY7" fmla="*/ 4062390 h 5891190"/>
                <a:gd name="connsiteX8" fmla="*/ 564288 w 5382109"/>
                <a:gd name="connsiteY8" fmla="*/ 4317572 h 5891190"/>
                <a:gd name="connsiteX9" fmla="*/ 500493 w 5382109"/>
                <a:gd name="connsiteY9" fmla="*/ 4976790 h 5891190"/>
                <a:gd name="connsiteX10" fmla="*/ 1755135 w 5382109"/>
                <a:gd name="connsiteY10" fmla="*/ 5039757 h 5891190"/>
                <a:gd name="connsiteX11" fmla="*/ 1946521 w 5382109"/>
                <a:gd name="connsiteY11" fmla="*/ 5891190 h 5891190"/>
                <a:gd name="connsiteX12" fmla="*/ 4785414 w 5382109"/>
                <a:gd name="connsiteY12" fmla="*/ 5859293 h 5891190"/>
                <a:gd name="connsiteX13" fmla="*/ 4891740 w 5382109"/>
                <a:gd name="connsiteY13" fmla="*/ 3520130 h 5891190"/>
                <a:gd name="connsiteX14" fmla="*/ 3031042 w 5382109"/>
                <a:gd name="connsiteY14" fmla="*/ 753 h 5891190"/>
                <a:gd name="connsiteX0" fmla="*/ 3031042 w 5382109"/>
                <a:gd name="connsiteY0" fmla="*/ 792 h 5891229"/>
                <a:gd name="connsiteX1" fmla="*/ 777098 w 5382109"/>
                <a:gd name="connsiteY1" fmla="*/ 1044464 h 5891229"/>
                <a:gd name="connsiteX2" fmla="*/ 577563 w 5382109"/>
                <a:gd name="connsiteY2" fmla="*/ 2302951 h 5891229"/>
                <a:gd name="connsiteX3" fmla="*/ 763 w 5382109"/>
                <a:gd name="connsiteY3" fmla="*/ 3052336 h 5891229"/>
                <a:gd name="connsiteX4" fmla="*/ 511126 w 5382109"/>
                <a:gd name="connsiteY4" fmla="*/ 3328783 h 5891229"/>
                <a:gd name="connsiteX5" fmla="*/ 340038 w 5382109"/>
                <a:gd name="connsiteY5" fmla="*/ 3735582 h 5891229"/>
                <a:gd name="connsiteX6" fmla="*/ 531424 w 5382109"/>
                <a:gd name="connsiteY6" fmla="*/ 3871043 h 5891229"/>
                <a:gd name="connsiteX7" fmla="*/ 372902 w 5382109"/>
                <a:gd name="connsiteY7" fmla="*/ 4062429 h 5891229"/>
                <a:gd name="connsiteX8" fmla="*/ 564288 w 5382109"/>
                <a:gd name="connsiteY8" fmla="*/ 4317611 h 5891229"/>
                <a:gd name="connsiteX9" fmla="*/ 500493 w 5382109"/>
                <a:gd name="connsiteY9" fmla="*/ 4976829 h 5891229"/>
                <a:gd name="connsiteX10" fmla="*/ 1755135 w 5382109"/>
                <a:gd name="connsiteY10" fmla="*/ 5039796 h 5891229"/>
                <a:gd name="connsiteX11" fmla="*/ 1946521 w 5382109"/>
                <a:gd name="connsiteY11" fmla="*/ 5891229 h 5891229"/>
                <a:gd name="connsiteX12" fmla="*/ 4785414 w 5382109"/>
                <a:gd name="connsiteY12" fmla="*/ 5859332 h 5891229"/>
                <a:gd name="connsiteX13" fmla="*/ 4891740 w 5382109"/>
                <a:gd name="connsiteY13" fmla="*/ 3520169 h 5891229"/>
                <a:gd name="connsiteX14" fmla="*/ 3031042 w 5382109"/>
                <a:gd name="connsiteY14" fmla="*/ 792 h 5891229"/>
                <a:gd name="connsiteX0" fmla="*/ 3031042 w 5382109"/>
                <a:gd name="connsiteY0" fmla="*/ 792 h 5891229"/>
                <a:gd name="connsiteX1" fmla="*/ 777098 w 5382109"/>
                <a:gd name="connsiteY1" fmla="*/ 1044464 h 5891229"/>
                <a:gd name="connsiteX2" fmla="*/ 577563 w 5382109"/>
                <a:gd name="connsiteY2" fmla="*/ 2302951 h 5891229"/>
                <a:gd name="connsiteX3" fmla="*/ 763 w 5382109"/>
                <a:gd name="connsiteY3" fmla="*/ 3052336 h 5891229"/>
                <a:gd name="connsiteX4" fmla="*/ 511126 w 5382109"/>
                <a:gd name="connsiteY4" fmla="*/ 3328783 h 5891229"/>
                <a:gd name="connsiteX5" fmla="*/ 340038 w 5382109"/>
                <a:gd name="connsiteY5" fmla="*/ 3735582 h 5891229"/>
                <a:gd name="connsiteX6" fmla="*/ 531424 w 5382109"/>
                <a:gd name="connsiteY6" fmla="*/ 3871043 h 5891229"/>
                <a:gd name="connsiteX7" fmla="*/ 372902 w 5382109"/>
                <a:gd name="connsiteY7" fmla="*/ 4062429 h 5891229"/>
                <a:gd name="connsiteX8" fmla="*/ 564288 w 5382109"/>
                <a:gd name="connsiteY8" fmla="*/ 4317611 h 5891229"/>
                <a:gd name="connsiteX9" fmla="*/ 500493 w 5382109"/>
                <a:gd name="connsiteY9" fmla="*/ 4976829 h 5891229"/>
                <a:gd name="connsiteX10" fmla="*/ 1755135 w 5382109"/>
                <a:gd name="connsiteY10" fmla="*/ 5039796 h 5891229"/>
                <a:gd name="connsiteX11" fmla="*/ 1946521 w 5382109"/>
                <a:gd name="connsiteY11" fmla="*/ 5891229 h 5891229"/>
                <a:gd name="connsiteX12" fmla="*/ 4785414 w 5382109"/>
                <a:gd name="connsiteY12" fmla="*/ 5859332 h 5891229"/>
                <a:gd name="connsiteX13" fmla="*/ 4891740 w 5382109"/>
                <a:gd name="connsiteY13" fmla="*/ 3520169 h 5891229"/>
                <a:gd name="connsiteX14" fmla="*/ 3031042 w 5382109"/>
                <a:gd name="connsiteY14" fmla="*/ 792 h 5891229"/>
                <a:gd name="connsiteX0" fmla="*/ 3031042 w 5382109"/>
                <a:gd name="connsiteY0" fmla="*/ 792 h 5891229"/>
                <a:gd name="connsiteX1" fmla="*/ 777098 w 5382109"/>
                <a:gd name="connsiteY1" fmla="*/ 1044464 h 5891229"/>
                <a:gd name="connsiteX2" fmla="*/ 577563 w 5382109"/>
                <a:gd name="connsiteY2" fmla="*/ 2302951 h 5891229"/>
                <a:gd name="connsiteX3" fmla="*/ 763 w 5382109"/>
                <a:gd name="connsiteY3" fmla="*/ 3052336 h 5891229"/>
                <a:gd name="connsiteX4" fmla="*/ 511126 w 5382109"/>
                <a:gd name="connsiteY4" fmla="*/ 3328783 h 5891229"/>
                <a:gd name="connsiteX5" fmla="*/ 340038 w 5382109"/>
                <a:gd name="connsiteY5" fmla="*/ 3735582 h 5891229"/>
                <a:gd name="connsiteX6" fmla="*/ 531424 w 5382109"/>
                <a:gd name="connsiteY6" fmla="*/ 3871043 h 5891229"/>
                <a:gd name="connsiteX7" fmla="*/ 372902 w 5382109"/>
                <a:gd name="connsiteY7" fmla="*/ 4062429 h 5891229"/>
                <a:gd name="connsiteX8" fmla="*/ 564288 w 5382109"/>
                <a:gd name="connsiteY8" fmla="*/ 4317611 h 5891229"/>
                <a:gd name="connsiteX9" fmla="*/ 500493 w 5382109"/>
                <a:gd name="connsiteY9" fmla="*/ 4976829 h 5891229"/>
                <a:gd name="connsiteX10" fmla="*/ 1755135 w 5382109"/>
                <a:gd name="connsiteY10" fmla="*/ 5039796 h 5891229"/>
                <a:gd name="connsiteX11" fmla="*/ 1946521 w 5382109"/>
                <a:gd name="connsiteY11" fmla="*/ 5891229 h 5891229"/>
                <a:gd name="connsiteX12" fmla="*/ 4785414 w 5382109"/>
                <a:gd name="connsiteY12" fmla="*/ 5859332 h 5891229"/>
                <a:gd name="connsiteX13" fmla="*/ 4891740 w 5382109"/>
                <a:gd name="connsiteY13" fmla="*/ 3520169 h 5891229"/>
                <a:gd name="connsiteX14" fmla="*/ 3031042 w 5382109"/>
                <a:gd name="connsiteY14" fmla="*/ 792 h 5891229"/>
                <a:gd name="connsiteX0" fmla="*/ 3031042 w 5382109"/>
                <a:gd name="connsiteY0" fmla="*/ 627 h 5891064"/>
                <a:gd name="connsiteX1" fmla="*/ 777098 w 5382109"/>
                <a:gd name="connsiteY1" fmla="*/ 1180776 h 5891064"/>
                <a:gd name="connsiteX2" fmla="*/ 577563 w 5382109"/>
                <a:gd name="connsiteY2" fmla="*/ 2302786 h 5891064"/>
                <a:gd name="connsiteX3" fmla="*/ 763 w 5382109"/>
                <a:gd name="connsiteY3" fmla="*/ 3052171 h 5891064"/>
                <a:gd name="connsiteX4" fmla="*/ 511126 w 5382109"/>
                <a:gd name="connsiteY4" fmla="*/ 3328618 h 5891064"/>
                <a:gd name="connsiteX5" fmla="*/ 340038 w 5382109"/>
                <a:gd name="connsiteY5" fmla="*/ 3735417 h 5891064"/>
                <a:gd name="connsiteX6" fmla="*/ 531424 w 5382109"/>
                <a:gd name="connsiteY6" fmla="*/ 3870878 h 5891064"/>
                <a:gd name="connsiteX7" fmla="*/ 372902 w 5382109"/>
                <a:gd name="connsiteY7" fmla="*/ 4062264 h 5891064"/>
                <a:gd name="connsiteX8" fmla="*/ 564288 w 5382109"/>
                <a:gd name="connsiteY8" fmla="*/ 4317446 h 5891064"/>
                <a:gd name="connsiteX9" fmla="*/ 500493 w 5382109"/>
                <a:gd name="connsiteY9" fmla="*/ 4976664 h 5891064"/>
                <a:gd name="connsiteX10" fmla="*/ 1755135 w 5382109"/>
                <a:gd name="connsiteY10" fmla="*/ 5039631 h 5891064"/>
                <a:gd name="connsiteX11" fmla="*/ 1946521 w 5382109"/>
                <a:gd name="connsiteY11" fmla="*/ 5891064 h 5891064"/>
                <a:gd name="connsiteX12" fmla="*/ 4785414 w 5382109"/>
                <a:gd name="connsiteY12" fmla="*/ 5859167 h 5891064"/>
                <a:gd name="connsiteX13" fmla="*/ 4891740 w 5382109"/>
                <a:gd name="connsiteY13" fmla="*/ 3520004 h 5891064"/>
                <a:gd name="connsiteX14" fmla="*/ 3031042 w 5382109"/>
                <a:gd name="connsiteY14" fmla="*/ 627 h 5891064"/>
                <a:gd name="connsiteX0" fmla="*/ 3031042 w 5382109"/>
                <a:gd name="connsiteY0" fmla="*/ 968 h 5891405"/>
                <a:gd name="connsiteX1" fmla="*/ 777098 w 5382109"/>
                <a:gd name="connsiteY1" fmla="*/ 1181117 h 5891405"/>
                <a:gd name="connsiteX2" fmla="*/ 577563 w 5382109"/>
                <a:gd name="connsiteY2" fmla="*/ 2303127 h 5891405"/>
                <a:gd name="connsiteX3" fmla="*/ 763 w 5382109"/>
                <a:gd name="connsiteY3" fmla="*/ 3052512 h 5891405"/>
                <a:gd name="connsiteX4" fmla="*/ 511126 w 5382109"/>
                <a:gd name="connsiteY4" fmla="*/ 3328959 h 5891405"/>
                <a:gd name="connsiteX5" fmla="*/ 340038 w 5382109"/>
                <a:gd name="connsiteY5" fmla="*/ 3735758 h 5891405"/>
                <a:gd name="connsiteX6" fmla="*/ 531424 w 5382109"/>
                <a:gd name="connsiteY6" fmla="*/ 3871219 h 5891405"/>
                <a:gd name="connsiteX7" fmla="*/ 372902 w 5382109"/>
                <a:gd name="connsiteY7" fmla="*/ 4062605 h 5891405"/>
                <a:gd name="connsiteX8" fmla="*/ 564288 w 5382109"/>
                <a:gd name="connsiteY8" fmla="*/ 4317787 h 5891405"/>
                <a:gd name="connsiteX9" fmla="*/ 500493 w 5382109"/>
                <a:gd name="connsiteY9" fmla="*/ 4977005 h 5891405"/>
                <a:gd name="connsiteX10" fmla="*/ 1755135 w 5382109"/>
                <a:gd name="connsiteY10" fmla="*/ 5039972 h 5891405"/>
                <a:gd name="connsiteX11" fmla="*/ 1946521 w 5382109"/>
                <a:gd name="connsiteY11" fmla="*/ 5891405 h 5891405"/>
                <a:gd name="connsiteX12" fmla="*/ 4785414 w 5382109"/>
                <a:gd name="connsiteY12" fmla="*/ 5859508 h 5891405"/>
                <a:gd name="connsiteX13" fmla="*/ 4891740 w 5382109"/>
                <a:gd name="connsiteY13" fmla="*/ 3520345 h 5891405"/>
                <a:gd name="connsiteX14" fmla="*/ 3031042 w 5382109"/>
                <a:gd name="connsiteY14" fmla="*/ 968 h 5891405"/>
                <a:gd name="connsiteX0" fmla="*/ 3031042 w 5382109"/>
                <a:gd name="connsiteY0" fmla="*/ 968 h 5891405"/>
                <a:gd name="connsiteX1" fmla="*/ 777098 w 5382109"/>
                <a:gd name="connsiteY1" fmla="*/ 1181117 h 5891405"/>
                <a:gd name="connsiteX2" fmla="*/ 577563 w 5382109"/>
                <a:gd name="connsiteY2" fmla="*/ 2303127 h 5891405"/>
                <a:gd name="connsiteX3" fmla="*/ 763 w 5382109"/>
                <a:gd name="connsiteY3" fmla="*/ 3052512 h 5891405"/>
                <a:gd name="connsiteX4" fmla="*/ 511126 w 5382109"/>
                <a:gd name="connsiteY4" fmla="*/ 3328959 h 5891405"/>
                <a:gd name="connsiteX5" fmla="*/ 340038 w 5382109"/>
                <a:gd name="connsiteY5" fmla="*/ 3735758 h 5891405"/>
                <a:gd name="connsiteX6" fmla="*/ 531424 w 5382109"/>
                <a:gd name="connsiteY6" fmla="*/ 3871219 h 5891405"/>
                <a:gd name="connsiteX7" fmla="*/ 372902 w 5382109"/>
                <a:gd name="connsiteY7" fmla="*/ 4062605 h 5891405"/>
                <a:gd name="connsiteX8" fmla="*/ 564288 w 5382109"/>
                <a:gd name="connsiteY8" fmla="*/ 4317787 h 5891405"/>
                <a:gd name="connsiteX9" fmla="*/ 500493 w 5382109"/>
                <a:gd name="connsiteY9" fmla="*/ 4977005 h 5891405"/>
                <a:gd name="connsiteX10" fmla="*/ 1755135 w 5382109"/>
                <a:gd name="connsiteY10" fmla="*/ 5039972 h 5891405"/>
                <a:gd name="connsiteX11" fmla="*/ 1946521 w 5382109"/>
                <a:gd name="connsiteY11" fmla="*/ 5891405 h 5891405"/>
                <a:gd name="connsiteX12" fmla="*/ 4785414 w 5382109"/>
                <a:gd name="connsiteY12" fmla="*/ 5859508 h 5891405"/>
                <a:gd name="connsiteX13" fmla="*/ 4891740 w 5382109"/>
                <a:gd name="connsiteY13" fmla="*/ 3520345 h 5891405"/>
                <a:gd name="connsiteX14" fmla="*/ 3031042 w 5382109"/>
                <a:gd name="connsiteY14" fmla="*/ 968 h 5891405"/>
                <a:gd name="connsiteX0" fmla="*/ 3031204 w 5382271"/>
                <a:gd name="connsiteY0" fmla="*/ 968 h 5891405"/>
                <a:gd name="connsiteX1" fmla="*/ 777260 w 5382271"/>
                <a:gd name="connsiteY1" fmla="*/ 1181117 h 5891405"/>
                <a:gd name="connsiteX2" fmla="*/ 523134 w 5382271"/>
                <a:gd name="connsiteY2" fmla="*/ 2303127 h 5891405"/>
                <a:gd name="connsiteX3" fmla="*/ 925 w 5382271"/>
                <a:gd name="connsiteY3" fmla="*/ 3052512 h 5891405"/>
                <a:gd name="connsiteX4" fmla="*/ 511288 w 5382271"/>
                <a:gd name="connsiteY4" fmla="*/ 3328959 h 5891405"/>
                <a:gd name="connsiteX5" fmla="*/ 340200 w 5382271"/>
                <a:gd name="connsiteY5" fmla="*/ 3735758 h 5891405"/>
                <a:gd name="connsiteX6" fmla="*/ 531586 w 5382271"/>
                <a:gd name="connsiteY6" fmla="*/ 3871219 h 5891405"/>
                <a:gd name="connsiteX7" fmla="*/ 373064 w 5382271"/>
                <a:gd name="connsiteY7" fmla="*/ 4062605 h 5891405"/>
                <a:gd name="connsiteX8" fmla="*/ 564450 w 5382271"/>
                <a:gd name="connsiteY8" fmla="*/ 4317787 h 5891405"/>
                <a:gd name="connsiteX9" fmla="*/ 500655 w 5382271"/>
                <a:gd name="connsiteY9" fmla="*/ 4977005 h 5891405"/>
                <a:gd name="connsiteX10" fmla="*/ 1755297 w 5382271"/>
                <a:gd name="connsiteY10" fmla="*/ 5039972 h 5891405"/>
                <a:gd name="connsiteX11" fmla="*/ 1946683 w 5382271"/>
                <a:gd name="connsiteY11" fmla="*/ 5891405 h 5891405"/>
                <a:gd name="connsiteX12" fmla="*/ 4785576 w 5382271"/>
                <a:gd name="connsiteY12" fmla="*/ 5859508 h 5891405"/>
                <a:gd name="connsiteX13" fmla="*/ 4891902 w 5382271"/>
                <a:gd name="connsiteY13" fmla="*/ 3520345 h 5891405"/>
                <a:gd name="connsiteX14" fmla="*/ 3031204 w 5382271"/>
                <a:gd name="connsiteY14" fmla="*/ 968 h 5891405"/>
                <a:gd name="connsiteX0" fmla="*/ 3031204 w 5382271"/>
                <a:gd name="connsiteY0" fmla="*/ 968 h 5891405"/>
                <a:gd name="connsiteX1" fmla="*/ 777260 w 5382271"/>
                <a:gd name="connsiteY1" fmla="*/ 1181117 h 5891405"/>
                <a:gd name="connsiteX2" fmla="*/ 523134 w 5382271"/>
                <a:gd name="connsiteY2" fmla="*/ 2303127 h 5891405"/>
                <a:gd name="connsiteX3" fmla="*/ 925 w 5382271"/>
                <a:gd name="connsiteY3" fmla="*/ 3052512 h 5891405"/>
                <a:gd name="connsiteX4" fmla="*/ 511288 w 5382271"/>
                <a:gd name="connsiteY4" fmla="*/ 3328959 h 5891405"/>
                <a:gd name="connsiteX5" fmla="*/ 340200 w 5382271"/>
                <a:gd name="connsiteY5" fmla="*/ 3735758 h 5891405"/>
                <a:gd name="connsiteX6" fmla="*/ 531586 w 5382271"/>
                <a:gd name="connsiteY6" fmla="*/ 3871219 h 5891405"/>
                <a:gd name="connsiteX7" fmla="*/ 373064 w 5382271"/>
                <a:gd name="connsiteY7" fmla="*/ 4062605 h 5891405"/>
                <a:gd name="connsiteX8" fmla="*/ 564450 w 5382271"/>
                <a:gd name="connsiteY8" fmla="*/ 4317787 h 5891405"/>
                <a:gd name="connsiteX9" fmla="*/ 500655 w 5382271"/>
                <a:gd name="connsiteY9" fmla="*/ 4977005 h 5891405"/>
                <a:gd name="connsiteX10" fmla="*/ 1755297 w 5382271"/>
                <a:gd name="connsiteY10" fmla="*/ 5039972 h 5891405"/>
                <a:gd name="connsiteX11" fmla="*/ 1946683 w 5382271"/>
                <a:gd name="connsiteY11" fmla="*/ 5891405 h 5891405"/>
                <a:gd name="connsiteX12" fmla="*/ 4785576 w 5382271"/>
                <a:gd name="connsiteY12" fmla="*/ 5859508 h 5891405"/>
                <a:gd name="connsiteX13" fmla="*/ 4891902 w 5382271"/>
                <a:gd name="connsiteY13" fmla="*/ 3520345 h 5891405"/>
                <a:gd name="connsiteX14" fmla="*/ 3031204 w 5382271"/>
                <a:gd name="connsiteY14" fmla="*/ 968 h 5891405"/>
                <a:gd name="connsiteX0" fmla="*/ 3031204 w 5382271"/>
                <a:gd name="connsiteY0" fmla="*/ 968 h 5891405"/>
                <a:gd name="connsiteX1" fmla="*/ 777260 w 5382271"/>
                <a:gd name="connsiteY1" fmla="*/ 1181117 h 5891405"/>
                <a:gd name="connsiteX2" fmla="*/ 523134 w 5382271"/>
                <a:gd name="connsiteY2" fmla="*/ 2303127 h 5891405"/>
                <a:gd name="connsiteX3" fmla="*/ 925 w 5382271"/>
                <a:gd name="connsiteY3" fmla="*/ 3052512 h 5891405"/>
                <a:gd name="connsiteX4" fmla="*/ 511288 w 5382271"/>
                <a:gd name="connsiteY4" fmla="*/ 3328959 h 5891405"/>
                <a:gd name="connsiteX5" fmla="*/ 340200 w 5382271"/>
                <a:gd name="connsiteY5" fmla="*/ 3735758 h 5891405"/>
                <a:gd name="connsiteX6" fmla="*/ 531586 w 5382271"/>
                <a:gd name="connsiteY6" fmla="*/ 3871219 h 5891405"/>
                <a:gd name="connsiteX7" fmla="*/ 373064 w 5382271"/>
                <a:gd name="connsiteY7" fmla="*/ 4062605 h 5891405"/>
                <a:gd name="connsiteX8" fmla="*/ 564450 w 5382271"/>
                <a:gd name="connsiteY8" fmla="*/ 4317787 h 5891405"/>
                <a:gd name="connsiteX9" fmla="*/ 500655 w 5382271"/>
                <a:gd name="connsiteY9" fmla="*/ 4977005 h 5891405"/>
                <a:gd name="connsiteX10" fmla="*/ 1755297 w 5382271"/>
                <a:gd name="connsiteY10" fmla="*/ 5039972 h 5891405"/>
                <a:gd name="connsiteX11" fmla="*/ 1946683 w 5382271"/>
                <a:gd name="connsiteY11" fmla="*/ 5891405 h 5891405"/>
                <a:gd name="connsiteX12" fmla="*/ 4785576 w 5382271"/>
                <a:gd name="connsiteY12" fmla="*/ 5859508 h 5891405"/>
                <a:gd name="connsiteX13" fmla="*/ 4891902 w 5382271"/>
                <a:gd name="connsiteY13" fmla="*/ 3520345 h 5891405"/>
                <a:gd name="connsiteX14" fmla="*/ 3031204 w 5382271"/>
                <a:gd name="connsiteY14" fmla="*/ 968 h 5891405"/>
                <a:gd name="connsiteX0" fmla="*/ 3038119 w 5389186"/>
                <a:gd name="connsiteY0" fmla="*/ 968 h 5891405"/>
                <a:gd name="connsiteX1" fmla="*/ 784175 w 5389186"/>
                <a:gd name="connsiteY1" fmla="*/ 1181117 h 5891405"/>
                <a:gd name="connsiteX2" fmla="*/ 530049 w 5389186"/>
                <a:gd name="connsiteY2" fmla="*/ 2303127 h 5891405"/>
                <a:gd name="connsiteX3" fmla="*/ 7840 w 5389186"/>
                <a:gd name="connsiteY3" fmla="*/ 3052512 h 5891405"/>
                <a:gd name="connsiteX4" fmla="*/ 518203 w 5389186"/>
                <a:gd name="connsiteY4" fmla="*/ 3328959 h 5891405"/>
                <a:gd name="connsiteX5" fmla="*/ 347115 w 5389186"/>
                <a:gd name="connsiteY5" fmla="*/ 3735758 h 5891405"/>
                <a:gd name="connsiteX6" fmla="*/ 538501 w 5389186"/>
                <a:gd name="connsiteY6" fmla="*/ 3871219 h 5891405"/>
                <a:gd name="connsiteX7" fmla="*/ 379979 w 5389186"/>
                <a:gd name="connsiteY7" fmla="*/ 4062605 h 5891405"/>
                <a:gd name="connsiteX8" fmla="*/ 571365 w 5389186"/>
                <a:gd name="connsiteY8" fmla="*/ 4317787 h 5891405"/>
                <a:gd name="connsiteX9" fmla="*/ 507570 w 5389186"/>
                <a:gd name="connsiteY9" fmla="*/ 4977005 h 5891405"/>
                <a:gd name="connsiteX10" fmla="*/ 1762212 w 5389186"/>
                <a:gd name="connsiteY10" fmla="*/ 5039972 h 5891405"/>
                <a:gd name="connsiteX11" fmla="*/ 1953598 w 5389186"/>
                <a:gd name="connsiteY11" fmla="*/ 5891405 h 5891405"/>
                <a:gd name="connsiteX12" fmla="*/ 4792491 w 5389186"/>
                <a:gd name="connsiteY12" fmla="*/ 5859508 h 5891405"/>
                <a:gd name="connsiteX13" fmla="*/ 4898817 w 5389186"/>
                <a:gd name="connsiteY13" fmla="*/ 3520345 h 5891405"/>
                <a:gd name="connsiteX14" fmla="*/ 3038119 w 5389186"/>
                <a:gd name="connsiteY14" fmla="*/ 968 h 5891405"/>
                <a:gd name="connsiteX0" fmla="*/ 3037057 w 5388124"/>
                <a:gd name="connsiteY0" fmla="*/ 968 h 5891405"/>
                <a:gd name="connsiteX1" fmla="*/ 783113 w 5388124"/>
                <a:gd name="connsiteY1" fmla="*/ 1181117 h 5891405"/>
                <a:gd name="connsiteX2" fmla="*/ 528987 w 5388124"/>
                <a:gd name="connsiteY2" fmla="*/ 2303127 h 5891405"/>
                <a:gd name="connsiteX3" fmla="*/ 6778 w 5388124"/>
                <a:gd name="connsiteY3" fmla="*/ 3052512 h 5891405"/>
                <a:gd name="connsiteX4" fmla="*/ 517141 w 5388124"/>
                <a:gd name="connsiteY4" fmla="*/ 3328959 h 5891405"/>
                <a:gd name="connsiteX5" fmla="*/ 346053 w 5388124"/>
                <a:gd name="connsiteY5" fmla="*/ 3735758 h 5891405"/>
                <a:gd name="connsiteX6" fmla="*/ 537439 w 5388124"/>
                <a:gd name="connsiteY6" fmla="*/ 3871219 h 5891405"/>
                <a:gd name="connsiteX7" fmla="*/ 378917 w 5388124"/>
                <a:gd name="connsiteY7" fmla="*/ 4062605 h 5891405"/>
                <a:gd name="connsiteX8" fmla="*/ 570303 w 5388124"/>
                <a:gd name="connsiteY8" fmla="*/ 4317787 h 5891405"/>
                <a:gd name="connsiteX9" fmla="*/ 506508 w 5388124"/>
                <a:gd name="connsiteY9" fmla="*/ 4977005 h 5891405"/>
                <a:gd name="connsiteX10" fmla="*/ 1761150 w 5388124"/>
                <a:gd name="connsiteY10" fmla="*/ 5039972 h 5891405"/>
                <a:gd name="connsiteX11" fmla="*/ 1952536 w 5388124"/>
                <a:gd name="connsiteY11" fmla="*/ 5891405 h 5891405"/>
                <a:gd name="connsiteX12" fmla="*/ 4791429 w 5388124"/>
                <a:gd name="connsiteY12" fmla="*/ 5859508 h 5891405"/>
                <a:gd name="connsiteX13" fmla="*/ 4897755 w 5388124"/>
                <a:gd name="connsiteY13" fmla="*/ 3520345 h 5891405"/>
                <a:gd name="connsiteX14" fmla="*/ 3037057 w 5388124"/>
                <a:gd name="connsiteY14" fmla="*/ 968 h 5891405"/>
                <a:gd name="connsiteX0" fmla="*/ 3034541 w 5385608"/>
                <a:gd name="connsiteY0" fmla="*/ 968 h 5891405"/>
                <a:gd name="connsiteX1" fmla="*/ 780597 w 5385608"/>
                <a:gd name="connsiteY1" fmla="*/ 1181117 h 5891405"/>
                <a:gd name="connsiteX2" fmla="*/ 526471 w 5385608"/>
                <a:gd name="connsiteY2" fmla="*/ 2303127 h 5891405"/>
                <a:gd name="connsiteX3" fmla="*/ 4262 w 5385608"/>
                <a:gd name="connsiteY3" fmla="*/ 3052512 h 5891405"/>
                <a:gd name="connsiteX4" fmla="*/ 514625 w 5385608"/>
                <a:gd name="connsiteY4" fmla="*/ 3328959 h 5891405"/>
                <a:gd name="connsiteX5" fmla="*/ 343537 w 5385608"/>
                <a:gd name="connsiteY5" fmla="*/ 3735758 h 5891405"/>
                <a:gd name="connsiteX6" fmla="*/ 534923 w 5385608"/>
                <a:gd name="connsiteY6" fmla="*/ 3871219 h 5891405"/>
                <a:gd name="connsiteX7" fmla="*/ 376401 w 5385608"/>
                <a:gd name="connsiteY7" fmla="*/ 4062605 h 5891405"/>
                <a:gd name="connsiteX8" fmla="*/ 567787 w 5385608"/>
                <a:gd name="connsiteY8" fmla="*/ 4317787 h 5891405"/>
                <a:gd name="connsiteX9" fmla="*/ 503992 w 5385608"/>
                <a:gd name="connsiteY9" fmla="*/ 4977005 h 5891405"/>
                <a:gd name="connsiteX10" fmla="*/ 1758634 w 5385608"/>
                <a:gd name="connsiteY10" fmla="*/ 5039972 h 5891405"/>
                <a:gd name="connsiteX11" fmla="*/ 1950020 w 5385608"/>
                <a:gd name="connsiteY11" fmla="*/ 5891405 h 5891405"/>
                <a:gd name="connsiteX12" fmla="*/ 4788913 w 5385608"/>
                <a:gd name="connsiteY12" fmla="*/ 5859508 h 5891405"/>
                <a:gd name="connsiteX13" fmla="*/ 4895239 w 5385608"/>
                <a:gd name="connsiteY13" fmla="*/ 3520345 h 5891405"/>
                <a:gd name="connsiteX14" fmla="*/ 3034541 w 5385608"/>
                <a:gd name="connsiteY14" fmla="*/ 968 h 5891405"/>
                <a:gd name="connsiteX0" fmla="*/ 3034541 w 5385608"/>
                <a:gd name="connsiteY0" fmla="*/ 968 h 5891405"/>
                <a:gd name="connsiteX1" fmla="*/ 780597 w 5385608"/>
                <a:gd name="connsiteY1" fmla="*/ 1181117 h 5891405"/>
                <a:gd name="connsiteX2" fmla="*/ 526471 w 5385608"/>
                <a:gd name="connsiteY2" fmla="*/ 2303127 h 5891405"/>
                <a:gd name="connsiteX3" fmla="*/ 4262 w 5385608"/>
                <a:gd name="connsiteY3" fmla="*/ 3052512 h 5891405"/>
                <a:gd name="connsiteX4" fmla="*/ 514625 w 5385608"/>
                <a:gd name="connsiteY4" fmla="*/ 3328959 h 5891405"/>
                <a:gd name="connsiteX5" fmla="*/ 343537 w 5385608"/>
                <a:gd name="connsiteY5" fmla="*/ 3735758 h 5891405"/>
                <a:gd name="connsiteX6" fmla="*/ 534923 w 5385608"/>
                <a:gd name="connsiteY6" fmla="*/ 3871219 h 5891405"/>
                <a:gd name="connsiteX7" fmla="*/ 376401 w 5385608"/>
                <a:gd name="connsiteY7" fmla="*/ 4062605 h 5891405"/>
                <a:gd name="connsiteX8" fmla="*/ 567787 w 5385608"/>
                <a:gd name="connsiteY8" fmla="*/ 4317787 h 5891405"/>
                <a:gd name="connsiteX9" fmla="*/ 503992 w 5385608"/>
                <a:gd name="connsiteY9" fmla="*/ 4977005 h 5891405"/>
                <a:gd name="connsiteX10" fmla="*/ 1758634 w 5385608"/>
                <a:gd name="connsiteY10" fmla="*/ 5039972 h 5891405"/>
                <a:gd name="connsiteX11" fmla="*/ 1950020 w 5385608"/>
                <a:gd name="connsiteY11" fmla="*/ 5891405 h 5891405"/>
                <a:gd name="connsiteX12" fmla="*/ 4788913 w 5385608"/>
                <a:gd name="connsiteY12" fmla="*/ 5859508 h 5891405"/>
                <a:gd name="connsiteX13" fmla="*/ 4895239 w 5385608"/>
                <a:gd name="connsiteY13" fmla="*/ 3520345 h 5891405"/>
                <a:gd name="connsiteX14" fmla="*/ 3034541 w 5385608"/>
                <a:gd name="connsiteY14" fmla="*/ 968 h 5891405"/>
                <a:gd name="connsiteX0" fmla="*/ 2980702 w 5331769"/>
                <a:gd name="connsiteY0" fmla="*/ 968 h 5891405"/>
                <a:gd name="connsiteX1" fmla="*/ 726758 w 5331769"/>
                <a:gd name="connsiteY1" fmla="*/ 1181117 h 5891405"/>
                <a:gd name="connsiteX2" fmla="*/ 472632 w 5331769"/>
                <a:gd name="connsiteY2" fmla="*/ 2303127 h 5891405"/>
                <a:gd name="connsiteX3" fmla="*/ 5014 w 5331769"/>
                <a:gd name="connsiteY3" fmla="*/ 3079808 h 5891405"/>
                <a:gd name="connsiteX4" fmla="*/ 460786 w 5331769"/>
                <a:gd name="connsiteY4" fmla="*/ 3328959 h 5891405"/>
                <a:gd name="connsiteX5" fmla="*/ 289698 w 5331769"/>
                <a:gd name="connsiteY5" fmla="*/ 3735758 h 5891405"/>
                <a:gd name="connsiteX6" fmla="*/ 481084 w 5331769"/>
                <a:gd name="connsiteY6" fmla="*/ 3871219 h 5891405"/>
                <a:gd name="connsiteX7" fmla="*/ 322562 w 5331769"/>
                <a:gd name="connsiteY7" fmla="*/ 4062605 h 5891405"/>
                <a:gd name="connsiteX8" fmla="*/ 513948 w 5331769"/>
                <a:gd name="connsiteY8" fmla="*/ 4317787 h 5891405"/>
                <a:gd name="connsiteX9" fmla="*/ 450153 w 5331769"/>
                <a:gd name="connsiteY9" fmla="*/ 4977005 h 5891405"/>
                <a:gd name="connsiteX10" fmla="*/ 1704795 w 5331769"/>
                <a:gd name="connsiteY10" fmla="*/ 5039972 h 5891405"/>
                <a:gd name="connsiteX11" fmla="*/ 1896181 w 5331769"/>
                <a:gd name="connsiteY11" fmla="*/ 5891405 h 5891405"/>
                <a:gd name="connsiteX12" fmla="*/ 4735074 w 5331769"/>
                <a:gd name="connsiteY12" fmla="*/ 5859508 h 5891405"/>
                <a:gd name="connsiteX13" fmla="*/ 4841400 w 5331769"/>
                <a:gd name="connsiteY13" fmla="*/ 3520345 h 5891405"/>
                <a:gd name="connsiteX14" fmla="*/ 2980702 w 5331769"/>
                <a:gd name="connsiteY14" fmla="*/ 968 h 5891405"/>
                <a:gd name="connsiteX0" fmla="*/ 2980491 w 5331558"/>
                <a:gd name="connsiteY0" fmla="*/ 968 h 5891405"/>
                <a:gd name="connsiteX1" fmla="*/ 726547 w 5331558"/>
                <a:gd name="connsiteY1" fmla="*/ 1181117 h 5891405"/>
                <a:gd name="connsiteX2" fmla="*/ 486068 w 5331558"/>
                <a:gd name="connsiteY2" fmla="*/ 2371366 h 5891405"/>
                <a:gd name="connsiteX3" fmla="*/ 4803 w 5331558"/>
                <a:gd name="connsiteY3" fmla="*/ 3079808 h 5891405"/>
                <a:gd name="connsiteX4" fmla="*/ 460575 w 5331558"/>
                <a:gd name="connsiteY4" fmla="*/ 3328959 h 5891405"/>
                <a:gd name="connsiteX5" fmla="*/ 289487 w 5331558"/>
                <a:gd name="connsiteY5" fmla="*/ 3735758 h 5891405"/>
                <a:gd name="connsiteX6" fmla="*/ 480873 w 5331558"/>
                <a:gd name="connsiteY6" fmla="*/ 3871219 h 5891405"/>
                <a:gd name="connsiteX7" fmla="*/ 322351 w 5331558"/>
                <a:gd name="connsiteY7" fmla="*/ 4062605 h 5891405"/>
                <a:gd name="connsiteX8" fmla="*/ 513737 w 5331558"/>
                <a:gd name="connsiteY8" fmla="*/ 4317787 h 5891405"/>
                <a:gd name="connsiteX9" fmla="*/ 449942 w 5331558"/>
                <a:gd name="connsiteY9" fmla="*/ 4977005 h 5891405"/>
                <a:gd name="connsiteX10" fmla="*/ 1704584 w 5331558"/>
                <a:gd name="connsiteY10" fmla="*/ 5039972 h 5891405"/>
                <a:gd name="connsiteX11" fmla="*/ 1895970 w 5331558"/>
                <a:gd name="connsiteY11" fmla="*/ 5891405 h 5891405"/>
                <a:gd name="connsiteX12" fmla="*/ 4734863 w 5331558"/>
                <a:gd name="connsiteY12" fmla="*/ 5859508 h 5891405"/>
                <a:gd name="connsiteX13" fmla="*/ 4841189 w 5331558"/>
                <a:gd name="connsiteY13" fmla="*/ 3520345 h 5891405"/>
                <a:gd name="connsiteX14" fmla="*/ 2980491 w 5331558"/>
                <a:gd name="connsiteY14" fmla="*/ 968 h 5891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331558" h="5891405">
                  <a:moveTo>
                    <a:pt x="2980491" y="968"/>
                  </a:moveTo>
                  <a:cubicBezTo>
                    <a:pt x="1784302" y="-22254"/>
                    <a:pt x="1040642" y="372305"/>
                    <a:pt x="726547" y="1181117"/>
                  </a:cubicBezTo>
                  <a:cubicBezTo>
                    <a:pt x="528785" y="1834793"/>
                    <a:pt x="744238" y="2066938"/>
                    <a:pt x="486068" y="2371366"/>
                  </a:cubicBezTo>
                  <a:cubicBezTo>
                    <a:pt x="239818" y="2677225"/>
                    <a:pt x="-40213" y="2911644"/>
                    <a:pt x="4803" y="3079808"/>
                  </a:cubicBezTo>
                  <a:cubicBezTo>
                    <a:pt x="109541" y="3181162"/>
                    <a:pt x="260766" y="3266498"/>
                    <a:pt x="460575" y="3328959"/>
                  </a:cubicBezTo>
                  <a:cubicBezTo>
                    <a:pt x="403546" y="3464559"/>
                    <a:pt x="198074" y="3641722"/>
                    <a:pt x="289487" y="3735758"/>
                  </a:cubicBezTo>
                  <a:lnTo>
                    <a:pt x="480873" y="3871219"/>
                  </a:lnTo>
                  <a:cubicBezTo>
                    <a:pt x="428032" y="3935014"/>
                    <a:pt x="303940" y="3939433"/>
                    <a:pt x="322351" y="4062605"/>
                  </a:cubicBezTo>
                  <a:cubicBezTo>
                    <a:pt x="362395" y="4195168"/>
                    <a:pt x="550882" y="4226788"/>
                    <a:pt x="513737" y="4317787"/>
                  </a:cubicBezTo>
                  <a:cubicBezTo>
                    <a:pt x="397470" y="4561276"/>
                    <a:pt x="358392" y="4876020"/>
                    <a:pt x="449942" y="4977005"/>
                  </a:cubicBezTo>
                  <a:cubicBezTo>
                    <a:pt x="636587" y="5158310"/>
                    <a:pt x="1197305" y="5208988"/>
                    <a:pt x="1704584" y="5039972"/>
                  </a:cubicBezTo>
                  <a:lnTo>
                    <a:pt x="1895970" y="5891405"/>
                  </a:lnTo>
                  <a:lnTo>
                    <a:pt x="4734863" y="5859508"/>
                  </a:lnTo>
                  <a:cubicBezTo>
                    <a:pt x="4366268" y="4516262"/>
                    <a:pt x="4422975" y="3927926"/>
                    <a:pt x="4841189" y="3520345"/>
                  </a:cubicBezTo>
                  <a:cubicBezTo>
                    <a:pt x="6117095" y="1964448"/>
                    <a:pt x="4692333" y="36409"/>
                    <a:pt x="2980491" y="96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/>
            </a:p>
          </p:txBody>
        </p:sp>
        <p:sp>
          <p:nvSpPr>
            <p:cNvPr id="74" name="Oval 37">
              <a:extLst>
                <a:ext uri="{FF2B5EF4-FFF2-40B4-BE49-F238E27FC236}">
                  <a16:creationId xmlns:a16="http://schemas.microsoft.com/office/drawing/2014/main" id="{0711327E-9191-4394-B64D-73AD56C41377}"/>
                </a:ext>
              </a:extLst>
            </p:cNvPr>
            <p:cNvSpPr/>
            <p:nvPr/>
          </p:nvSpPr>
          <p:spPr>
            <a:xfrm rot="18100542">
              <a:off x="5907878" y="-58593"/>
              <a:ext cx="1436045" cy="2141152"/>
            </a:xfrm>
            <a:custGeom>
              <a:avLst/>
              <a:gdLst/>
              <a:ahLst/>
              <a:cxnLst/>
              <a:rect l="l" t="t" r="r" b="b"/>
              <a:pathLst>
                <a:path w="1170491" h="1745209">
                  <a:moveTo>
                    <a:pt x="429221" y="671495"/>
                  </a:moveTo>
                  <a:cubicBezTo>
                    <a:pt x="415869" y="670322"/>
                    <a:pt x="402356" y="670624"/>
                    <a:pt x="388917" y="672439"/>
                  </a:cubicBezTo>
                  <a:cubicBezTo>
                    <a:pt x="370997" y="674859"/>
                    <a:pt x="353207" y="679968"/>
                    <a:pt x="336101" y="687858"/>
                  </a:cubicBezTo>
                  <a:lnTo>
                    <a:pt x="344770" y="708640"/>
                  </a:lnTo>
                  <a:cubicBezTo>
                    <a:pt x="405276" y="680369"/>
                    <a:pt x="475531" y="691805"/>
                    <a:pt x="523918" y="737799"/>
                  </a:cubicBezTo>
                  <a:cubicBezTo>
                    <a:pt x="569388" y="781022"/>
                    <a:pt x="587723" y="847396"/>
                    <a:pt x="571504" y="910067"/>
                  </a:cubicBezTo>
                  <a:lnTo>
                    <a:pt x="593243" y="915886"/>
                  </a:lnTo>
                  <a:cubicBezTo>
                    <a:pt x="611678" y="844923"/>
                    <a:pt x="590662" y="769719"/>
                    <a:pt x="538740" y="720849"/>
                  </a:cubicBezTo>
                  <a:cubicBezTo>
                    <a:pt x="507886" y="691808"/>
                    <a:pt x="469277" y="675014"/>
                    <a:pt x="429221" y="671495"/>
                  </a:cubicBezTo>
                  <a:close/>
                  <a:moveTo>
                    <a:pt x="588421" y="580980"/>
                  </a:moveTo>
                  <a:cubicBezTo>
                    <a:pt x="534186" y="581239"/>
                    <a:pt x="482134" y="605639"/>
                    <a:pt x="446738" y="649695"/>
                  </a:cubicBezTo>
                  <a:lnTo>
                    <a:pt x="463760" y="664437"/>
                  </a:lnTo>
                  <a:cubicBezTo>
                    <a:pt x="505329" y="612166"/>
                    <a:pt x="573320" y="591099"/>
                    <a:pt x="637132" y="610714"/>
                  </a:cubicBezTo>
                  <a:cubicBezTo>
                    <a:pt x="697098" y="629147"/>
                    <a:pt x="743088" y="680397"/>
                    <a:pt x="756495" y="743730"/>
                  </a:cubicBezTo>
                  <a:lnTo>
                    <a:pt x="778549" y="739251"/>
                  </a:lnTo>
                  <a:cubicBezTo>
                    <a:pt x="763432" y="667508"/>
                    <a:pt x="711108" y="609548"/>
                    <a:pt x="642848" y="588934"/>
                  </a:cubicBezTo>
                  <a:cubicBezTo>
                    <a:pt x="624821" y="583490"/>
                    <a:pt x="606500" y="580894"/>
                    <a:pt x="588421" y="580980"/>
                  </a:cubicBezTo>
                  <a:close/>
                  <a:moveTo>
                    <a:pt x="533817" y="0"/>
                  </a:moveTo>
                  <a:cubicBezTo>
                    <a:pt x="617807" y="1"/>
                    <a:pt x="687626" y="60667"/>
                    <a:pt x="697680" y="141081"/>
                  </a:cubicBezTo>
                  <a:cubicBezTo>
                    <a:pt x="603869" y="182843"/>
                    <a:pt x="547102" y="268997"/>
                    <a:pt x="562024" y="352718"/>
                  </a:cubicBezTo>
                  <a:lnTo>
                    <a:pt x="584367" y="347971"/>
                  </a:lnTo>
                  <a:cubicBezTo>
                    <a:pt x="570422" y="267354"/>
                    <a:pt x="633895" y="183716"/>
                    <a:pt x="732836" y="150639"/>
                  </a:cubicBezTo>
                  <a:cubicBezTo>
                    <a:pt x="738208" y="147500"/>
                    <a:pt x="743991" y="147205"/>
                    <a:pt x="749842" y="147205"/>
                  </a:cubicBezTo>
                  <a:cubicBezTo>
                    <a:pt x="844103" y="147205"/>
                    <a:pt x="920515" y="223618"/>
                    <a:pt x="920515" y="317877"/>
                  </a:cubicBezTo>
                  <a:lnTo>
                    <a:pt x="910716" y="366417"/>
                  </a:lnTo>
                  <a:lnTo>
                    <a:pt x="920515" y="366418"/>
                  </a:lnTo>
                  <a:lnTo>
                    <a:pt x="920515" y="371433"/>
                  </a:lnTo>
                  <a:cubicBezTo>
                    <a:pt x="997755" y="379016"/>
                    <a:pt x="1056877" y="445155"/>
                    <a:pt x="1056877" y="525101"/>
                  </a:cubicBezTo>
                  <a:lnTo>
                    <a:pt x="1047351" y="572282"/>
                  </a:lnTo>
                  <a:cubicBezTo>
                    <a:pt x="1119671" y="602218"/>
                    <a:pt x="1170491" y="673500"/>
                    <a:pt x="1170491" y="756650"/>
                  </a:cubicBezTo>
                  <a:cubicBezTo>
                    <a:pt x="1170490" y="802863"/>
                    <a:pt x="1154794" y="845409"/>
                    <a:pt x="1127569" y="878235"/>
                  </a:cubicBezTo>
                  <a:cubicBezTo>
                    <a:pt x="1080615" y="934488"/>
                    <a:pt x="1014142" y="959925"/>
                    <a:pt x="954678" y="939840"/>
                  </a:cubicBezTo>
                  <a:lnTo>
                    <a:pt x="947373" y="961469"/>
                  </a:lnTo>
                  <a:cubicBezTo>
                    <a:pt x="1000817" y="979520"/>
                    <a:pt x="1058949" y="966083"/>
                    <a:pt x="1106746" y="928282"/>
                  </a:cubicBezTo>
                  <a:cubicBezTo>
                    <a:pt x="1128548" y="955588"/>
                    <a:pt x="1138907" y="990708"/>
                    <a:pt x="1138907" y="1028247"/>
                  </a:cubicBezTo>
                  <a:cubicBezTo>
                    <a:pt x="1138907" y="1124134"/>
                    <a:pt x="1071328" y="1204237"/>
                    <a:pt x="981133" y="1223220"/>
                  </a:cubicBezTo>
                  <a:cubicBezTo>
                    <a:pt x="889088" y="1236998"/>
                    <a:pt x="805358" y="1200898"/>
                    <a:pt x="777272" y="1134408"/>
                  </a:cubicBezTo>
                  <a:cubicBezTo>
                    <a:pt x="791057" y="1124903"/>
                    <a:pt x="802061" y="1111678"/>
                    <a:pt x="810210" y="1096167"/>
                  </a:cubicBezTo>
                  <a:cubicBezTo>
                    <a:pt x="831546" y="1055553"/>
                    <a:pt x="830022" y="1005443"/>
                    <a:pt x="806195" y="964175"/>
                  </a:cubicBezTo>
                  <a:lnTo>
                    <a:pt x="787267" y="975103"/>
                  </a:lnTo>
                  <a:cubicBezTo>
                    <a:pt x="807161" y="1009560"/>
                    <a:pt x="808703" y="1051275"/>
                    <a:pt x="791333" y="1085110"/>
                  </a:cubicBezTo>
                  <a:cubicBezTo>
                    <a:pt x="784855" y="1097727"/>
                    <a:pt x="776117" y="1108536"/>
                    <a:pt x="763385" y="1114320"/>
                  </a:cubicBezTo>
                  <a:lnTo>
                    <a:pt x="744063" y="1119497"/>
                  </a:lnTo>
                  <a:lnTo>
                    <a:pt x="747716" y="1128718"/>
                  </a:lnTo>
                  <a:cubicBezTo>
                    <a:pt x="731558" y="1137628"/>
                    <a:pt x="712804" y="1141697"/>
                    <a:pt x="693327" y="1140344"/>
                  </a:cubicBezTo>
                  <a:cubicBezTo>
                    <a:pt x="655409" y="1137711"/>
                    <a:pt x="620494" y="1114908"/>
                    <a:pt x="601213" y="1080185"/>
                  </a:cubicBezTo>
                  <a:lnTo>
                    <a:pt x="582082" y="1090754"/>
                  </a:lnTo>
                  <a:cubicBezTo>
                    <a:pt x="605167" y="1132362"/>
                    <a:pt x="647281" y="1159482"/>
                    <a:pt x="693051" y="1162221"/>
                  </a:cubicBezTo>
                  <a:cubicBezTo>
                    <a:pt x="715413" y="1163558"/>
                    <a:pt x="736989" y="1158982"/>
                    <a:pt x="755684" y="1148835"/>
                  </a:cubicBezTo>
                  <a:cubicBezTo>
                    <a:pt x="792539" y="1222022"/>
                    <a:pt x="887119" y="1262260"/>
                    <a:pt x="989751" y="1247587"/>
                  </a:cubicBezTo>
                  <a:cubicBezTo>
                    <a:pt x="1000157" y="1267987"/>
                    <a:pt x="1004489" y="1291252"/>
                    <a:pt x="1004488" y="1315531"/>
                  </a:cubicBezTo>
                  <a:cubicBezTo>
                    <a:pt x="1004488" y="1381750"/>
                    <a:pt x="972258" y="1440443"/>
                    <a:pt x="920375" y="1473506"/>
                  </a:cubicBezTo>
                  <a:lnTo>
                    <a:pt x="913116" y="1474079"/>
                  </a:lnTo>
                  <a:cubicBezTo>
                    <a:pt x="850536" y="1469665"/>
                    <a:pt x="794159" y="1430126"/>
                    <a:pt x="766796" y="1371458"/>
                  </a:cubicBezTo>
                  <a:lnTo>
                    <a:pt x="746323" y="1380801"/>
                  </a:lnTo>
                  <a:cubicBezTo>
                    <a:pt x="776874" y="1446464"/>
                    <a:pt x="839753" y="1490827"/>
                    <a:pt x="909888" y="1496052"/>
                  </a:cubicBezTo>
                  <a:cubicBezTo>
                    <a:pt x="891948" y="1561049"/>
                    <a:pt x="840393" y="1611456"/>
                    <a:pt x="774838" y="1628054"/>
                  </a:cubicBezTo>
                  <a:cubicBezTo>
                    <a:pt x="686646" y="1642970"/>
                    <a:pt x="605133" y="1612285"/>
                    <a:pt x="571751" y="1552195"/>
                  </a:cubicBezTo>
                  <a:lnTo>
                    <a:pt x="550649" y="1566422"/>
                  </a:lnTo>
                  <a:cubicBezTo>
                    <a:pt x="577499" y="1609979"/>
                    <a:pt x="626419" y="1639383"/>
                    <a:pt x="685031" y="1648114"/>
                  </a:cubicBezTo>
                  <a:cubicBezTo>
                    <a:pt x="659684" y="1706013"/>
                    <a:pt x="601329" y="1745210"/>
                    <a:pt x="533818" y="1745209"/>
                  </a:cubicBezTo>
                  <a:cubicBezTo>
                    <a:pt x="455549" y="1745210"/>
                    <a:pt x="416747" y="1692524"/>
                    <a:pt x="372301" y="1619888"/>
                  </a:cubicBezTo>
                  <a:lnTo>
                    <a:pt x="366380" y="1592106"/>
                  </a:lnTo>
                  <a:cubicBezTo>
                    <a:pt x="305091" y="1567105"/>
                    <a:pt x="259811" y="1511085"/>
                    <a:pt x="250590" y="1443452"/>
                  </a:cubicBezTo>
                  <a:cubicBezTo>
                    <a:pt x="203712" y="1453117"/>
                    <a:pt x="158965" y="1444975"/>
                    <a:pt x="117260" y="1407178"/>
                  </a:cubicBezTo>
                  <a:cubicBezTo>
                    <a:pt x="55030" y="1350772"/>
                    <a:pt x="44039" y="1258933"/>
                    <a:pt x="90593" y="1192598"/>
                  </a:cubicBezTo>
                  <a:cubicBezTo>
                    <a:pt x="186799" y="1224213"/>
                    <a:pt x="285304" y="1199642"/>
                    <a:pt x="330760" y="1129474"/>
                  </a:cubicBezTo>
                  <a:lnTo>
                    <a:pt x="344999" y="1132822"/>
                  </a:lnTo>
                  <a:cubicBezTo>
                    <a:pt x="420009" y="1139731"/>
                    <a:pt x="490500" y="1101048"/>
                    <a:pt x="524987" y="1034051"/>
                  </a:cubicBezTo>
                  <a:lnTo>
                    <a:pt x="505360" y="1023014"/>
                  </a:lnTo>
                  <a:cubicBezTo>
                    <a:pt x="475089" y="1082544"/>
                    <a:pt x="412689" y="1116790"/>
                    <a:pt x="346243" y="1110339"/>
                  </a:cubicBezTo>
                  <a:cubicBezTo>
                    <a:pt x="283801" y="1104277"/>
                    <a:pt x="228486" y="1063265"/>
                    <a:pt x="202679" y="1003895"/>
                  </a:cubicBezTo>
                  <a:lnTo>
                    <a:pt x="181967" y="1012696"/>
                  </a:lnTo>
                  <a:cubicBezTo>
                    <a:pt x="205492" y="1066954"/>
                    <a:pt x="250941" y="1107583"/>
                    <a:pt x="305288" y="1123484"/>
                  </a:cubicBezTo>
                  <a:cubicBezTo>
                    <a:pt x="260051" y="1186174"/>
                    <a:pt x="162021" y="1201884"/>
                    <a:pt x="70961" y="1161909"/>
                  </a:cubicBezTo>
                  <a:cubicBezTo>
                    <a:pt x="64874" y="1160625"/>
                    <a:pt x="60391" y="1156961"/>
                    <a:pt x="56055" y="1153032"/>
                  </a:cubicBezTo>
                  <a:cubicBezTo>
                    <a:pt x="-13786" y="1089729"/>
                    <a:pt x="-19088" y="981796"/>
                    <a:pt x="44214" y="911953"/>
                  </a:cubicBezTo>
                  <a:lnTo>
                    <a:pt x="84073" y="882569"/>
                  </a:lnTo>
                  <a:lnTo>
                    <a:pt x="76811" y="875989"/>
                  </a:lnTo>
                  <a:lnTo>
                    <a:pt x="80179" y="872273"/>
                  </a:lnTo>
                  <a:cubicBezTo>
                    <a:pt x="28040" y="814783"/>
                    <a:pt x="28651" y="726072"/>
                    <a:pt x="82340" y="666836"/>
                  </a:cubicBezTo>
                  <a:lnTo>
                    <a:pt x="121082" y="638275"/>
                  </a:lnTo>
                  <a:cubicBezTo>
                    <a:pt x="89526" y="571593"/>
                    <a:pt x="96788" y="490523"/>
                    <a:pt x="145805" y="430894"/>
                  </a:cubicBezTo>
                  <a:cubicBezTo>
                    <a:pt x="198586" y="400645"/>
                    <a:pt x="259015" y="385179"/>
                    <a:pt x="321878" y="383347"/>
                  </a:cubicBezTo>
                  <a:lnTo>
                    <a:pt x="321111" y="357014"/>
                  </a:lnTo>
                  <a:cubicBezTo>
                    <a:pt x="257723" y="358862"/>
                    <a:pt x="196668" y="373772"/>
                    <a:pt x="141180" y="399723"/>
                  </a:cubicBezTo>
                  <a:cubicBezTo>
                    <a:pt x="117813" y="370058"/>
                    <a:pt x="106816" y="332072"/>
                    <a:pt x="106816" y="291518"/>
                  </a:cubicBezTo>
                  <a:cubicBezTo>
                    <a:pt x="106816" y="170286"/>
                    <a:pt x="205094" y="72008"/>
                    <a:pt x="326327" y="72008"/>
                  </a:cubicBezTo>
                  <a:cubicBezTo>
                    <a:pt x="350305" y="72008"/>
                    <a:pt x="373385" y="75853"/>
                    <a:pt x="394659" y="83948"/>
                  </a:cubicBezTo>
                  <a:cubicBezTo>
                    <a:pt x="425371" y="33609"/>
                    <a:pt x="467237" y="0"/>
                    <a:pt x="533817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/>
            </a:p>
          </p:txBody>
        </p:sp>
      </p:grpSp>
      <p:sp>
        <p:nvSpPr>
          <p:cNvPr id="75" name="Rectangle 19">
            <a:extLst>
              <a:ext uri="{FF2B5EF4-FFF2-40B4-BE49-F238E27FC236}">
                <a16:creationId xmlns:a16="http://schemas.microsoft.com/office/drawing/2014/main" id="{8025BC4E-7A4E-42D9-9569-8844F8906CE5}"/>
              </a:ext>
            </a:extLst>
          </p:cNvPr>
          <p:cNvSpPr/>
          <p:nvPr/>
        </p:nvSpPr>
        <p:spPr>
          <a:xfrm>
            <a:off x="4471052" y="2446822"/>
            <a:ext cx="449751" cy="494370"/>
          </a:xfrm>
          <a:custGeom>
            <a:avLst/>
            <a:gdLst/>
            <a:ahLst/>
            <a:cxnLst/>
            <a:rect l="l" t="t" r="r" b="b"/>
            <a:pathLst>
              <a:path w="2926108" h="3216409">
                <a:moveTo>
                  <a:pt x="1150286" y="2039882"/>
                </a:moveTo>
                <a:cubicBezTo>
                  <a:pt x="1216487" y="2110220"/>
                  <a:pt x="1249586" y="2238485"/>
                  <a:pt x="1348889" y="2250897"/>
                </a:cubicBezTo>
                <a:cubicBezTo>
                  <a:pt x="1452327" y="2213659"/>
                  <a:pt x="1530941" y="2147458"/>
                  <a:pt x="1597142" y="2052295"/>
                </a:cubicBezTo>
                <a:cubicBezTo>
                  <a:pt x="1634380" y="2030228"/>
                  <a:pt x="1712994" y="2049536"/>
                  <a:pt x="1721269" y="2072982"/>
                </a:cubicBezTo>
                <a:cubicBezTo>
                  <a:pt x="1533700" y="2362611"/>
                  <a:pt x="1615072" y="2763954"/>
                  <a:pt x="1568179" y="2830155"/>
                </a:cubicBezTo>
                <a:cubicBezTo>
                  <a:pt x="1391644" y="2965315"/>
                  <a:pt x="1231658" y="2893598"/>
                  <a:pt x="1063398" y="2925319"/>
                </a:cubicBezTo>
                <a:cubicBezTo>
                  <a:pt x="925479" y="2954282"/>
                  <a:pt x="820660" y="3107371"/>
                  <a:pt x="686879" y="3148747"/>
                </a:cubicBezTo>
                <a:cubicBezTo>
                  <a:pt x="536548" y="3184606"/>
                  <a:pt x="373804" y="3224602"/>
                  <a:pt x="215198" y="3214948"/>
                </a:cubicBezTo>
                <a:cubicBezTo>
                  <a:pt x="93829" y="3209431"/>
                  <a:pt x="71763" y="3046687"/>
                  <a:pt x="136584" y="2925318"/>
                </a:cubicBezTo>
                <a:cubicBezTo>
                  <a:pt x="168305" y="2828775"/>
                  <a:pt x="121415" y="2802571"/>
                  <a:pt x="107623" y="2710165"/>
                </a:cubicBezTo>
                <a:cubicBezTo>
                  <a:pt x="111150" y="2693172"/>
                  <a:pt x="127647" y="2691385"/>
                  <a:pt x="158288" y="2695563"/>
                </a:cubicBezTo>
                <a:lnTo>
                  <a:pt x="158288" y="2626239"/>
                </a:lnTo>
                <a:lnTo>
                  <a:pt x="266288" y="2626239"/>
                </a:lnTo>
                <a:lnTo>
                  <a:pt x="266288" y="2708276"/>
                </a:lnTo>
                <a:lnTo>
                  <a:pt x="307224" y="2711894"/>
                </a:lnTo>
                <a:lnTo>
                  <a:pt x="307224" y="2626239"/>
                </a:lnTo>
                <a:lnTo>
                  <a:pt x="415224" y="2626239"/>
                </a:lnTo>
                <a:lnTo>
                  <a:pt x="415224" y="2711420"/>
                </a:lnTo>
                <a:cubicBezTo>
                  <a:pt x="428487" y="2711947"/>
                  <a:pt x="442136" y="2710942"/>
                  <a:pt x="456160" y="2708700"/>
                </a:cubicBezTo>
                <a:lnTo>
                  <a:pt x="456160" y="2617963"/>
                </a:lnTo>
                <a:lnTo>
                  <a:pt x="564160" y="2617963"/>
                </a:lnTo>
                <a:lnTo>
                  <a:pt x="564160" y="2692500"/>
                </a:lnTo>
                <a:cubicBezTo>
                  <a:pt x="577696" y="2691220"/>
                  <a:pt x="591289" y="2688332"/>
                  <a:pt x="605096" y="2684680"/>
                </a:cubicBezTo>
                <a:lnTo>
                  <a:pt x="605096" y="2601411"/>
                </a:lnTo>
                <a:lnTo>
                  <a:pt x="713096" y="2601411"/>
                </a:lnTo>
                <a:lnTo>
                  <a:pt x="713096" y="2654658"/>
                </a:lnTo>
                <a:lnTo>
                  <a:pt x="754032" y="2641463"/>
                </a:lnTo>
                <a:lnTo>
                  <a:pt x="754032" y="2580721"/>
                </a:lnTo>
                <a:lnTo>
                  <a:pt x="862032" y="2580721"/>
                </a:lnTo>
                <a:lnTo>
                  <a:pt x="862032" y="2599792"/>
                </a:lnTo>
                <a:cubicBezTo>
                  <a:pt x="897454" y="2584791"/>
                  <a:pt x="934214" y="2567836"/>
                  <a:pt x="972371" y="2548802"/>
                </a:cubicBezTo>
                <a:cubicBezTo>
                  <a:pt x="1030297" y="2506047"/>
                  <a:pt x="939271" y="2219176"/>
                  <a:pt x="947546" y="2122633"/>
                </a:cubicBezTo>
                <a:cubicBezTo>
                  <a:pt x="957201" y="2082636"/>
                  <a:pt x="1082706" y="2067466"/>
                  <a:pt x="1150286" y="2039882"/>
                </a:cubicBezTo>
                <a:close/>
                <a:moveTo>
                  <a:pt x="394278" y="1320337"/>
                </a:moveTo>
                <a:cubicBezTo>
                  <a:pt x="356565" y="1315036"/>
                  <a:pt x="316914" y="1320983"/>
                  <a:pt x="277262" y="1344774"/>
                </a:cubicBezTo>
                <a:cubicBezTo>
                  <a:pt x="169686" y="1368221"/>
                  <a:pt x="281399" y="1532343"/>
                  <a:pt x="314500" y="1626128"/>
                </a:cubicBezTo>
                <a:cubicBezTo>
                  <a:pt x="335188" y="1715776"/>
                  <a:pt x="306225" y="1838523"/>
                  <a:pt x="376563" y="1820593"/>
                </a:cubicBezTo>
                <a:cubicBezTo>
                  <a:pt x="535169" y="1786113"/>
                  <a:pt x="681363" y="1673020"/>
                  <a:pt x="628954" y="1493726"/>
                </a:cubicBezTo>
                <a:cubicBezTo>
                  <a:pt x="603094" y="1453384"/>
                  <a:pt x="507414" y="1336241"/>
                  <a:pt x="394278" y="1320337"/>
                </a:cubicBezTo>
                <a:close/>
                <a:moveTo>
                  <a:pt x="1526804" y="66"/>
                </a:moveTo>
                <a:cubicBezTo>
                  <a:pt x="2066065" y="2824"/>
                  <a:pt x="2621877" y="129710"/>
                  <a:pt x="2896335" y="1038593"/>
                </a:cubicBezTo>
                <a:cubicBezTo>
                  <a:pt x="3057700" y="1564063"/>
                  <a:pt x="2532230" y="2366749"/>
                  <a:pt x="2064686" y="2292273"/>
                </a:cubicBezTo>
                <a:cubicBezTo>
                  <a:pt x="1885392" y="2267447"/>
                  <a:pt x="1950214" y="2015056"/>
                  <a:pt x="1555767" y="1940580"/>
                </a:cubicBezTo>
                <a:cubicBezTo>
                  <a:pt x="1179249" y="1868862"/>
                  <a:pt x="732393" y="2186075"/>
                  <a:pt x="554478" y="2159871"/>
                </a:cubicBezTo>
                <a:cubicBezTo>
                  <a:pt x="466211" y="2141942"/>
                  <a:pt x="394493" y="1904722"/>
                  <a:pt x="364151" y="1932305"/>
                </a:cubicBezTo>
                <a:cubicBezTo>
                  <a:pt x="322774" y="1970922"/>
                  <a:pt x="405526" y="2146079"/>
                  <a:pt x="467589" y="2205384"/>
                </a:cubicBezTo>
                <a:cubicBezTo>
                  <a:pt x="525515" y="2241243"/>
                  <a:pt x="732393" y="2202626"/>
                  <a:pt x="873070" y="2139183"/>
                </a:cubicBezTo>
                <a:cubicBezTo>
                  <a:pt x="913066" y="2128149"/>
                  <a:pt x="870312" y="2253655"/>
                  <a:pt x="877208" y="2333648"/>
                </a:cubicBezTo>
                <a:lnTo>
                  <a:pt x="862033" y="2337135"/>
                </a:lnTo>
                <a:lnTo>
                  <a:pt x="862033" y="2415799"/>
                </a:lnTo>
                <a:lnTo>
                  <a:pt x="754033" y="2415799"/>
                </a:lnTo>
                <a:lnTo>
                  <a:pt x="754033" y="2360695"/>
                </a:lnTo>
                <a:lnTo>
                  <a:pt x="713097" y="2366601"/>
                </a:lnTo>
                <a:lnTo>
                  <a:pt x="713097" y="2428213"/>
                </a:lnTo>
                <a:lnTo>
                  <a:pt x="605097" y="2428213"/>
                </a:lnTo>
                <a:lnTo>
                  <a:pt x="605097" y="2379641"/>
                </a:lnTo>
                <a:lnTo>
                  <a:pt x="564161" y="2382960"/>
                </a:lnTo>
                <a:lnTo>
                  <a:pt x="564161" y="2436489"/>
                </a:lnTo>
                <a:lnTo>
                  <a:pt x="456161" y="2436489"/>
                </a:lnTo>
                <a:lnTo>
                  <a:pt x="456161" y="2388351"/>
                </a:lnTo>
                <a:lnTo>
                  <a:pt x="415225" y="2389346"/>
                </a:lnTo>
                <a:lnTo>
                  <a:pt x="415225" y="2436489"/>
                </a:lnTo>
                <a:lnTo>
                  <a:pt x="307225" y="2436489"/>
                </a:lnTo>
                <a:lnTo>
                  <a:pt x="307225" y="2386989"/>
                </a:lnTo>
                <a:cubicBezTo>
                  <a:pt x="293173" y="2387203"/>
                  <a:pt x="279516" y="2386340"/>
                  <a:pt x="266289" y="2385150"/>
                </a:cubicBezTo>
                <a:lnTo>
                  <a:pt x="266289" y="2428213"/>
                </a:lnTo>
                <a:lnTo>
                  <a:pt x="158289" y="2428213"/>
                </a:lnTo>
                <a:lnTo>
                  <a:pt x="158289" y="2370613"/>
                </a:lnTo>
                <a:cubicBezTo>
                  <a:pt x="107017" y="2360332"/>
                  <a:pt x="72014" y="2345184"/>
                  <a:pt x="62108" y="2325373"/>
                </a:cubicBezTo>
                <a:cubicBezTo>
                  <a:pt x="37284" y="2261930"/>
                  <a:pt x="103484" y="2223314"/>
                  <a:pt x="124172" y="2172284"/>
                </a:cubicBezTo>
                <a:cubicBezTo>
                  <a:pt x="111759" y="2144700"/>
                  <a:pt x="74522" y="2141942"/>
                  <a:pt x="86934" y="2089533"/>
                </a:cubicBezTo>
                <a:cubicBezTo>
                  <a:pt x="96588" y="2053674"/>
                  <a:pt x="242782" y="2030228"/>
                  <a:pt x="264849" y="1994369"/>
                </a:cubicBezTo>
                <a:cubicBezTo>
                  <a:pt x="273125" y="1919892"/>
                  <a:pt x="-4093" y="1721291"/>
                  <a:pt x="45" y="1671639"/>
                </a:cubicBezTo>
                <a:cubicBezTo>
                  <a:pt x="12458" y="1619230"/>
                  <a:pt x="124172" y="1558546"/>
                  <a:pt x="190373" y="1477174"/>
                </a:cubicBezTo>
                <a:cubicBezTo>
                  <a:pt x="222094" y="1438557"/>
                  <a:pt x="80038" y="1267538"/>
                  <a:pt x="91072" y="1224783"/>
                </a:cubicBezTo>
                <a:cubicBezTo>
                  <a:pt x="111760" y="1092381"/>
                  <a:pt x="240023" y="943429"/>
                  <a:pt x="264849" y="703451"/>
                </a:cubicBezTo>
                <a:cubicBezTo>
                  <a:pt x="342084" y="332450"/>
                  <a:pt x="961338" y="-5451"/>
                  <a:pt x="1526804" y="6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76" name="Freeform 114">
            <a:extLst>
              <a:ext uri="{FF2B5EF4-FFF2-40B4-BE49-F238E27FC236}">
                <a16:creationId xmlns:a16="http://schemas.microsoft.com/office/drawing/2014/main" id="{353DEA2B-7F2E-4C6B-B5D7-248AF895CCDB}"/>
              </a:ext>
            </a:extLst>
          </p:cNvPr>
          <p:cNvSpPr>
            <a:spLocks noChangeAspect="1"/>
          </p:cNvSpPr>
          <p:nvPr/>
        </p:nvSpPr>
        <p:spPr>
          <a:xfrm>
            <a:off x="10267646" y="2429101"/>
            <a:ext cx="549379" cy="529812"/>
          </a:xfrm>
          <a:custGeom>
            <a:avLst/>
            <a:gdLst>
              <a:gd name="connsiteX0" fmla="*/ 2500704 w 3745816"/>
              <a:gd name="connsiteY0" fmla="*/ 2026790 h 3316502"/>
              <a:gd name="connsiteX1" fmla="*/ 2261868 w 3745816"/>
              <a:gd name="connsiteY1" fmla="*/ 2108676 h 3316502"/>
              <a:gd name="connsiteX2" fmla="*/ 2364227 w 3745816"/>
              <a:gd name="connsiteY2" fmla="*/ 2313393 h 3316502"/>
              <a:gd name="connsiteX3" fmla="*/ 2500704 w 3745816"/>
              <a:gd name="connsiteY3" fmla="*/ 2026790 h 3316502"/>
              <a:gd name="connsiteX4" fmla="*/ 1245112 w 3745816"/>
              <a:gd name="connsiteY4" fmla="*/ 2026790 h 3316502"/>
              <a:gd name="connsiteX5" fmla="*/ 1381589 w 3745816"/>
              <a:gd name="connsiteY5" fmla="*/ 2313393 h 3316502"/>
              <a:gd name="connsiteX6" fmla="*/ 1483948 w 3745816"/>
              <a:gd name="connsiteY6" fmla="*/ 2108676 h 3316502"/>
              <a:gd name="connsiteX7" fmla="*/ 1245112 w 3745816"/>
              <a:gd name="connsiteY7" fmla="*/ 2026790 h 3316502"/>
              <a:gd name="connsiteX8" fmla="*/ 3185000 w 3745816"/>
              <a:gd name="connsiteY8" fmla="*/ 1670667 h 3316502"/>
              <a:gd name="connsiteX9" fmla="*/ 3244509 w 3745816"/>
              <a:gd name="connsiteY9" fmla="*/ 1692418 h 3316502"/>
              <a:gd name="connsiteX10" fmla="*/ 3380986 w 3745816"/>
              <a:gd name="connsiteY10" fmla="*/ 1856191 h 3316502"/>
              <a:gd name="connsiteX11" fmla="*/ 3599350 w 3745816"/>
              <a:gd name="connsiteY11" fmla="*/ 1903959 h 3316502"/>
              <a:gd name="connsiteX12" fmla="*/ 3735827 w 3745816"/>
              <a:gd name="connsiteY12" fmla="*/ 2142795 h 3316502"/>
              <a:gd name="connsiteX13" fmla="*/ 3572054 w 3745816"/>
              <a:gd name="connsiteY13" fmla="*/ 2620466 h 3316502"/>
              <a:gd name="connsiteX14" fmla="*/ 3551583 w 3745816"/>
              <a:gd name="connsiteY14" fmla="*/ 3316502 h 3316502"/>
              <a:gd name="connsiteX15" fmla="*/ 3292276 w 3745816"/>
              <a:gd name="connsiteY15" fmla="*/ 3302855 h 3316502"/>
              <a:gd name="connsiteX16" fmla="*/ 3271804 w 3745816"/>
              <a:gd name="connsiteY16" fmla="*/ 2511284 h 3316502"/>
              <a:gd name="connsiteX17" fmla="*/ 3278628 w 3745816"/>
              <a:gd name="connsiteY17" fmla="*/ 2272449 h 3316502"/>
              <a:gd name="connsiteX18" fmla="*/ 3128502 w 3745816"/>
              <a:gd name="connsiteY18" fmla="*/ 2108675 h 3316502"/>
              <a:gd name="connsiteX19" fmla="*/ 2869195 w 3745816"/>
              <a:gd name="connsiteY19" fmla="*/ 2019965 h 3316502"/>
              <a:gd name="connsiteX20" fmla="*/ 3185000 w 3745816"/>
              <a:gd name="connsiteY20" fmla="*/ 1670667 h 3316502"/>
              <a:gd name="connsiteX21" fmla="*/ 560816 w 3745816"/>
              <a:gd name="connsiteY21" fmla="*/ 1670667 h 3316502"/>
              <a:gd name="connsiteX22" fmla="*/ 876621 w 3745816"/>
              <a:gd name="connsiteY22" fmla="*/ 2019965 h 3316502"/>
              <a:gd name="connsiteX23" fmla="*/ 617314 w 3745816"/>
              <a:gd name="connsiteY23" fmla="*/ 2108675 h 3316502"/>
              <a:gd name="connsiteX24" fmla="*/ 467188 w 3745816"/>
              <a:gd name="connsiteY24" fmla="*/ 2272449 h 3316502"/>
              <a:gd name="connsiteX25" fmla="*/ 474012 w 3745816"/>
              <a:gd name="connsiteY25" fmla="*/ 2511284 h 3316502"/>
              <a:gd name="connsiteX26" fmla="*/ 453540 w 3745816"/>
              <a:gd name="connsiteY26" fmla="*/ 3302855 h 3316502"/>
              <a:gd name="connsiteX27" fmla="*/ 194233 w 3745816"/>
              <a:gd name="connsiteY27" fmla="*/ 3316502 h 3316502"/>
              <a:gd name="connsiteX28" fmla="*/ 173762 w 3745816"/>
              <a:gd name="connsiteY28" fmla="*/ 2620466 h 3316502"/>
              <a:gd name="connsiteX29" fmla="*/ 9989 w 3745816"/>
              <a:gd name="connsiteY29" fmla="*/ 2142795 h 3316502"/>
              <a:gd name="connsiteX30" fmla="*/ 146466 w 3745816"/>
              <a:gd name="connsiteY30" fmla="*/ 1903959 h 3316502"/>
              <a:gd name="connsiteX31" fmla="*/ 364830 w 3745816"/>
              <a:gd name="connsiteY31" fmla="*/ 1856191 h 3316502"/>
              <a:gd name="connsiteX32" fmla="*/ 501307 w 3745816"/>
              <a:gd name="connsiteY32" fmla="*/ 1692418 h 3316502"/>
              <a:gd name="connsiteX33" fmla="*/ 560816 w 3745816"/>
              <a:gd name="connsiteY33" fmla="*/ 1670667 h 3316502"/>
              <a:gd name="connsiteX34" fmla="*/ 2609647 w 3745816"/>
              <a:gd name="connsiteY34" fmla="*/ 1003649 h 3316502"/>
              <a:gd name="connsiteX35" fmla="*/ 2234575 w 3745816"/>
              <a:gd name="connsiteY35" fmla="*/ 1385343 h 3316502"/>
              <a:gd name="connsiteX36" fmla="*/ 1968444 w 3745816"/>
              <a:gd name="connsiteY36" fmla="*/ 1951725 h 3316502"/>
              <a:gd name="connsiteX37" fmla="*/ 2248223 w 3745816"/>
              <a:gd name="connsiteY37" fmla="*/ 1897134 h 3316502"/>
              <a:gd name="connsiteX38" fmla="*/ 2644008 w 3745816"/>
              <a:gd name="connsiteY38" fmla="*/ 1010029 h 3316502"/>
              <a:gd name="connsiteX39" fmla="*/ 2609647 w 3745816"/>
              <a:gd name="connsiteY39" fmla="*/ 1003649 h 3316502"/>
              <a:gd name="connsiteX40" fmla="*/ 1136169 w 3745816"/>
              <a:gd name="connsiteY40" fmla="*/ 1003649 h 3316502"/>
              <a:gd name="connsiteX41" fmla="*/ 1101808 w 3745816"/>
              <a:gd name="connsiteY41" fmla="*/ 1010029 h 3316502"/>
              <a:gd name="connsiteX42" fmla="*/ 1497593 w 3745816"/>
              <a:gd name="connsiteY42" fmla="*/ 1897134 h 3316502"/>
              <a:gd name="connsiteX43" fmla="*/ 1777372 w 3745816"/>
              <a:gd name="connsiteY43" fmla="*/ 1951725 h 3316502"/>
              <a:gd name="connsiteX44" fmla="*/ 1511241 w 3745816"/>
              <a:gd name="connsiteY44" fmla="*/ 1385343 h 3316502"/>
              <a:gd name="connsiteX45" fmla="*/ 1136169 w 3745816"/>
              <a:gd name="connsiteY45" fmla="*/ 1003649 h 3316502"/>
              <a:gd name="connsiteX46" fmla="*/ 665081 w 3745816"/>
              <a:gd name="connsiteY46" fmla="*/ 96 h 3316502"/>
              <a:gd name="connsiteX47" fmla="*/ 1862679 w 3745816"/>
              <a:gd name="connsiteY47" fmla="*/ 634117 h 3316502"/>
              <a:gd name="connsiteX48" fmla="*/ 3080735 w 3745816"/>
              <a:gd name="connsiteY48" fmla="*/ 96 h 3316502"/>
              <a:gd name="connsiteX49" fmla="*/ 3619822 w 3745816"/>
              <a:gd name="connsiteY49" fmla="*/ 921320 h 3316502"/>
              <a:gd name="connsiteX50" fmla="*/ 3456049 w 3745816"/>
              <a:gd name="connsiteY50" fmla="*/ 955441 h 3316502"/>
              <a:gd name="connsiteX51" fmla="*/ 3189917 w 3745816"/>
              <a:gd name="connsiteY51" fmla="*/ 1317105 h 3316502"/>
              <a:gd name="connsiteX52" fmla="*/ 3155798 w 3745816"/>
              <a:gd name="connsiteY52" fmla="*/ 1596884 h 3316502"/>
              <a:gd name="connsiteX53" fmla="*/ 2848723 w 3745816"/>
              <a:gd name="connsiteY53" fmla="*/ 1842544 h 3316502"/>
              <a:gd name="connsiteX54" fmla="*/ 2650831 w 3745816"/>
              <a:gd name="connsiteY54" fmla="*/ 2518108 h 3316502"/>
              <a:gd name="connsiteX55" fmla="*/ 2193630 w 3745816"/>
              <a:gd name="connsiteY55" fmla="*/ 2531756 h 3316502"/>
              <a:gd name="connsiteX56" fmla="*/ 1941147 w 3745816"/>
              <a:gd name="connsiteY56" fmla="*/ 2211033 h 3316502"/>
              <a:gd name="connsiteX57" fmla="*/ 1872908 w 3745816"/>
              <a:gd name="connsiteY57" fmla="*/ 2313392 h 3316502"/>
              <a:gd name="connsiteX58" fmla="*/ 1804669 w 3745816"/>
              <a:gd name="connsiteY58" fmla="*/ 2211033 h 3316502"/>
              <a:gd name="connsiteX59" fmla="*/ 1552186 w 3745816"/>
              <a:gd name="connsiteY59" fmla="*/ 2531756 h 3316502"/>
              <a:gd name="connsiteX60" fmla="*/ 1094985 w 3745816"/>
              <a:gd name="connsiteY60" fmla="*/ 2518108 h 3316502"/>
              <a:gd name="connsiteX61" fmla="*/ 897093 w 3745816"/>
              <a:gd name="connsiteY61" fmla="*/ 1842544 h 3316502"/>
              <a:gd name="connsiteX62" fmla="*/ 590018 w 3745816"/>
              <a:gd name="connsiteY62" fmla="*/ 1596884 h 3316502"/>
              <a:gd name="connsiteX63" fmla="*/ 555899 w 3745816"/>
              <a:gd name="connsiteY63" fmla="*/ 1317105 h 3316502"/>
              <a:gd name="connsiteX64" fmla="*/ 388154 w 3745816"/>
              <a:gd name="connsiteY64" fmla="*/ 1151989 h 3316502"/>
              <a:gd name="connsiteX65" fmla="*/ 289767 w 3745816"/>
              <a:gd name="connsiteY65" fmla="*/ 955441 h 3316502"/>
              <a:gd name="connsiteX66" fmla="*/ 125994 w 3745816"/>
              <a:gd name="connsiteY66" fmla="*/ 921320 h 3316502"/>
              <a:gd name="connsiteX67" fmla="*/ 665081 w 3745816"/>
              <a:gd name="connsiteY67" fmla="*/ 96 h 3316502"/>
              <a:gd name="connsiteX0" fmla="*/ 2500704 w 3745816"/>
              <a:gd name="connsiteY0" fmla="*/ 2026790 h 3316502"/>
              <a:gd name="connsiteX1" fmla="*/ 2261868 w 3745816"/>
              <a:gd name="connsiteY1" fmla="*/ 2108676 h 3316502"/>
              <a:gd name="connsiteX2" fmla="*/ 2364227 w 3745816"/>
              <a:gd name="connsiteY2" fmla="*/ 2313393 h 3316502"/>
              <a:gd name="connsiteX3" fmla="*/ 2500704 w 3745816"/>
              <a:gd name="connsiteY3" fmla="*/ 2026790 h 3316502"/>
              <a:gd name="connsiteX4" fmla="*/ 1245112 w 3745816"/>
              <a:gd name="connsiteY4" fmla="*/ 2026790 h 3316502"/>
              <a:gd name="connsiteX5" fmla="*/ 1381589 w 3745816"/>
              <a:gd name="connsiteY5" fmla="*/ 2313393 h 3316502"/>
              <a:gd name="connsiteX6" fmla="*/ 1483948 w 3745816"/>
              <a:gd name="connsiteY6" fmla="*/ 2108676 h 3316502"/>
              <a:gd name="connsiteX7" fmla="*/ 1245112 w 3745816"/>
              <a:gd name="connsiteY7" fmla="*/ 2026790 h 3316502"/>
              <a:gd name="connsiteX8" fmla="*/ 3185000 w 3745816"/>
              <a:gd name="connsiteY8" fmla="*/ 1670667 h 3316502"/>
              <a:gd name="connsiteX9" fmla="*/ 3244509 w 3745816"/>
              <a:gd name="connsiteY9" fmla="*/ 1692418 h 3316502"/>
              <a:gd name="connsiteX10" fmla="*/ 3380986 w 3745816"/>
              <a:gd name="connsiteY10" fmla="*/ 1856191 h 3316502"/>
              <a:gd name="connsiteX11" fmla="*/ 3599350 w 3745816"/>
              <a:gd name="connsiteY11" fmla="*/ 1903959 h 3316502"/>
              <a:gd name="connsiteX12" fmla="*/ 3735827 w 3745816"/>
              <a:gd name="connsiteY12" fmla="*/ 2142795 h 3316502"/>
              <a:gd name="connsiteX13" fmla="*/ 3572054 w 3745816"/>
              <a:gd name="connsiteY13" fmla="*/ 2620466 h 3316502"/>
              <a:gd name="connsiteX14" fmla="*/ 3551583 w 3745816"/>
              <a:gd name="connsiteY14" fmla="*/ 3316502 h 3316502"/>
              <a:gd name="connsiteX15" fmla="*/ 3292276 w 3745816"/>
              <a:gd name="connsiteY15" fmla="*/ 3302855 h 3316502"/>
              <a:gd name="connsiteX16" fmla="*/ 3271804 w 3745816"/>
              <a:gd name="connsiteY16" fmla="*/ 2511284 h 3316502"/>
              <a:gd name="connsiteX17" fmla="*/ 3278628 w 3745816"/>
              <a:gd name="connsiteY17" fmla="*/ 2272449 h 3316502"/>
              <a:gd name="connsiteX18" fmla="*/ 3128502 w 3745816"/>
              <a:gd name="connsiteY18" fmla="*/ 2108675 h 3316502"/>
              <a:gd name="connsiteX19" fmla="*/ 2869195 w 3745816"/>
              <a:gd name="connsiteY19" fmla="*/ 2019965 h 3316502"/>
              <a:gd name="connsiteX20" fmla="*/ 3185000 w 3745816"/>
              <a:gd name="connsiteY20" fmla="*/ 1670667 h 3316502"/>
              <a:gd name="connsiteX21" fmla="*/ 560816 w 3745816"/>
              <a:gd name="connsiteY21" fmla="*/ 1670667 h 3316502"/>
              <a:gd name="connsiteX22" fmla="*/ 876621 w 3745816"/>
              <a:gd name="connsiteY22" fmla="*/ 2019965 h 3316502"/>
              <a:gd name="connsiteX23" fmla="*/ 617314 w 3745816"/>
              <a:gd name="connsiteY23" fmla="*/ 2108675 h 3316502"/>
              <a:gd name="connsiteX24" fmla="*/ 467188 w 3745816"/>
              <a:gd name="connsiteY24" fmla="*/ 2272449 h 3316502"/>
              <a:gd name="connsiteX25" fmla="*/ 474012 w 3745816"/>
              <a:gd name="connsiteY25" fmla="*/ 2511284 h 3316502"/>
              <a:gd name="connsiteX26" fmla="*/ 453540 w 3745816"/>
              <a:gd name="connsiteY26" fmla="*/ 3302855 h 3316502"/>
              <a:gd name="connsiteX27" fmla="*/ 194233 w 3745816"/>
              <a:gd name="connsiteY27" fmla="*/ 3316502 h 3316502"/>
              <a:gd name="connsiteX28" fmla="*/ 173762 w 3745816"/>
              <a:gd name="connsiteY28" fmla="*/ 2620466 h 3316502"/>
              <a:gd name="connsiteX29" fmla="*/ 9989 w 3745816"/>
              <a:gd name="connsiteY29" fmla="*/ 2142795 h 3316502"/>
              <a:gd name="connsiteX30" fmla="*/ 146466 w 3745816"/>
              <a:gd name="connsiteY30" fmla="*/ 1903959 h 3316502"/>
              <a:gd name="connsiteX31" fmla="*/ 364830 w 3745816"/>
              <a:gd name="connsiteY31" fmla="*/ 1856191 h 3316502"/>
              <a:gd name="connsiteX32" fmla="*/ 501307 w 3745816"/>
              <a:gd name="connsiteY32" fmla="*/ 1692418 h 3316502"/>
              <a:gd name="connsiteX33" fmla="*/ 560816 w 3745816"/>
              <a:gd name="connsiteY33" fmla="*/ 1670667 h 3316502"/>
              <a:gd name="connsiteX34" fmla="*/ 2609647 w 3745816"/>
              <a:gd name="connsiteY34" fmla="*/ 1003649 h 3316502"/>
              <a:gd name="connsiteX35" fmla="*/ 2234575 w 3745816"/>
              <a:gd name="connsiteY35" fmla="*/ 1385343 h 3316502"/>
              <a:gd name="connsiteX36" fmla="*/ 1968444 w 3745816"/>
              <a:gd name="connsiteY36" fmla="*/ 1951725 h 3316502"/>
              <a:gd name="connsiteX37" fmla="*/ 2248223 w 3745816"/>
              <a:gd name="connsiteY37" fmla="*/ 1897134 h 3316502"/>
              <a:gd name="connsiteX38" fmla="*/ 2644008 w 3745816"/>
              <a:gd name="connsiteY38" fmla="*/ 1010029 h 3316502"/>
              <a:gd name="connsiteX39" fmla="*/ 2609647 w 3745816"/>
              <a:gd name="connsiteY39" fmla="*/ 1003649 h 3316502"/>
              <a:gd name="connsiteX40" fmla="*/ 1136169 w 3745816"/>
              <a:gd name="connsiteY40" fmla="*/ 1003649 h 3316502"/>
              <a:gd name="connsiteX41" fmla="*/ 1101808 w 3745816"/>
              <a:gd name="connsiteY41" fmla="*/ 1010029 h 3316502"/>
              <a:gd name="connsiteX42" fmla="*/ 1497593 w 3745816"/>
              <a:gd name="connsiteY42" fmla="*/ 1897134 h 3316502"/>
              <a:gd name="connsiteX43" fmla="*/ 1777372 w 3745816"/>
              <a:gd name="connsiteY43" fmla="*/ 1951725 h 3316502"/>
              <a:gd name="connsiteX44" fmla="*/ 1511241 w 3745816"/>
              <a:gd name="connsiteY44" fmla="*/ 1385343 h 3316502"/>
              <a:gd name="connsiteX45" fmla="*/ 1136169 w 3745816"/>
              <a:gd name="connsiteY45" fmla="*/ 1003649 h 3316502"/>
              <a:gd name="connsiteX46" fmla="*/ 665081 w 3745816"/>
              <a:gd name="connsiteY46" fmla="*/ 96 h 3316502"/>
              <a:gd name="connsiteX47" fmla="*/ 1862679 w 3745816"/>
              <a:gd name="connsiteY47" fmla="*/ 634117 h 3316502"/>
              <a:gd name="connsiteX48" fmla="*/ 3080735 w 3745816"/>
              <a:gd name="connsiteY48" fmla="*/ 96 h 3316502"/>
              <a:gd name="connsiteX49" fmla="*/ 3619822 w 3745816"/>
              <a:gd name="connsiteY49" fmla="*/ 921320 h 3316502"/>
              <a:gd name="connsiteX50" fmla="*/ 3456049 w 3745816"/>
              <a:gd name="connsiteY50" fmla="*/ 955441 h 3316502"/>
              <a:gd name="connsiteX51" fmla="*/ 3189917 w 3745816"/>
              <a:gd name="connsiteY51" fmla="*/ 1317105 h 3316502"/>
              <a:gd name="connsiteX52" fmla="*/ 3155798 w 3745816"/>
              <a:gd name="connsiteY52" fmla="*/ 1596884 h 3316502"/>
              <a:gd name="connsiteX53" fmla="*/ 2848723 w 3745816"/>
              <a:gd name="connsiteY53" fmla="*/ 1842544 h 3316502"/>
              <a:gd name="connsiteX54" fmla="*/ 2650831 w 3745816"/>
              <a:gd name="connsiteY54" fmla="*/ 2518108 h 3316502"/>
              <a:gd name="connsiteX55" fmla="*/ 2193630 w 3745816"/>
              <a:gd name="connsiteY55" fmla="*/ 2531756 h 3316502"/>
              <a:gd name="connsiteX56" fmla="*/ 1941147 w 3745816"/>
              <a:gd name="connsiteY56" fmla="*/ 2211033 h 3316502"/>
              <a:gd name="connsiteX57" fmla="*/ 1872908 w 3745816"/>
              <a:gd name="connsiteY57" fmla="*/ 2313392 h 3316502"/>
              <a:gd name="connsiteX58" fmla="*/ 1804669 w 3745816"/>
              <a:gd name="connsiteY58" fmla="*/ 2211033 h 3316502"/>
              <a:gd name="connsiteX59" fmla="*/ 1552186 w 3745816"/>
              <a:gd name="connsiteY59" fmla="*/ 2531756 h 3316502"/>
              <a:gd name="connsiteX60" fmla="*/ 1094985 w 3745816"/>
              <a:gd name="connsiteY60" fmla="*/ 2518108 h 3316502"/>
              <a:gd name="connsiteX61" fmla="*/ 897093 w 3745816"/>
              <a:gd name="connsiteY61" fmla="*/ 1842544 h 3316502"/>
              <a:gd name="connsiteX62" fmla="*/ 590018 w 3745816"/>
              <a:gd name="connsiteY62" fmla="*/ 1596884 h 3316502"/>
              <a:gd name="connsiteX63" fmla="*/ 555899 w 3745816"/>
              <a:gd name="connsiteY63" fmla="*/ 1317105 h 3316502"/>
              <a:gd name="connsiteX64" fmla="*/ 388154 w 3745816"/>
              <a:gd name="connsiteY64" fmla="*/ 1151989 h 3316502"/>
              <a:gd name="connsiteX65" fmla="*/ 289767 w 3745816"/>
              <a:gd name="connsiteY65" fmla="*/ 1006142 h 3316502"/>
              <a:gd name="connsiteX66" fmla="*/ 125994 w 3745816"/>
              <a:gd name="connsiteY66" fmla="*/ 921320 h 3316502"/>
              <a:gd name="connsiteX67" fmla="*/ 665081 w 3745816"/>
              <a:gd name="connsiteY67" fmla="*/ 96 h 3316502"/>
              <a:gd name="connsiteX0" fmla="*/ 2500704 w 3745816"/>
              <a:gd name="connsiteY0" fmla="*/ 2026790 h 3316502"/>
              <a:gd name="connsiteX1" fmla="*/ 2261868 w 3745816"/>
              <a:gd name="connsiteY1" fmla="*/ 2108676 h 3316502"/>
              <a:gd name="connsiteX2" fmla="*/ 2364227 w 3745816"/>
              <a:gd name="connsiteY2" fmla="*/ 2313393 h 3316502"/>
              <a:gd name="connsiteX3" fmla="*/ 2500704 w 3745816"/>
              <a:gd name="connsiteY3" fmla="*/ 2026790 h 3316502"/>
              <a:gd name="connsiteX4" fmla="*/ 1245112 w 3745816"/>
              <a:gd name="connsiteY4" fmla="*/ 2026790 h 3316502"/>
              <a:gd name="connsiteX5" fmla="*/ 1381589 w 3745816"/>
              <a:gd name="connsiteY5" fmla="*/ 2313393 h 3316502"/>
              <a:gd name="connsiteX6" fmla="*/ 1483948 w 3745816"/>
              <a:gd name="connsiteY6" fmla="*/ 2108676 h 3316502"/>
              <a:gd name="connsiteX7" fmla="*/ 1245112 w 3745816"/>
              <a:gd name="connsiteY7" fmla="*/ 2026790 h 3316502"/>
              <a:gd name="connsiteX8" fmla="*/ 3185000 w 3745816"/>
              <a:gd name="connsiteY8" fmla="*/ 1670667 h 3316502"/>
              <a:gd name="connsiteX9" fmla="*/ 3244509 w 3745816"/>
              <a:gd name="connsiteY9" fmla="*/ 1692418 h 3316502"/>
              <a:gd name="connsiteX10" fmla="*/ 3380986 w 3745816"/>
              <a:gd name="connsiteY10" fmla="*/ 1856191 h 3316502"/>
              <a:gd name="connsiteX11" fmla="*/ 3599350 w 3745816"/>
              <a:gd name="connsiteY11" fmla="*/ 1903959 h 3316502"/>
              <a:gd name="connsiteX12" fmla="*/ 3735827 w 3745816"/>
              <a:gd name="connsiteY12" fmla="*/ 2142795 h 3316502"/>
              <a:gd name="connsiteX13" fmla="*/ 3572054 w 3745816"/>
              <a:gd name="connsiteY13" fmla="*/ 2620466 h 3316502"/>
              <a:gd name="connsiteX14" fmla="*/ 3551583 w 3745816"/>
              <a:gd name="connsiteY14" fmla="*/ 3316502 h 3316502"/>
              <a:gd name="connsiteX15" fmla="*/ 3292276 w 3745816"/>
              <a:gd name="connsiteY15" fmla="*/ 3302855 h 3316502"/>
              <a:gd name="connsiteX16" fmla="*/ 3271804 w 3745816"/>
              <a:gd name="connsiteY16" fmla="*/ 2511284 h 3316502"/>
              <a:gd name="connsiteX17" fmla="*/ 3278628 w 3745816"/>
              <a:gd name="connsiteY17" fmla="*/ 2272449 h 3316502"/>
              <a:gd name="connsiteX18" fmla="*/ 3128502 w 3745816"/>
              <a:gd name="connsiteY18" fmla="*/ 2108675 h 3316502"/>
              <a:gd name="connsiteX19" fmla="*/ 2869195 w 3745816"/>
              <a:gd name="connsiteY19" fmla="*/ 2019965 h 3316502"/>
              <a:gd name="connsiteX20" fmla="*/ 3185000 w 3745816"/>
              <a:gd name="connsiteY20" fmla="*/ 1670667 h 3316502"/>
              <a:gd name="connsiteX21" fmla="*/ 560816 w 3745816"/>
              <a:gd name="connsiteY21" fmla="*/ 1670667 h 3316502"/>
              <a:gd name="connsiteX22" fmla="*/ 876621 w 3745816"/>
              <a:gd name="connsiteY22" fmla="*/ 2019965 h 3316502"/>
              <a:gd name="connsiteX23" fmla="*/ 617314 w 3745816"/>
              <a:gd name="connsiteY23" fmla="*/ 2108675 h 3316502"/>
              <a:gd name="connsiteX24" fmla="*/ 467188 w 3745816"/>
              <a:gd name="connsiteY24" fmla="*/ 2272449 h 3316502"/>
              <a:gd name="connsiteX25" fmla="*/ 474012 w 3745816"/>
              <a:gd name="connsiteY25" fmla="*/ 2511284 h 3316502"/>
              <a:gd name="connsiteX26" fmla="*/ 453540 w 3745816"/>
              <a:gd name="connsiteY26" fmla="*/ 3302855 h 3316502"/>
              <a:gd name="connsiteX27" fmla="*/ 194233 w 3745816"/>
              <a:gd name="connsiteY27" fmla="*/ 3316502 h 3316502"/>
              <a:gd name="connsiteX28" fmla="*/ 173762 w 3745816"/>
              <a:gd name="connsiteY28" fmla="*/ 2620466 h 3316502"/>
              <a:gd name="connsiteX29" fmla="*/ 9989 w 3745816"/>
              <a:gd name="connsiteY29" fmla="*/ 2142795 h 3316502"/>
              <a:gd name="connsiteX30" fmla="*/ 146466 w 3745816"/>
              <a:gd name="connsiteY30" fmla="*/ 1903959 h 3316502"/>
              <a:gd name="connsiteX31" fmla="*/ 364830 w 3745816"/>
              <a:gd name="connsiteY31" fmla="*/ 1856191 h 3316502"/>
              <a:gd name="connsiteX32" fmla="*/ 501307 w 3745816"/>
              <a:gd name="connsiteY32" fmla="*/ 1692418 h 3316502"/>
              <a:gd name="connsiteX33" fmla="*/ 560816 w 3745816"/>
              <a:gd name="connsiteY33" fmla="*/ 1670667 h 3316502"/>
              <a:gd name="connsiteX34" fmla="*/ 2609647 w 3745816"/>
              <a:gd name="connsiteY34" fmla="*/ 1003649 h 3316502"/>
              <a:gd name="connsiteX35" fmla="*/ 2234575 w 3745816"/>
              <a:gd name="connsiteY35" fmla="*/ 1385343 h 3316502"/>
              <a:gd name="connsiteX36" fmla="*/ 1968444 w 3745816"/>
              <a:gd name="connsiteY36" fmla="*/ 1951725 h 3316502"/>
              <a:gd name="connsiteX37" fmla="*/ 2248223 w 3745816"/>
              <a:gd name="connsiteY37" fmla="*/ 1897134 h 3316502"/>
              <a:gd name="connsiteX38" fmla="*/ 2644008 w 3745816"/>
              <a:gd name="connsiteY38" fmla="*/ 1010029 h 3316502"/>
              <a:gd name="connsiteX39" fmla="*/ 2609647 w 3745816"/>
              <a:gd name="connsiteY39" fmla="*/ 1003649 h 3316502"/>
              <a:gd name="connsiteX40" fmla="*/ 1136169 w 3745816"/>
              <a:gd name="connsiteY40" fmla="*/ 1003649 h 3316502"/>
              <a:gd name="connsiteX41" fmla="*/ 1101808 w 3745816"/>
              <a:gd name="connsiteY41" fmla="*/ 1010029 h 3316502"/>
              <a:gd name="connsiteX42" fmla="*/ 1497593 w 3745816"/>
              <a:gd name="connsiteY42" fmla="*/ 1897134 h 3316502"/>
              <a:gd name="connsiteX43" fmla="*/ 1777372 w 3745816"/>
              <a:gd name="connsiteY43" fmla="*/ 1951725 h 3316502"/>
              <a:gd name="connsiteX44" fmla="*/ 1511241 w 3745816"/>
              <a:gd name="connsiteY44" fmla="*/ 1385343 h 3316502"/>
              <a:gd name="connsiteX45" fmla="*/ 1136169 w 3745816"/>
              <a:gd name="connsiteY45" fmla="*/ 1003649 h 3316502"/>
              <a:gd name="connsiteX46" fmla="*/ 665081 w 3745816"/>
              <a:gd name="connsiteY46" fmla="*/ 96 h 3316502"/>
              <a:gd name="connsiteX47" fmla="*/ 1862679 w 3745816"/>
              <a:gd name="connsiteY47" fmla="*/ 634117 h 3316502"/>
              <a:gd name="connsiteX48" fmla="*/ 3080735 w 3745816"/>
              <a:gd name="connsiteY48" fmla="*/ 96 h 3316502"/>
              <a:gd name="connsiteX49" fmla="*/ 3619822 w 3745816"/>
              <a:gd name="connsiteY49" fmla="*/ 921320 h 3316502"/>
              <a:gd name="connsiteX50" fmla="*/ 3456049 w 3745816"/>
              <a:gd name="connsiteY50" fmla="*/ 955441 h 3316502"/>
              <a:gd name="connsiteX51" fmla="*/ 3189917 w 3745816"/>
              <a:gd name="connsiteY51" fmla="*/ 1317105 h 3316502"/>
              <a:gd name="connsiteX52" fmla="*/ 3155798 w 3745816"/>
              <a:gd name="connsiteY52" fmla="*/ 1596884 h 3316502"/>
              <a:gd name="connsiteX53" fmla="*/ 2848723 w 3745816"/>
              <a:gd name="connsiteY53" fmla="*/ 1842544 h 3316502"/>
              <a:gd name="connsiteX54" fmla="*/ 2650831 w 3745816"/>
              <a:gd name="connsiteY54" fmla="*/ 2518108 h 3316502"/>
              <a:gd name="connsiteX55" fmla="*/ 2193630 w 3745816"/>
              <a:gd name="connsiteY55" fmla="*/ 2531756 h 3316502"/>
              <a:gd name="connsiteX56" fmla="*/ 1941147 w 3745816"/>
              <a:gd name="connsiteY56" fmla="*/ 2211033 h 3316502"/>
              <a:gd name="connsiteX57" fmla="*/ 1872908 w 3745816"/>
              <a:gd name="connsiteY57" fmla="*/ 2313392 h 3316502"/>
              <a:gd name="connsiteX58" fmla="*/ 1804669 w 3745816"/>
              <a:gd name="connsiteY58" fmla="*/ 2211033 h 3316502"/>
              <a:gd name="connsiteX59" fmla="*/ 1552186 w 3745816"/>
              <a:gd name="connsiteY59" fmla="*/ 2531756 h 3316502"/>
              <a:gd name="connsiteX60" fmla="*/ 1094985 w 3745816"/>
              <a:gd name="connsiteY60" fmla="*/ 2518108 h 3316502"/>
              <a:gd name="connsiteX61" fmla="*/ 897093 w 3745816"/>
              <a:gd name="connsiteY61" fmla="*/ 1842544 h 3316502"/>
              <a:gd name="connsiteX62" fmla="*/ 590018 w 3745816"/>
              <a:gd name="connsiteY62" fmla="*/ 1596884 h 3316502"/>
              <a:gd name="connsiteX63" fmla="*/ 555899 w 3745816"/>
              <a:gd name="connsiteY63" fmla="*/ 1317105 h 3316502"/>
              <a:gd name="connsiteX64" fmla="*/ 380265 w 3745816"/>
              <a:gd name="connsiteY64" fmla="*/ 1173717 h 3316502"/>
              <a:gd name="connsiteX65" fmla="*/ 289767 w 3745816"/>
              <a:gd name="connsiteY65" fmla="*/ 1006142 h 3316502"/>
              <a:gd name="connsiteX66" fmla="*/ 125994 w 3745816"/>
              <a:gd name="connsiteY66" fmla="*/ 921320 h 3316502"/>
              <a:gd name="connsiteX67" fmla="*/ 665081 w 3745816"/>
              <a:gd name="connsiteY67" fmla="*/ 96 h 3316502"/>
              <a:gd name="connsiteX0" fmla="*/ 2500704 w 3745816"/>
              <a:gd name="connsiteY0" fmla="*/ 2026790 h 3316502"/>
              <a:gd name="connsiteX1" fmla="*/ 2261868 w 3745816"/>
              <a:gd name="connsiteY1" fmla="*/ 2108676 h 3316502"/>
              <a:gd name="connsiteX2" fmla="*/ 2364227 w 3745816"/>
              <a:gd name="connsiteY2" fmla="*/ 2313393 h 3316502"/>
              <a:gd name="connsiteX3" fmla="*/ 2500704 w 3745816"/>
              <a:gd name="connsiteY3" fmla="*/ 2026790 h 3316502"/>
              <a:gd name="connsiteX4" fmla="*/ 1245112 w 3745816"/>
              <a:gd name="connsiteY4" fmla="*/ 2026790 h 3316502"/>
              <a:gd name="connsiteX5" fmla="*/ 1381589 w 3745816"/>
              <a:gd name="connsiteY5" fmla="*/ 2313393 h 3316502"/>
              <a:gd name="connsiteX6" fmla="*/ 1483948 w 3745816"/>
              <a:gd name="connsiteY6" fmla="*/ 2108676 h 3316502"/>
              <a:gd name="connsiteX7" fmla="*/ 1245112 w 3745816"/>
              <a:gd name="connsiteY7" fmla="*/ 2026790 h 3316502"/>
              <a:gd name="connsiteX8" fmla="*/ 3185000 w 3745816"/>
              <a:gd name="connsiteY8" fmla="*/ 1670667 h 3316502"/>
              <a:gd name="connsiteX9" fmla="*/ 3244509 w 3745816"/>
              <a:gd name="connsiteY9" fmla="*/ 1692418 h 3316502"/>
              <a:gd name="connsiteX10" fmla="*/ 3380986 w 3745816"/>
              <a:gd name="connsiteY10" fmla="*/ 1856191 h 3316502"/>
              <a:gd name="connsiteX11" fmla="*/ 3599350 w 3745816"/>
              <a:gd name="connsiteY11" fmla="*/ 1903959 h 3316502"/>
              <a:gd name="connsiteX12" fmla="*/ 3735827 w 3745816"/>
              <a:gd name="connsiteY12" fmla="*/ 2142795 h 3316502"/>
              <a:gd name="connsiteX13" fmla="*/ 3572054 w 3745816"/>
              <a:gd name="connsiteY13" fmla="*/ 2620466 h 3316502"/>
              <a:gd name="connsiteX14" fmla="*/ 3551583 w 3745816"/>
              <a:gd name="connsiteY14" fmla="*/ 3316502 h 3316502"/>
              <a:gd name="connsiteX15" fmla="*/ 3292276 w 3745816"/>
              <a:gd name="connsiteY15" fmla="*/ 3302855 h 3316502"/>
              <a:gd name="connsiteX16" fmla="*/ 3271804 w 3745816"/>
              <a:gd name="connsiteY16" fmla="*/ 2511284 h 3316502"/>
              <a:gd name="connsiteX17" fmla="*/ 3278628 w 3745816"/>
              <a:gd name="connsiteY17" fmla="*/ 2272449 h 3316502"/>
              <a:gd name="connsiteX18" fmla="*/ 3128502 w 3745816"/>
              <a:gd name="connsiteY18" fmla="*/ 2108675 h 3316502"/>
              <a:gd name="connsiteX19" fmla="*/ 2869195 w 3745816"/>
              <a:gd name="connsiteY19" fmla="*/ 2019965 h 3316502"/>
              <a:gd name="connsiteX20" fmla="*/ 3185000 w 3745816"/>
              <a:gd name="connsiteY20" fmla="*/ 1670667 h 3316502"/>
              <a:gd name="connsiteX21" fmla="*/ 560816 w 3745816"/>
              <a:gd name="connsiteY21" fmla="*/ 1670667 h 3316502"/>
              <a:gd name="connsiteX22" fmla="*/ 876621 w 3745816"/>
              <a:gd name="connsiteY22" fmla="*/ 2019965 h 3316502"/>
              <a:gd name="connsiteX23" fmla="*/ 617314 w 3745816"/>
              <a:gd name="connsiteY23" fmla="*/ 2108675 h 3316502"/>
              <a:gd name="connsiteX24" fmla="*/ 467188 w 3745816"/>
              <a:gd name="connsiteY24" fmla="*/ 2272449 h 3316502"/>
              <a:gd name="connsiteX25" fmla="*/ 474012 w 3745816"/>
              <a:gd name="connsiteY25" fmla="*/ 2511284 h 3316502"/>
              <a:gd name="connsiteX26" fmla="*/ 453540 w 3745816"/>
              <a:gd name="connsiteY26" fmla="*/ 3302855 h 3316502"/>
              <a:gd name="connsiteX27" fmla="*/ 194233 w 3745816"/>
              <a:gd name="connsiteY27" fmla="*/ 3316502 h 3316502"/>
              <a:gd name="connsiteX28" fmla="*/ 173762 w 3745816"/>
              <a:gd name="connsiteY28" fmla="*/ 2620466 h 3316502"/>
              <a:gd name="connsiteX29" fmla="*/ 9989 w 3745816"/>
              <a:gd name="connsiteY29" fmla="*/ 2142795 h 3316502"/>
              <a:gd name="connsiteX30" fmla="*/ 146466 w 3745816"/>
              <a:gd name="connsiteY30" fmla="*/ 1903959 h 3316502"/>
              <a:gd name="connsiteX31" fmla="*/ 364830 w 3745816"/>
              <a:gd name="connsiteY31" fmla="*/ 1856191 h 3316502"/>
              <a:gd name="connsiteX32" fmla="*/ 501307 w 3745816"/>
              <a:gd name="connsiteY32" fmla="*/ 1692418 h 3316502"/>
              <a:gd name="connsiteX33" fmla="*/ 560816 w 3745816"/>
              <a:gd name="connsiteY33" fmla="*/ 1670667 h 3316502"/>
              <a:gd name="connsiteX34" fmla="*/ 2609647 w 3745816"/>
              <a:gd name="connsiteY34" fmla="*/ 1003649 h 3316502"/>
              <a:gd name="connsiteX35" fmla="*/ 2234575 w 3745816"/>
              <a:gd name="connsiteY35" fmla="*/ 1385343 h 3316502"/>
              <a:gd name="connsiteX36" fmla="*/ 1968444 w 3745816"/>
              <a:gd name="connsiteY36" fmla="*/ 1951725 h 3316502"/>
              <a:gd name="connsiteX37" fmla="*/ 2248223 w 3745816"/>
              <a:gd name="connsiteY37" fmla="*/ 1897134 h 3316502"/>
              <a:gd name="connsiteX38" fmla="*/ 2644008 w 3745816"/>
              <a:gd name="connsiteY38" fmla="*/ 1010029 h 3316502"/>
              <a:gd name="connsiteX39" fmla="*/ 2609647 w 3745816"/>
              <a:gd name="connsiteY39" fmla="*/ 1003649 h 3316502"/>
              <a:gd name="connsiteX40" fmla="*/ 1136169 w 3745816"/>
              <a:gd name="connsiteY40" fmla="*/ 1003649 h 3316502"/>
              <a:gd name="connsiteX41" fmla="*/ 1101808 w 3745816"/>
              <a:gd name="connsiteY41" fmla="*/ 1010029 h 3316502"/>
              <a:gd name="connsiteX42" fmla="*/ 1497593 w 3745816"/>
              <a:gd name="connsiteY42" fmla="*/ 1897134 h 3316502"/>
              <a:gd name="connsiteX43" fmla="*/ 1777372 w 3745816"/>
              <a:gd name="connsiteY43" fmla="*/ 1951725 h 3316502"/>
              <a:gd name="connsiteX44" fmla="*/ 1511241 w 3745816"/>
              <a:gd name="connsiteY44" fmla="*/ 1385343 h 3316502"/>
              <a:gd name="connsiteX45" fmla="*/ 1136169 w 3745816"/>
              <a:gd name="connsiteY45" fmla="*/ 1003649 h 3316502"/>
              <a:gd name="connsiteX46" fmla="*/ 665081 w 3745816"/>
              <a:gd name="connsiteY46" fmla="*/ 96 h 3316502"/>
              <a:gd name="connsiteX47" fmla="*/ 1862679 w 3745816"/>
              <a:gd name="connsiteY47" fmla="*/ 634117 h 3316502"/>
              <a:gd name="connsiteX48" fmla="*/ 3080735 w 3745816"/>
              <a:gd name="connsiteY48" fmla="*/ 96 h 3316502"/>
              <a:gd name="connsiteX49" fmla="*/ 3619822 w 3745816"/>
              <a:gd name="connsiteY49" fmla="*/ 921320 h 3316502"/>
              <a:gd name="connsiteX50" fmla="*/ 3456049 w 3745816"/>
              <a:gd name="connsiteY50" fmla="*/ 955441 h 3316502"/>
              <a:gd name="connsiteX51" fmla="*/ 3189917 w 3745816"/>
              <a:gd name="connsiteY51" fmla="*/ 1317105 h 3316502"/>
              <a:gd name="connsiteX52" fmla="*/ 3155798 w 3745816"/>
              <a:gd name="connsiteY52" fmla="*/ 1596884 h 3316502"/>
              <a:gd name="connsiteX53" fmla="*/ 2848723 w 3745816"/>
              <a:gd name="connsiteY53" fmla="*/ 1842544 h 3316502"/>
              <a:gd name="connsiteX54" fmla="*/ 2650831 w 3745816"/>
              <a:gd name="connsiteY54" fmla="*/ 2518108 h 3316502"/>
              <a:gd name="connsiteX55" fmla="*/ 2193630 w 3745816"/>
              <a:gd name="connsiteY55" fmla="*/ 2531756 h 3316502"/>
              <a:gd name="connsiteX56" fmla="*/ 1941147 w 3745816"/>
              <a:gd name="connsiteY56" fmla="*/ 2211033 h 3316502"/>
              <a:gd name="connsiteX57" fmla="*/ 1872908 w 3745816"/>
              <a:gd name="connsiteY57" fmla="*/ 2313392 h 3316502"/>
              <a:gd name="connsiteX58" fmla="*/ 1804669 w 3745816"/>
              <a:gd name="connsiteY58" fmla="*/ 2211033 h 3316502"/>
              <a:gd name="connsiteX59" fmla="*/ 1552186 w 3745816"/>
              <a:gd name="connsiteY59" fmla="*/ 2531756 h 3316502"/>
              <a:gd name="connsiteX60" fmla="*/ 1094985 w 3745816"/>
              <a:gd name="connsiteY60" fmla="*/ 2518108 h 3316502"/>
              <a:gd name="connsiteX61" fmla="*/ 897093 w 3745816"/>
              <a:gd name="connsiteY61" fmla="*/ 1842544 h 3316502"/>
              <a:gd name="connsiteX62" fmla="*/ 590018 w 3745816"/>
              <a:gd name="connsiteY62" fmla="*/ 1596884 h 3316502"/>
              <a:gd name="connsiteX63" fmla="*/ 555899 w 3745816"/>
              <a:gd name="connsiteY63" fmla="*/ 1317105 h 3316502"/>
              <a:gd name="connsiteX64" fmla="*/ 380265 w 3745816"/>
              <a:gd name="connsiteY64" fmla="*/ 1173717 h 3316502"/>
              <a:gd name="connsiteX65" fmla="*/ 289767 w 3745816"/>
              <a:gd name="connsiteY65" fmla="*/ 1006142 h 3316502"/>
              <a:gd name="connsiteX66" fmla="*/ 125994 w 3745816"/>
              <a:gd name="connsiteY66" fmla="*/ 921320 h 3316502"/>
              <a:gd name="connsiteX67" fmla="*/ 665081 w 3745816"/>
              <a:gd name="connsiteY67" fmla="*/ 96 h 3316502"/>
              <a:gd name="connsiteX0" fmla="*/ 2500704 w 3745816"/>
              <a:gd name="connsiteY0" fmla="*/ 2026790 h 3316502"/>
              <a:gd name="connsiteX1" fmla="*/ 2261868 w 3745816"/>
              <a:gd name="connsiteY1" fmla="*/ 2108676 h 3316502"/>
              <a:gd name="connsiteX2" fmla="*/ 2364227 w 3745816"/>
              <a:gd name="connsiteY2" fmla="*/ 2313393 h 3316502"/>
              <a:gd name="connsiteX3" fmla="*/ 2500704 w 3745816"/>
              <a:gd name="connsiteY3" fmla="*/ 2026790 h 3316502"/>
              <a:gd name="connsiteX4" fmla="*/ 1245112 w 3745816"/>
              <a:gd name="connsiteY4" fmla="*/ 2026790 h 3316502"/>
              <a:gd name="connsiteX5" fmla="*/ 1381589 w 3745816"/>
              <a:gd name="connsiteY5" fmla="*/ 2313393 h 3316502"/>
              <a:gd name="connsiteX6" fmla="*/ 1483948 w 3745816"/>
              <a:gd name="connsiteY6" fmla="*/ 2108676 h 3316502"/>
              <a:gd name="connsiteX7" fmla="*/ 1245112 w 3745816"/>
              <a:gd name="connsiteY7" fmla="*/ 2026790 h 3316502"/>
              <a:gd name="connsiteX8" fmla="*/ 3185000 w 3745816"/>
              <a:gd name="connsiteY8" fmla="*/ 1670667 h 3316502"/>
              <a:gd name="connsiteX9" fmla="*/ 3244509 w 3745816"/>
              <a:gd name="connsiteY9" fmla="*/ 1692418 h 3316502"/>
              <a:gd name="connsiteX10" fmla="*/ 3380986 w 3745816"/>
              <a:gd name="connsiteY10" fmla="*/ 1856191 h 3316502"/>
              <a:gd name="connsiteX11" fmla="*/ 3599350 w 3745816"/>
              <a:gd name="connsiteY11" fmla="*/ 1903959 h 3316502"/>
              <a:gd name="connsiteX12" fmla="*/ 3735827 w 3745816"/>
              <a:gd name="connsiteY12" fmla="*/ 2142795 h 3316502"/>
              <a:gd name="connsiteX13" fmla="*/ 3572054 w 3745816"/>
              <a:gd name="connsiteY13" fmla="*/ 2620466 h 3316502"/>
              <a:gd name="connsiteX14" fmla="*/ 3551583 w 3745816"/>
              <a:gd name="connsiteY14" fmla="*/ 3316502 h 3316502"/>
              <a:gd name="connsiteX15" fmla="*/ 3292276 w 3745816"/>
              <a:gd name="connsiteY15" fmla="*/ 3302855 h 3316502"/>
              <a:gd name="connsiteX16" fmla="*/ 3271804 w 3745816"/>
              <a:gd name="connsiteY16" fmla="*/ 2511284 h 3316502"/>
              <a:gd name="connsiteX17" fmla="*/ 3278628 w 3745816"/>
              <a:gd name="connsiteY17" fmla="*/ 2272449 h 3316502"/>
              <a:gd name="connsiteX18" fmla="*/ 3128502 w 3745816"/>
              <a:gd name="connsiteY18" fmla="*/ 2108675 h 3316502"/>
              <a:gd name="connsiteX19" fmla="*/ 2869195 w 3745816"/>
              <a:gd name="connsiteY19" fmla="*/ 2019965 h 3316502"/>
              <a:gd name="connsiteX20" fmla="*/ 3185000 w 3745816"/>
              <a:gd name="connsiteY20" fmla="*/ 1670667 h 3316502"/>
              <a:gd name="connsiteX21" fmla="*/ 560816 w 3745816"/>
              <a:gd name="connsiteY21" fmla="*/ 1670667 h 3316502"/>
              <a:gd name="connsiteX22" fmla="*/ 876621 w 3745816"/>
              <a:gd name="connsiteY22" fmla="*/ 2019965 h 3316502"/>
              <a:gd name="connsiteX23" fmla="*/ 617314 w 3745816"/>
              <a:gd name="connsiteY23" fmla="*/ 2108675 h 3316502"/>
              <a:gd name="connsiteX24" fmla="*/ 467188 w 3745816"/>
              <a:gd name="connsiteY24" fmla="*/ 2272449 h 3316502"/>
              <a:gd name="connsiteX25" fmla="*/ 474012 w 3745816"/>
              <a:gd name="connsiteY25" fmla="*/ 2511284 h 3316502"/>
              <a:gd name="connsiteX26" fmla="*/ 453540 w 3745816"/>
              <a:gd name="connsiteY26" fmla="*/ 3302855 h 3316502"/>
              <a:gd name="connsiteX27" fmla="*/ 194233 w 3745816"/>
              <a:gd name="connsiteY27" fmla="*/ 3316502 h 3316502"/>
              <a:gd name="connsiteX28" fmla="*/ 173762 w 3745816"/>
              <a:gd name="connsiteY28" fmla="*/ 2620466 h 3316502"/>
              <a:gd name="connsiteX29" fmla="*/ 9989 w 3745816"/>
              <a:gd name="connsiteY29" fmla="*/ 2142795 h 3316502"/>
              <a:gd name="connsiteX30" fmla="*/ 146466 w 3745816"/>
              <a:gd name="connsiteY30" fmla="*/ 1903959 h 3316502"/>
              <a:gd name="connsiteX31" fmla="*/ 364830 w 3745816"/>
              <a:gd name="connsiteY31" fmla="*/ 1856191 h 3316502"/>
              <a:gd name="connsiteX32" fmla="*/ 501307 w 3745816"/>
              <a:gd name="connsiteY32" fmla="*/ 1692418 h 3316502"/>
              <a:gd name="connsiteX33" fmla="*/ 560816 w 3745816"/>
              <a:gd name="connsiteY33" fmla="*/ 1670667 h 3316502"/>
              <a:gd name="connsiteX34" fmla="*/ 2609647 w 3745816"/>
              <a:gd name="connsiteY34" fmla="*/ 1003649 h 3316502"/>
              <a:gd name="connsiteX35" fmla="*/ 2234575 w 3745816"/>
              <a:gd name="connsiteY35" fmla="*/ 1385343 h 3316502"/>
              <a:gd name="connsiteX36" fmla="*/ 1968444 w 3745816"/>
              <a:gd name="connsiteY36" fmla="*/ 1951725 h 3316502"/>
              <a:gd name="connsiteX37" fmla="*/ 2248223 w 3745816"/>
              <a:gd name="connsiteY37" fmla="*/ 1897134 h 3316502"/>
              <a:gd name="connsiteX38" fmla="*/ 2644008 w 3745816"/>
              <a:gd name="connsiteY38" fmla="*/ 1010029 h 3316502"/>
              <a:gd name="connsiteX39" fmla="*/ 2609647 w 3745816"/>
              <a:gd name="connsiteY39" fmla="*/ 1003649 h 3316502"/>
              <a:gd name="connsiteX40" fmla="*/ 1136169 w 3745816"/>
              <a:gd name="connsiteY40" fmla="*/ 1003649 h 3316502"/>
              <a:gd name="connsiteX41" fmla="*/ 1101808 w 3745816"/>
              <a:gd name="connsiteY41" fmla="*/ 1010029 h 3316502"/>
              <a:gd name="connsiteX42" fmla="*/ 1497593 w 3745816"/>
              <a:gd name="connsiteY42" fmla="*/ 1897134 h 3316502"/>
              <a:gd name="connsiteX43" fmla="*/ 1777372 w 3745816"/>
              <a:gd name="connsiteY43" fmla="*/ 1951725 h 3316502"/>
              <a:gd name="connsiteX44" fmla="*/ 1511241 w 3745816"/>
              <a:gd name="connsiteY44" fmla="*/ 1385343 h 3316502"/>
              <a:gd name="connsiteX45" fmla="*/ 1136169 w 3745816"/>
              <a:gd name="connsiteY45" fmla="*/ 1003649 h 3316502"/>
              <a:gd name="connsiteX46" fmla="*/ 665081 w 3745816"/>
              <a:gd name="connsiteY46" fmla="*/ 96 h 3316502"/>
              <a:gd name="connsiteX47" fmla="*/ 1862679 w 3745816"/>
              <a:gd name="connsiteY47" fmla="*/ 634117 h 3316502"/>
              <a:gd name="connsiteX48" fmla="*/ 3080735 w 3745816"/>
              <a:gd name="connsiteY48" fmla="*/ 96 h 3316502"/>
              <a:gd name="connsiteX49" fmla="*/ 3619822 w 3745816"/>
              <a:gd name="connsiteY49" fmla="*/ 921320 h 3316502"/>
              <a:gd name="connsiteX50" fmla="*/ 3456049 w 3745816"/>
              <a:gd name="connsiteY50" fmla="*/ 955441 h 3316502"/>
              <a:gd name="connsiteX51" fmla="*/ 3370271 w 3745816"/>
              <a:gd name="connsiteY51" fmla="*/ 1159232 h 3316502"/>
              <a:gd name="connsiteX52" fmla="*/ 3189917 w 3745816"/>
              <a:gd name="connsiteY52" fmla="*/ 1317105 h 3316502"/>
              <a:gd name="connsiteX53" fmla="*/ 3155798 w 3745816"/>
              <a:gd name="connsiteY53" fmla="*/ 1596884 h 3316502"/>
              <a:gd name="connsiteX54" fmla="*/ 2848723 w 3745816"/>
              <a:gd name="connsiteY54" fmla="*/ 1842544 h 3316502"/>
              <a:gd name="connsiteX55" fmla="*/ 2650831 w 3745816"/>
              <a:gd name="connsiteY55" fmla="*/ 2518108 h 3316502"/>
              <a:gd name="connsiteX56" fmla="*/ 2193630 w 3745816"/>
              <a:gd name="connsiteY56" fmla="*/ 2531756 h 3316502"/>
              <a:gd name="connsiteX57" fmla="*/ 1941147 w 3745816"/>
              <a:gd name="connsiteY57" fmla="*/ 2211033 h 3316502"/>
              <a:gd name="connsiteX58" fmla="*/ 1872908 w 3745816"/>
              <a:gd name="connsiteY58" fmla="*/ 2313392 h 3316502"/>
              <a:gd name="connsiteX59" fmla="*/ 1804669 w 3745816"/>
              <a:gd name="connsiteY59" fmla="*/ 2211033 h 3316502"/>
              <a:gd name="connsiteX60" fmla="*/ 1552186 w 3745816"/>
              <a:gd name="connsiteY60" fmla="*/ 2531756 h 3316502"/>
              <a:gd name="connsiteX61" fmla="*/ 1094985 w 3745816"/>
              <a:gd name="connsiteY61" fmla="*/ 2518108 h 3316502"/>
              <a:gd name="connsiteX62" fmla="*/ 897093 w 3745816"/>
              <a:gd name="connsiteY62" fmla="*/ 1842544 h 3316502"/>
              <a:gd name="connsiteX63" fmla="*/ 590018 w 3745816"/>
              <a:gd name="connsiteY63" fmla="*/ 1596884 h 3316502"/>
              <a:gd name="connsiteX64" fmla="*/ 555899 w 3745816"/>
              <a:gd name="connsiteY64" fmla="*/ 1317105 h 3316502"/>
              <a:gd name="connsiteX65" fmla="*/ 380265 w 3745816"/>
              <a:gd name="connsiteY65" fmla="*/ 1173717 h 3316502"/>
              <a:gd name="connsiteX66" fmla="*/ 289767 w 3745816"/>
              <a:gd name="connsiteY66" fmla="*/ 1006142 h 3316502"/>
              <a:gd name="connsiteX67" fmla="*/ 125994 w 3745816"/>
              <a:gd name="connsiteY67" fmla="*/ 921320 h 3316502"/>
              <a:gd name="connsiteX68" fmla="*/ 665081 w 3745816"/>
              <a:gd name="connsiteY68" fmla="*/ 96 h 3316502"/>
              <a:gd name="connsiteX0" fmla="*/ 2500704 w 3745816"/>
              <a:gd name="connsiteY0" fmla="*/ 2026790 h 3316502"/>
              <a:gd name="connsiteX1" fmla="*/ 2261868 w 3745816"/>
              <a:gd name="connsiteY1" fmla="*/ 2108676 h 3316502"/>
              <a:gd name="connsiteX2" fmla="*/ 2364227 w 3745816"/>
              <a:gd name="connsiteY2" fmla="*/ 2313393 h 3316502"/>
              <a:gd name="connsiteX3" fmla="*/ 2500704 w 3745816"/>
              <a:gd name="connsiteY3" fmla="*/ 2026790 h 3316502"/>
              <a:gd name="connsiteX4" fmla="*/ 1245112 w 3745816"/>
              <a:gd name="connsiteY4" fmla="*/ 2026790 h 3316502"/>
              <a:gd name="connsiteX5" fmla="*/ 1381589 w 3745816"/>
              <a:gd name="connsiteY5" fmla="*/ 2313393 h 3316502"/>
              <a:gd name="connsiteX6" fmla="*/ 1483948 w 3745816"/>
              <a:gd name="connsiteY6" fmla="*/ 2108676 h 3316502"/>
              <a:gd name="connsiteX7" fmla="*/ 1245112 w 3745816"/>
              <a:gd name="connsiteY7" fmla="*/ 2026790 h 3316502"/>
              <a:gd name="connsiteX8" fmla="*/ 3185000 w 3745816"/>
              <a:gd name="connsiteY8" fmla="*/ 1670667 h 3316502"/>
              <a:gd name="connsiteX9" fmla="*/ 3244509 w 3745816"/>
              <a:gd name="connsiteY9" fmla="*/ 1692418 h 3316502"/>
              <a:gd name="connsiteX10" fmla="*/ 3380986 w 3745816"/>
              <a:gd name="connsiteY10" fmla="*/ 1856191 h 3316502"/>
              <a:gd name="connsiteX11" fmla="*/ 3599350 w 3745816"/>
              <a:gd name="connsiteY11" fmla="*/ 1903959 h 3316502"/>
              <a:gd name="connsiteX12" fmla="*/ 3735827 w 3745816"/>
              <a:gd name="connsiteY12" fmla="*/ 2142795 h 3316502"/>
              <a:gd name="connsiteX13" fmla="*/ 3572054 w 3745816"/>
              <a:gd name="connsiteY13" fmla="*/ 2620466 h 3316502"/>
              <a:gd name="connsiteX14" fmla="*/ 3551583 w 3745816"/>
              <a:gd name="connsiteY14" fmla="*/ 3316502 h 3316502"/>
              <a:gd name="connsiteX15" fmla="*/ 3292276 w 3745816"/>
              <a:gd name="connsiteY15" fmla="*/ 3302855 h 3316502"/>
              <a:gd name="connsiteX16" fmla="*/ 3271804 w 3745816"/>
              <a:gd name="connsiteY16" fmla="*/ 2511284 h 3316502"/>
              <a:gd name="connsiteX17" fmla="*/ 3278628 w 3745816"/>
              <a:gd name="connsiteY17" fmla="*/ 2272449 h 3316502"/>
              <a:gd name="connsiteX18" fmla="*/ 3128502 w 3745816"/>
              <a:gd name="connsiteY18" fmla="*/ 2108675 h 3316502"/>
              <a:gd name="connsiteX19" fmla="*/ 2869195 w 3745816"/>
              <a:gd name="connsiteY19" fmla="*/ 2019965 h 3316502"/>
              <a:gd name="connsiteX20" fmla="*/ 3185000 w 3745816"/>
              <a:gd name="connsiteY20" fmla="*/ 1670667 h 3316502"/>
              <a:gd name="connsiteX21" fmla="*/ 560816 w 3745816"/>
              <a:gd name="connsiteY21" fmla="*/ 1670667 h 3316502"/>
              <a:gd name="connsiteX22" fmla="*/ 876621 w 3745816"/>
              <a:gd name="connsiteY22" fmla="*/ 2019965 h 3316502"/>
              <a:gd name="connsiteX23" fmla="*/ 617314 w 3745816"/>
              <a:gd name="connsiteY23" fmla="*/ 2108675 h 3316502"/>
              <a:gd name="connsiteX24" fmla="*/ 467188 w 3745816"/>
              <a:gd name="connsiteY24" fmla="*/ 2272449 h 3316502"/>
              <a:gd name="connsiteX25" fmla="*/ 474012 w 3745816"/>
              <a:gd name="connsiteY25" fmla="*/ 2511284 h 3316502"/>
              <a:gd name="connsiteX26" fmla="*/ 453540 w 3745816"/>
              <a:gd name="connsiteY26" fmla="*/ 3302855 h 3316502"/>
              <a:gd name="connsiteX27" fmla="*/ 194233 w 3745816"/>
              <a:gd name="connsiteY27" fmla="*/ 3316502 h 3316502"/>
              <a:gd name="connsiteX28" fmla="*/ 173762 w 3745816"/>
              <a:gd name="connsiteY28" fmla="*/ 2620466 h 3316502"/>
              <a:gd name="connsiteX29" fmla="*/ 9989 w 3745816"/>
              <a:gd name="connsiteY29" fmla="*/ 2142795 h 3316502"/>
              <a:gd name="connsiteX30" fmla="*/ 146466 w 3745816"/>
              <a:gd name="connsiteY30" fmla="*/ 1903959 h 3316502"/>
              <a:gd name="connsiteX31" fmla="*/ 364830 w 3745816"/>
              <a:gd name="connsiteY31" fmla="*/ 1856191 h 3316502"/>
              <a:gd name="connsiteX32" fmla="*/ 501307 w 3745816"/>
              <a:gd name="connsiteY32" fmla="*/ 1692418 h 3316502"/>
              <a:gd name="connsiteX33" fmla="*/ 560816 w 3745816"/>
              <a:gd name="connsiteY33" fmla="*/ 1670667 h 3316502"/>
              <a:gd name="connsiteX34" fmla="*/ 2609647 w 3745816"/>
              <a:gd name="connsiteY34" fmla="*/ 1003649 h 3316502"/>
              <a:gd name="connsiteX35" fmla="*/ 2234575 w 3745816"/>
              <a:gd name="connsiteY35" fmla="*/ 1385343 h 3316502"/>
              <a:gd name="connsiteX36" fmla="*/ 1968444 w 3745816"/>
              <a:gd name="connsiteY36" fmla="*/ 1951725 h 3316502"/>
              <a:gd name="connsiteX37" fmla="*/ 2248223 w 3745816"/>
              <a:gd name="connsiteY37" fmla="*/ 1897134 h 3316502"/>
              <a:gd name="connsiteX38" fmla="*/ 2644008 w 3745816"/>
              <a:gd name="connsiteY38" fmla="*/ 1010029 h 3316502"/>
              <a:gd name="connsiteX39" fmla="*/ 2609647 w 3745816"/>
              <a:gd name="connsiteY39" fmla="*/ 1003649 h 3316502"/>
              <a:gd name="connsiteX40" fmla="*/ 1136169 w 3745816"/>
              <a:gd name="connsiteY40" fmla="*/ 1003649 h 3316502"/>
              <a:gd name="connsiteX41" fmla="*/ 1101808 w 3745816"/>
              <a:gd name="connsiteY41" fmla="*/ 1010029 h 3316502"/>
              <a:gd name="connsiteX42" fmla="*/ 1497593 w 3745816"/>
              <a:gd name="connsiteY42" fmla="*/ 1897134 h 3316502"/>
              <a:gd name="connsiteX43" fmla="*/ 1777372 w 3745816"/>
              <a:gd name="connsiteY43" fmla="*/ 1951725 h 3316502"/>
              <a:gd name="connsiteX44" fmla="*/ 1511241 w 3745816"/>
              <a:gd name="connsiteY44" fmla="*/ 1385343 h 3316502"/>
              <a:gd name="connsiteX45" fmla="*/ 1136169 w 3745816"/>
              <a:gd name="connsiteY45" fmla="*/ 1003649 h 3316502"/>
              <a:gd name="connsiteX46" fmla="*/ 665081 w 3745816"/>
              <a:gd name="connsiteY46" fmla="*/ 96 h 3316502"/>
              <a:gd name="connsiteX47" fmla="*/ 1862679 w 3745816"/>
              <a:gd name="connsiteY47" fmla="*/ 634117 h 3316502"/>
              <a:gd name="connsiteX48" fmla="*/ 3080735 w 3745816"/>
              <a:gd name="connsiteY48" fmla="*/ 96 h 3316502"/>
              <a:gd name="connsiteX49" fmla="*/ 3619822 w 3745816"/>
              <a:gd name="connsiteY49" fmla="*/ 921320 h 3316502"/>
              <a:gd name="connsiteX50" fmla="*/ 3456049 w 3745816"/>
              <a:gd name="connsiteY50" fmla="*/ 955441 h 3316502"/>
              <a:gd name="connsiteX51" fmla="*/ 3370271 w 3745816"/>
              <a:gd name="connsiteY51" fmla="*/ 1159232 h 3316502"/>
              <a:gd name="connsiteX52" fmla="*/ 3189917 w 3745816"/>
              <a:gd name="connsiteY52" fmla="*/ 1317105 h 3316502"/>
              <a:gd name="connsiteX53" fmla="*/ 3155798 w 3745816"/>
              <a:gd name="connsiteY53" fmla="*/ 1596884 h 3316502"/>
              <a:gd name="connsiteX54" fmla="*/ 2848723 w 3745816"/>
              <a:gd name="connsiteY54" fmla="*/ 1842544 h 3316502"/>
              <a:gd name="connsiteX55" fmla="*/ 2650831 w 3745816"/>
              <a:gd name="connsiteY55" fmla="*/ 2518108 h 3316502"/>
              <a:gd name="connsiteX56" fmla="*/ 2193630 w 3745816"/>
              <a:gd name="connsiteY56" fmla="*/ 2531756 h 3316502"/>
              <a:gd name="connsiteX57" fmla="*/ 1941147 w 3745816"/>
              <a:gd name="connsiteY57" fmla="*/ 2211033 h 3316502"/>
              <a:gd name="connsiteX58" fmla="*/ 1872908 w 3745816"/>
              <a:gd name="connsiteY58" fmla="*/ 2313392 h 3316502"/>
              <a:gd name="connsiteX59" fmla="*/ 1804669 w 3745816"/>
              <a:gd name="connsiteY59" fmla="*/ 2211033 h 3316502"/>
              <a:gd name="connsiteX60" fmla="*/ 1552186 w 3745816"/>
              <a:gd name="connsiteY60" fmla="*/ 2531756 h 3316502"/>
              <a:gd name="connsiteX61" fmla="*/ 1094985 w 3745816"/>
              <a:gd name="connsiteY61" fmla="*/ 2518108 h 3316502"/>
              <a:gd name="connsiteX62" fmla="*/ 897093 w 3745816"/>
              <a:gd name="connsiteY62" fmla="*/ 1842544 h 3316502"/>
              <a:gd name="connsiteX63" fmla="*/ 590018 w 3745816"/>
              <a:gd name="connsiteY63" fmla="*/ 1596884 h 3316502"/>
              <a:gd name="connsiteX64" fmla="*/ 555899 w 3745816"/>
              <a:gd name="connsiteY64" fmla="*/ 1317105 h 3316502"/>
              <a:gd name="connsiteX65" fmla="*/ 380265 w 3745816"/>
              <a:gd name="connsiteY65" fmla="*/ 1173717 h 3316502"/>
              <a:gd name="connsiteX66" fmla="*/ 289767 w 3745816"/>
              <a:gd name="connsiteY66" fmla="*/ 1006142 h 3316502"/>
              <a:gd name="connsiteX67" fmla="*/ 125994 w 3745816"/>
              <a:gd name="connsiteY67" fmla="*/ 921320 h 3316502"/>
              <a:gd name="connsiteX68" fmla="*/ 665081 w 3745816"/>
              <a:gd name="connsiteY68" fmla="*/ 96 h 3316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3745816" h="3316502">
                <a:moveTo>
                  <a:pt x="2500704" y="2026790"/>
                </a:moveTo>
                <a:cubicBezTo>
                  <a:pt x="2380149" y="2047261"/>
                  <a:pt x="2334656" y="2081381"/>
                  <a:pt x="2261868" y="2108676"/>
                </a:cubicBezTo>
                <a:cubicBezTo>
                  <a:pt x="2220926" y="2245154"/>
                  <a:pt x="2248220" y="2327040"/>
                  <a:pt x="2364227" y="2313393"/>
                </a:cubicBezTo>
                <a:cubicBezTo>
                  <a:pt x="2491606" y="2272450"/>
                  <a:pt x="2502979" y="2190563"/>
                  <a:pt x="2500704" y="2026790"/>
                </a:cubicBezTo>
                <a:close/>
                <a:moveTo>
                  <a:pt x="1245112" y="2026790"/>
                </a:moveTo>
                <a:cubicBezTo>
                  <a:pt x="1242837" y="2190563"/>
                  <a:pt x="1254210" y="2272450"/>
                  <a:pt x="1381589" y="2313393"/>
                </a:cubicBezTo>
                <a:cubicBezTo>
                  <a:pt x="1497596" y="2327040"/>
                  <a:pt x="1524890" y="2245154"/>
                  <a:pt x="1483948" y="2108676"/>
                </a:cubicBezTo>
                <a:cubicBezTo>
                  <a:pt x="1411160" y="2081381"/>
                  <a:pt x="1365667" y="2047261"/>
                  <a:pt x="1245112" y="2026790"/>
                </a:cubicBezTo>
                <a:close/>
                <a:moveTo>
                  <a:pt x="3185000" y="1670667"/>
                </a:moveTo>
                <a:cubicBezTo>
                  <a:pt x="3206444" y="1672444"/>
                  <a:pt x="3226596" y="1679339"/>
                  <a:pt x="3244509" y="1692418"/>
                </a:cubicBezTo>
                <a:cubicBezTo>
                  <a:pt x="3340044" y="1731086"/>
                  <a:pt x="3210389" y="1885761"/>
                  <a:pt x="3380986" y="1856191"/>
                </a:cubicBezTo>
                <a:cubicBezTo>
                  <a:pt x="3424203" y="1826621"/>
                  <a:pt x="3528837" y="1837994"/>
                  <a:pt x="3599350" y="1903959"/>
                </a:cubicBezTo>
                <a:cubicBezTo>
                  <a:pt x="3647117" y="1983571"/>
                  <a:pt x="3783594" y="2056359"/>
                  <a:pt x="3735827" y="2142795"/>
                </a:cubicBezTo>
                <a:cubicBezTo>
                  <a:pt x="3653941" y="2374806"/>
                  <a:pt x="3606173" y="2422574"/>
                  <a:pt x="3572054" y="2620466"/>
                </a:cubicBezTo>
                <a:cubicBezTo>
                  <a:pt x="3574328" y="2882048"/>
                  <a:pt x="3542485" y="3061744"/>
                  <a:pt x="3551583" y="3316502"/>
                </a:cubicBezTo>
                <a:lnTo>
                  <a:pt x="3292276" y="3302855"/>
                </a:lnTo>
                <a:cubicBezTo>
                  <a:pt x="3310472" y="3025350"/>
                  <a:pt x="3315022" y="2788789"/>
                  <a:pt x="3271804" y="2511284"/>
                </a:cubicBezTo>
                <a:cubicBezTo>
                  <a:pt x="3217213" y="2465791"/>
                  <a:pt x="3189917" y="2399828"/>
                  <a:pt x="3278628" y="2272449"/>
                </a:cubicBezTo>
                <a:cubicBezTo>
                  <a:pt x="3244509" y="2190562"/>
                  <a:pt x="3271804" y="2142795"/>
                  <a:pt x="3128502" y="2108675"/>
                </a:cubicBezTo>
                <a:cubicBezTo>
                  <a:pt x="3042066" y="2051809"/>
                  <a:pt x="2921512" y="2165541"/>
                  <a:pt x="2869195" y="2019965"/>
                </a:cubicBezTo>
                <a:cubicBezTo>
                  <a:pt x="2821427" y="1896567"/>
                  <a:pt x="3034887" y="1658228"/>
                  <a:pt x="3185000" y="1670667"/>
                </a:cubicBezTo>
                <a:close/>
                <a:moveTo>
                  <a:pt x="560816" y="1670667"/>
                </a:moveTo>
                <a:cubicBezTo>
                  <a:pt x="710929" y="1658228"/>
                  <a:pt x="924389" y="1896567"/>
                  <a:pt x="876621" y="2019965"/>
                </a:cubicBezTo>
                <a:cubicBezTo>
                  <a:pt x="824304" y="2165541"/>
                  <a:pt x="703750" y="2051809"/>
                  <a:pt x="617314" y="2108675"/>
                </a:cubicBezTo>
                <a:cubicBezTo>
                  <a:pt x="474012" y="2142795"/>
                  <a:pt x="501307" y="2190562"/>
                  <a:pt x="467188" y="2272449"/>
                </a:cubicBezTo>
                <a:cubicBezTo>
                  <a:pt x="555899" y="2399828"/>
                  <a:pt x="528603" y="2465791"/>
                  <a:pt x="474012" y="2511284"/>
                </a:cubicBezTo>
                <a:cubicBezTo>
                  <a:pt x="430794" y="2788789"/>
                  <a:pt x="435344" y="3025350"/>
                  <a:pt x="453540" y="3302855"/>
                </a:cubicBezTo>
                <a:lnTo>
                  <a:pt x="194233" y="3316502"/>
                </a:lnTo>
                <a:cubicBezTo>
                  <a:pt x="203331" y="3061744"/>
                  <a:pt x="171488" y="2882048"/>
                  <a:pt x="173762" y="2620466"/>
                </a:cubicBezTo>
                <a:cubicBezTo>
                  <a:pt x="139643" y="2422574"/>
                  <a:pt x="91875" y="2374806"/>
                  <a:pt x="9989" y="2142795"/>
                </a:cubicBezTo>
                <a:cubicBezTo>
                  <a:pt x="-37778" y="2056359"/>
                  <a:pt x="98699" y="1983571"/>
                  <a:pt x="146466" y="1903959"/>
                </a:cubicBezTo>
                <a:cubicBezTo>
                  <a:pt x="216979" y="1837994"/>
                  <a:pt x="321613" y="1826621"/>
                  <a:pt x="364830" y="1856191"/>
                </a:cubicBezTo>
                <a:cubicBezTo>
                  <a:pt x="535427" y="1885761"/>
                  <a:pt x="405772" y="1731086"/>
                  <a:pt x="501307" y="1692418"/>
                </a:cubicBezTo>
                <a:cubicBezTo>
                  <a:pt x="519220" y="1679339"/>
                  <a:pt x="539372" y="1672444"/>
                  <a:pt x="560816" y="1670667"/>
                </a:cubicBezTo>
                <a:close/>
                <a:moveTo>
                  <a:pt x="2609647" y="1003649"/>
                </a:moveTo>
                <a:cubicBezTo>
                  <a:pt x="2444889" y="994437"/>
                  <a:pt x="2381715" y="1312839"/>
                  <a:pt x="2234575" y="1385343"/>
                </a:cubicBezTo>
                <a:cubicBezTo>
                  <a:pt x="2013936" y="1460406"/>
                  <a:pt x="1963895" y="1651474"/>
                  <a:pt x="1968444" y="1951725"/>
                </a:cubicBezTo>
                <a:cubicBezTo>
                  <a:pt x="1979817" y="2035887"/>
                  <a:pt x="2134492" y="1956274"/>
                  <a:pt x="2248223" y="1897134"/>
                </a:cubicBezTo>
                <a:cubicBezTo>
                  <a:pt x="2393799" y="1812972"/>
                  <a:pt x="2839626" y="1121486"/>
                  <a:pt x="2644008" y="1010029"/>
                </a:cubicBezTo>
                <a:cubicBezTo>
                  <a:pt x="2632066" y="1006333"/>
                  <a:pt x="2620631" y="1004263"/>
                  <a:pt x="2609647" y="1003649"/>
                </a:cubicBezTo>
                <a:close/>
                <a:moveTo>
                  <a:pt x="1136169" y="1003649"/>
                </a:moveTo>
                <a:cubicBezTo>
                  <a:pt x="1125185" y="1004263"/>
                  <a:pt x="1113750" y="1006333"/>
                  <a:pt x="1101808" y="1010029"/>
                </a:cubicBezTo>
                <a:cubicBezTo>
                  <a:pt x="906190" y="1121486"/>
                  <a:pt x="1352017" y="1812972"/>
                  <a:pt x="1497593" y="1897134"/>
                </a:cubicBezTo>
                <a:cubicBezTo>
                  <a:pt x="1611324" y="1956274"/>
                  <a:pt x="1765999" y="2035887"/>
                  <a:pt x="1777372" y="1951725"/>
                </a:cubicBezTo>
                <a:cubicBezTo>
                  <a:pt x="1781921" y="1651474"/>
                  <a:pt x="1731880" y="1460406"/>
                  <a:pt x="1511241" y="1385343"/>
                </a:cubicBezTo>
                <a:cubicBezTo>
                  <a:pt x="1364101" y="1312839"/>
                  <a:pt x="1300927" y="994437"/>
                  <a:pt x="1136169" y="1003649"/>
                </a:cubicBezTo>
                <a:close/>
                <a:moveTo>
                  <a:pt x="665081" y="96"/>
                </a:moveTo>
                <a:cubicBezTo>
                  <a:pt x="1486802" y="-2174"/>
                  <a:pt x="1309537" y="573200"/>
                  <a:pt x="1862679" y="634117"/>
                </a:cubicBezTo>
                <a:cubicBezTo>
                  <a:pt x="2415888" y="573192"/>
                  <a:pt x="2259021" y="-2174"/>
                  <a:pt x="3080735" y="96"/>
                </a:cubicBezTo>
                <a:cubicBezTo>
                  <a:pt x="3608448" y="-9003"/>
                  <a:pt x="3767673" y="636991"/>
                  <a:pt x="3619822" y="921320"/>
                </a:cubicBezTo>
                <a:cubicBezTo>
                  <a:pt x="3590251" y="1010030"/>
                  <a:pt x="3519739" y="941793"/>
                  <a:pt x="3456049" y="955441"/>
                </a:cubicBezTo>
                <a:cubicBezTo>
                  <a:pt x="3416937" y="1011300"/>
                  <a:pt x="3385716" y="1096130"/>
                  <a:pt x="3370271" y="1159232"/>
                </a:cubicBezTo>
                <a:lnTo>
                  <a:pt x="3189917" y="1317105"/>
                </a:lnTo>
                <a:cubicBezTo>
                  <a:pt x="3271804" y="1426286"/>
                  <a:pt x="3258156" y="1555942"/>
                  <a:pt x="3155798" y="1596884"/>
                </a:cubicBezTo>
                <a:cubicBezTo>
                  <a:pt x="2973828" y="1651475"/>
                  <a:pt x="2866920" y="1726538"/>
                  <a:pt x="2848723" y="1842544"/>
                </a:cubicBezTo>
                <a:cubicBezTo>
                  <a:pt x="2830525" y="2001768"/>
                  <a:pt x="2832803" y="2481714"/>
                  <a:pt x="2650831" y="2518108"/>
                </a:cubicBezTo>
                <a:cubicBezTo>
                  <a:pt x="2498431" y="2522657"/>
                  <a:pt x="2373325" y="2513559"/>
                  <a:pt x="2193630" y="2531756"/>
                </a:cubicBezTo>
                <a:cubicBezTo>
                  <a:pt x="2088997" y="2522657"/>
                  <a:pt x="1998012" y="2349785"/>
                  <a:pt x="1941147" y="2211033"/>
                </a:cubicBezTo>
                <a:lnTo>
                  <a:pt x="1872908" y="2313392"/>
                </a:lnTo>
                <a:lnTo>
                  <a:pt x="1804669" y="2211033"/>
                </a:lnTo>
                <a:cubicBezTo>
                  <a:pt x="1747804" y="2349785"/>
                  <a:pt x="1656819" y="2522657"/>
                  <a:pt x="1552186" y="2531756"/>
                </a:cubicBezTo>
                <a:cubicBezTo>
                  <a:pt x="1372491" y="2513559"/>
                  <a:pt x="1247385" y="2522657"/>
                  <a:pt x="1094985" y="2518108"/>
                </a:cubicBezTo>
                <a:cubicBezTo>
                  <a:pt x="913013" y="2481714"/>
                  <a:pt x="915291" y="2001768"/>
                  <a:pt x="897093" y="1842544"/>
                </a:cubicBezTo>
                <a:cubicBezTo>
                  <a:pt x="878896" y="1726538"/>
                  <a:pt x="771988" y="1651475"/>
                  <a:pt x="590018" y="1596884"/>
                </a:cubicBezTo>
                <a:cubicBezTo>
                  <a:pt x="487660" y="1555942"/>
                  <a:pt x="474012" y="1426286"/>
                  <a:pt x="555899" y="1317105"/>
                </a:cubicBezTo>
                <a:cubicBezTo>
                  <a:pt x="497354" y="1247580"/>
                  <a:pt x="494034" y="1228756"/>
                  <a:pt x="380265" y="1173717"/>
                </a:cubicBezTo>
                <a:cubicBezTo>
                  <a:pt x="350099" y="1122687"/>
                  <a:pt x="319933" y="1057172"/>
                  <a:pt x="289767" y="1006142"/>
                </a:cubicBezTo>
                <a:cubicBezTo>
                  <a:pt x="226077" y="992494"/>
                  <a:pt x="155565" y="1010030"/>
                  <a:pt x="125994" y="921320"/>
                </a:cubicBezTo>
                <a:cubicBezTo>
                  <a:pt x="-21857" y="636991"/>
                  <a:pt x="137368" y="-9003"/>
                  <a:pt x="665081" y="9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77" name="Rounded Rectangle 31">
            <a:extLst>
              <a:ext uri="{FF2B5EF4-FFF2-40B4-BE49-F238E27FC236}">
                <a16:creationId xmlns:a16="http://schemas.microsoft.com/office/drawing/2014/main" id="{B25FCE9B-6DC5-4836-8DD9-E737D6782AA3}"/>
              </a:ext>
            </a:extLst>
          </p:cNvPr>
          <p:cNvSpPr>
            <a:spLocks noChangeAspect="1"/>
          </p:cNvSpPr>
          <p:nvPr/>
        </p:nvSpPr>
        <p:spPr>
          <a:xfrm>
            <a:off x="4509610" y="3571006"/>
            <a:ext cx="372634" cy="529812"/>
          </a:xfrm>
          <a:custGeom>
            <a:avLst/>
            <a:gdLst/>
            <a:ahLst/>
            <a:cxnLst/>
            <a:rect l="l" t="t" r="r" b="b"/>
            <a:pathLst>
              <a:path w="2273269" h="3232141">
                <a:moveTo>
                  <a:pt x="1301358" y="1224998"/>
                </a:moveTo>
                <a:cubicBezTo>
                  <a:pt x="1288512" y="1224739"/>
                  <a:pt x="1275404" y="1226994"/>
                  <a:pt x="1262722" y="1232060"/>
                </a:cubicBezTo>
                <a:cubicBezTo>
                  <a:pt x="1224020" y="1247517"/>
                  <a:pt x="1200469" y="1284678"/>
                  <a:pt x="1200858" y="1323955"/>
                </a:cubicBezTo>
                <a:lnTo>
                  <a:pt x="1068969" y="1816173"/>
                </a:lnTo>
                <a:lnTo>
                  <a:pt x="975827" y="1468563"/>
                </a:lnTo>
                <a:cubicBezTo>
                  <a:pt x="965224" y="1428990"/>
                  <a:pt x="932065" y="1401484"/>
                  <a:pt x="893889" y="1396168"/>
                </a:cubicBezTo>
                <a:cubicBezTo>
                  <a:pt x="887581" y="1395290"/>
                  <a:pt x="881136" y="1395017"/>
                  <a:pt x="874749" y="1397368"/>
                </a:cubicBezTo>
                <a:lnTo>
                  <a:pt x="873048" y="1397069"/>
                </a:lnTo>
                <a:cubicBezTo>
                  <a:pt x="871822" y="1397102"/>
                  <a:pt x="870599" y="1397158"/>
                  <a:pt x="869409" y="1397702"/>
                </a:cubicBezTo>
                <a:lnTo>
                  <a:pt x="854690" y="1398625"/>
                </a:lnTo>
                <a:cubicBezTo>
                  <a:pt x="852870" y="1399112"/>
                  <a:pt x="851076" y="1399648"/>
                  <a:pt x="849610" y="1401148"/>
                </a:cubicBezTo>
                <a:cubicBezTo>
                  <a:pt x="820426" y="1408603"/>
                  <a:pt x="795399" y="1429720"/>
                  <a:pt x="783580" y="1459921"/>
                </a:cubicBezTo>
                <a:lnTo>
                  <a:pt x="576552" y="1988920"/>
                </a:lnTo>
                <a:lnTo>
                  <a:pt x="360960" y="1988920"/>
                </a:lnTo>
                <a:cubicBezTo>
                  <a:pt x="306335" y="1988920"/>
                  <a:pt x="262052" y="2033203"/>
                  <a:pt x="262052" y="2087828"/>
                </a:cubicBezTo>
                <a:cubicBezTo>
                  <a:pt x="262052" y="2142453"/>
                  <a:pt x="306335" y="2186736"/>
                  <a:pt x="360960" y="2186736"/>
                </a:cubicBezTo>
                <a:lnTo>
                  <a:pt x="624414" y="2186736"/>
                </a:lnTo>
                <a:cubicBezTo>
                  <a:pt x="655679" y="2194749"/>
                  <a:pt x="687884" y="2184847"/>
                  <a:pt x="710155" y="2162843"/>
                </a:cubicBezTo>
                <a:cubicBezTo>
                  <a:pt x="728043" y="2149675"/>
                  <a:pt x="740236" y="2129868"/>
                  <a:pt x="742804" y="2106901"/>
                </a:cubicBezTo>
                <a:lnTo>
                  <a:pt x="861090" y="1804659"/>
                </a:lnTo>
                <a:lnTo>
                  <a:pt x="967256" y="2200878"/>
                </a:lnTo>
                <a:cubicBezTo>
                  <a:pt x="956121" y="2251327"/>
                  <a:pt x="986997" y="2301788"/>
                  <a:pt x="1037612" y="2315350"/>
                </a:cubicBezTo>
                <a:cubicBezTo>
                  <a:pt x="1044252" y="2317129"/>
                  <a:pt x="1050915" y="2318189"/>
                  <a:pt x="1057633" y="2316605"/>
                </a:cubicBezTo>
                <a:cubicBezTo>
                  <a:pt x="1061264" y="2317900"/>
                  <a:pt x="1065062" y="2318350"/>
                  <a:pt x="1068971" y="2317315"/>
                </a:cubicBezTo>
                <a:cubicBezTo>
                  <a:pt x="1072878" y="2318349"/>
                  <a:pt x="1076674" y="2317900"/>
                  <a:pt x="1080303" y="2316605"/>
                </a:cubicBezTo>
                <a:lnTo>
                  <a:pt x="1100326" y="2315350"/>
                </a:lnTo>
                <a:cubicBezTo>
                  <a:pt x="1150941" y="2301788"/>
                  <a:pt x="1181817" y="2251327"/>
                  <a:pt x="1170682" y="2200878"/>
                </a:cubicBezTo>
                <a:lnTo>
                  <a:pt x="1320238" y="1642726"/>
                </a:lnTo>
                <a:lnTo>
                  <a:pt x="1513977" y="2127797"/>
                </a:lnTo>
                <a:cubicBezTo>
                  <a:pt x="1531567" y="2171838"/>
                  <a:pt x="1577262" y="2196260"/>
                  <a:pt x="1621871" y="2186737"/>
                </a:cubicBezTo>
                <a:lnTo>
                  <a:pt x="1878495" y="2186737"/>
                </a:lnTo>
                <a:cubicBezTo>
                  <a:pt x="1933120" y="2186737"/>
                  <a:pt x="1977403" y="2142454"/>
                  <a:pt x="1977403" y="2087829"/>
                </a:cubicBezTo>
                <a:cubicBezTo>
                  <a:pt x="1977403" y="2033204"/>
                  <a:pt x="1933120" y="1988921"/>
                  <a:pt x="1878495" y="1988921"/>
                </a:cubicBezTo>
                <a:lnTo>
                  <a:pt x="1671520" y="1988921"/>
                </a:lnTo>
                <a:lnTo>
                  <a:pt x="1391261" y="1287226"/>
                </a:lnTo>
                <a:cubicBezTo>
                  <a:pt x="1376065" y="1249180"/>
                  <a:pt x="1339894" y="1225775"/>
                  <a:pt x="1301358" y="1224998"/>
                </a:cubicBezTo>
                <a:close/>
                <a:moveTo>
                  <a:pt x="335892" y="524745"/>
                </a:moveTo>
                <a:lnTo>
                  <a:pt x="1937377" y="524745"/>
                </a:lnTo>
                <a:cubicBezTo>
                  <a:pt x="1996486" y="524745"/>
                  <a:pt x="2044403" y="572662"/>
                  <a:pt x="2044403" y="631771"/>
                </a:cubicBezTo>
                <a:lnTo>
                  <a:pt x="2044403" y="2898384"/>
                </a:lnTo>
                <a:cubicBezTo>
                  <a:pt x="2044403" y="2957493"/>
                  <a:pt x="1996486" y="3005410"/>
                  <a:pt x="1937377" y="3005410"/>
                </a:cubicBezTo>
                <a:lnTo>
                  <a:pt x="335892" y="3005410"/>
                </a:lnTo>
                <a:cubicBezTo>
                  <a:pt x="276783" y="3005410"/>
                  <a:pt x="228866" y="2957493"/>
                  <a:pt x="228866" y="2898384"/>
                </a:cubicBezTo>
                <a:lnTo>
                  <a:pt x="228866" y="631771"/>
                </a:lnTo>
                <a:cubicBezTo>
                  <a:pt x="228866" y="572662"/>
                  <a:pt x="276783" y="524745"/>
                  <a:pt x="335892" y="524745"/>
                </a:cubicBezTo>
                <a:close/>
                <a:moveTo>
                  <a:pt x="245659" y="437009"/>
                </a:moveTo>
                <a:cubicBezTo>
                  <a:pt x="179890" y="437009"/>
                  <a:pt x="126573" y="490326"/>
                  <a:pt x="126573" y="556095"/>
                </a:cubicBezTo>
                <a:lnTo>
                  <a:pt x="126573" y="2974061"/>
                </a:lnTo>
                <a:cubicBezTo>
                  <a:pt x="126573" y="3039830"/>
                  <a:pt x="179890" y="3093147"/>
                  <a:pt x="245659" y="3093147"/>
                </a:cubicBezTo>
                <a:lnTo>
                  <a:pt x="2027611" y="3093147"/>
                </a:lnTo>
                <a:cubicBezTo>
                  <a:pt x="2093380" y="3093147"/>
                  <a:pt x="2146697" y="3039830"/>
                  <a:pt x="2146697" y="2974061"/>
                </a:cubicBezTo>
                <a:lnTo>
                  <a:pt x="2146697" y="556095"/>
                </a:lnTo>
                <a:cubicBezTo>
                  <a:pt x="2146697" y="490326"/>
                  <a:pt x="2093380" y="437009"/>
                  <a:pt x="2027611" y="437009"/>
                </a:cubicBezTo>
                <a:close/>
                <a:moveTo>
                  <a:pt x="974181" y="0"/>
                </a:moveTo>
                <a:lnTo>
                  <a:pt x="1299087" y="0"/>
                </a:lnTo>
                <a:cubicBezTo>
                  <a:pt x="1327680" y="0"/>
                  <a:pt x="1350860" y="23180"/>
                  <a:pt x="1350860" y="51773"/>
                </a:cubicBezTo>
                <a:lnTo>
                  <a:pt x="1350860" y="155306"/>
                </a:lnTo>
                <a:lnTo>
                  <a:pt x="1381614" y="155306"/>
                </a:lnTo>
                <a:cubicBezTo>
                  <a:pt x="1410207" y="155306"/>
                  <a:pt x="1433387" y="178486"/>
                  <a:pt x="1433387" y="207079"/>
                </a:cubicBezTo>
                <a:lnTo>
                  <a:pt x="1433387" y="298015"/>
                </a:lnTo>
                <a:lnTo>
                  <a:pt x="2081269" y="298015"/>
                </a:lnTo>
                <a:cubicBezTo>
                  <a:pt x="2187308" y="298015"/>
                  <a:pt x="2273269" y="383976"/>
                  <a:pt x="2273269" y="490015"/>
                </a:cubicBezTo>
                <a:lnTo>
                  <a:pt x="2273269" y="3040141"/>
                </a:lnTo>
                <a:cubicBezTo>
                  <a:pt x="2273269" y="3146180"/>
                  <a:pt x="2187308" y="3232141"/>
                  <a:pt x="2081269" y="3232141"/>
                </a:cubicBezTo>
                <a:lnTo>
                  <a:pt x="192000" y="3232141"/>
                </a:lnTo>
                <a:cubicBezTo>
                  <a:pt x="85961" y="3232141"/>
                  <a:pt x="0" y="3146180"/>
                  <a:pt x="0" y="3040141"/>
                </a:cubicBezTo>
                <a:lnTo>
                  <a:pt x="0" y="490015"/>
                </a:lnTo>
                <a:cubicBezTo>
                  <a:pt x="0" y="383976"/>
                  <a:pt x="85961" y="298015"/>
                  <a:pt x="192000" y="298015"/>
                </a:cubicBezTo>
                <a:lnTo>
                  <a:pt x="839881" y="298015"/>
                </a:lnTo>
                <a:lnTo>
                  <a:pt x="839881" y="207079"/>
                </a:lnTo>
                <a:cubicBezTo>
                  <a:pt x="839881" y="178486"/>
                  <a:pt x="863061" y="155306"/>
                  <a:pt x="891654" y="155306"/>
                </a:cubicBezTo>
                <a:lnTo>
                  <a:pt x="922408" y="155306"/>
                </a:lnTo>
                <a:lnTo>
                  <a:pt x="922408" y="51773"/>
                </a:lnTo>
                <a:cubicBezTo>
                  <a:pt x="922408" y="23180"/>
                  <a:pt x="945588" y="0"/>
                  <a:pt x="974181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78" name="Oval 47">
            <a:extLst>
              <a:ext uri="{FF2B5EF4-FFF2-40B4-BE49-F238E27FC236}">
                <a16:creationId xmlns:a16="http://schemas.microsoft.com/office/drawing/2014/main" id="{2A7B72D2-455E-4647-BA7D-2D9A0D0187FB}"/>
              </a:ext>
            </a:extLst>
          </p:cNvPr>
          <p:cNvSpPr>
            <a:spLocks noChangeAspect="1"/>
          </p:cNvSpPr>
          <p:nvPr/>
        </p:nvSpPr>
        <p:spPr>
          <a:xfrm>
            <a:off x="11057974" y="2429101"/>
            <a:ext cx="529812" cy="529812"/>
          </a:xfrm>
          <a:custGeom>
            <a:avLst/>
            <a:gdLst/>
            <a:ahLst/>
            <a:cxnLst/>
            <a:rect l="l" t="t" r="r" b="b"/>
            <a:pathLst>
              <a:path w="3240000" h="3240000">
                <a:moveTo>
                  <a:pt x="1303187" y="480874"/>
                </a:moveTo>
                <a:lnTo>
                  <a:pt x="1303187" y="1303187"/>
                </a:lnTo>
                <a:lnTo>
                  <a:pt x="480874" y="1303187"/>
                </a:lnTo>
                <a:lnTo>
                  <a:pt x="480874" y="1936813"/>
                </a:lnTo>
                <a:lnTo>
                  <a:pt x="1303187" y="1936813"/>
                </a:lnTo>
                <a:lnTo>
                  <a:pt x="1303187" y="2759126"/>
                </a:lnTo>
                <a:lnTo>
                  <a:pt x="1936813" y="2759126"/>
                </a:lnTo>
                <a:lnTo>
                  <a:pt x="1936813" y="1936813"/>
                </a:lnTo>
                <a:lnTo>
                  <a:pt x="2759126" y="1936813"/>
                </a:lnTo>
                <a:lnTo>
                  <a:pt x="2759126" y="1303187"/>
                </a:lnTo>
                <a:lnTo>
                  <a:pt x="1936813" y="1303187"/>
                </a:lnTo>
                <a:lnTo>
                  <a:pt x="1936813" y="480874"/>
                </a:lnTo>
                <a:close/>
                <a:moveTo>
                  <a:pt x="1620000" y="0"/>
                </a:moveTo>
                <a:cubicBezTo>
                  <a:pt x="2514701" y="0"/>
                  <a:pt x="3240000" y="725299"/>
                  <a:pt x="3240000" y="1620000"/>
                </a:cubicBezTo>
                <a:cubicBezTo>
                  <a:pt x="3240000" y="2514701"/>
                  <a:pt x="2514701" y="3240000"/>
                  <a:pt x="1620000" y="3240000"/>
                </a:cubicBezTo>
                <a:cubicBezTo>
                  <a:pt x="725299" y="3240000"/>
                  <a:pt x="0" y="2514701"/>
                  <a:pt x="0" y="1620000"/>
                </a:cubicBezTo>
                <a:cubicBezTo>
                  <a:pt x="0" y="725299"/>
                  <a:pt x="725299" y="0"/>
                  <a:pt x="1620000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79" name="Oval 50">
            <a:extLst>
              <a:ext uri="{FF2B5EF4-FFF2-40B4-BE49-F238E27FC236}">
                <a16:creationId xmlns:a16="http://schemas.microsoft.com/office/drawing/2014/main" id="{91CDD124-ED61-4ED3-81C2-B526853B9B84}"/>
              </a:ext>
            </a:extLst>
          </p:cNvPr>
          <p:cNvSpPr>
            <a:spLocks noChangeAspect="1"/>
          </p:cNvSpPr>
          <p:nvPr/>
        </p:nvSpPr>
        <p:spPr>
          <a:xfrm>
            <a:off x="5308362" y="3571006"/>
            <a:ext cx="469094" cy="529812"/>
          </a:xfrm>
          <a:custGeom>
            <a:avLst/>
            <a:gdLst/>
            <a:ahLst/>
            <a:cxnLst/>
            <a:rect l="l" t="t" r="r" b="b"/>
            <a:pathLst>
              <a:path w="2868687" h="3240000">
                <a:moveTo>
                  <a:pt x="1433799" y="2290728"/>
                </a:moveTo>
                <a:cubicBezTo>
                  <a:pt x="1317650" y="2346839"/>
                  <a:pt x="1203301" y="2394700"/>
                  <a:pt x="1093028" y="2434329"/>
                </a:cubicBezTo>
                <a:cubicBezTo>
                  <a:pt x="1167481" y="2812207"/>
                  <a:pt x="1292592" y="3060000"/>
                  <a:pt x="1434343" y="3060000"/>
                </a:cubicBezTo>
                <a:cubicBezTo>
                  <a:pt x="1576138" y="3060000"/>
                  <a:pt x="1701284" y="2812053"/>
                  <a:pt x="1774025" y="2433735"/>
                </a:cubicBezTo>
                <a:cubicBezTo>
                  <a:pt x="1663854" y="2394452"/>
                  <a:pt x="1549823" y="2346469"/>
                  <a:pt x="1433799" y="2290728"/>
                </a:cubicBezTo>
                <a:close/>
                <a:moveTo>
                  <a:pt x="1824954" y="2078037"/>
                </a:moveTo>
                <a:cubicBezTo>
                  <a:pt x="1794480" y="2097450"/>
                  <a:pt x="1763147" y="2116057"/>
                  <a:pt x="1731343" y="2134419"/>
                </a:cubicBezTo>
                <a:lnTo>
                  <a:pt x="1635415" y="2187161"/>
                </a:lnTo>
                <a:cubicBezTo>
                  <a:pt x="1691788" y="2215044"/>
                  <a:pt x="1747931" y="2239109"/>
                  <a:pt x="1803378" y="2259350"/>
                </a:cubicBezTo>
                <a:cubicBezTo>
                  <a:pt x="1812120" y="2201101"/>
                  <a:pt x="1819148" y="2140526"/>
                  <a:pt x="1824954" y="2078037"/>
                </a:cubicBezTo>
                <a:close/>
                <a:moveTo>
                  <a:pt x="1042306" y="2077178"/>
                </a:moveTo>
                <a:cubicBezTo>
                  <a:pt x="1047949" y="2140175"/>
                  <a:pt x="1055328" y="2201182"/>
                  <a:pt x="1063873" y="2259905"/>
                </a:cubicBezTo>
                <a:cubicBezTo>
                  <a:pt x="1119365" y="2238275"/>
                  <a:pt x="1176217" y="2214355"/>
                  <a:pt x="1233887" y="2187801"/>
                </a:cubicBezTo>
                <a:cubicBezTo>
                  <a:pt x="1201538" y="2170955"/>
                  <a:pt x="1169452" y="2152957"/>
                  <a:pt x="1137343" y="2134419"/>
                </a:cubicBezTo>
                <a:close/>
                <a:moveTo>
                  <a:pt x="559768" y="1732679"/>
                </a:moveTo>
                <a:cubicBezTo>
                  <a:pt x="268524" y="1984850"/>
                  <a:pt x="116369" y="2217202"/>
                  <a:pt x="187266" y="2340000"/>
                </a:cubicBezTo>
                <a:cubicBezTo>
                  <a:pt x="258144" y="2462764"/>
                  <a:pt x="535307" y="2447213"/>
                  <a:pt x="899736" y="2322555"/>
                </a:cubicBezTo>
                <a:cubicBezTo>
                  <a:pt x="878937" y="2207297"/>
                  <a:pt x="863223" y="2084405"/>
                  <a:pt x="853746" y="1955834"/>
                </a:cubicBezTo>
                <a:cubicBezTo>
                  <a:pt x="747454" y="1883220"/>
                  <a:pt x="648878" y="1808453"/>
                  <a:pt x="559768" y="1732679"/>
                </a:cubicBezTo>
                <a:close/>
                <a:moveTo>
                  <a:pt x="2309048" y="1730507"/>
                </a:moveTo>
                <a:cubicBezTo>
                  <a:pt x="2220666" y="1807660"/>
                  <a:pt x="2121792" y="1882664"/>
                  <a:pt x="2015235" y="1955625"/>
                </a:cubicBezTo>
                <a:cubicBezTo>
                  <a:pt x="2005364" y="2084180"/>
                  <a:pt x="1989894" y="2207119"/>
                  <a:pt x="1967330" y="2322070"/>
                </a:cubicBezTo>
                <a:lnTo>
                  <a:pt x="2081685" y="2358048"/>
                </a:lnTo>
                <a:cubicBezTo>
                  <a:pt x="2116015" y="2320492"/>
                  <a:pt x="2165526" y="2297468"/>
                  <a:pt x="2220415" y="2297468"/>
                </a:cubicBezTo>
                <a:cubicBezTo>
                  <a:pt x="2302230" y="2297468"/>
                  <a:pt x="2372097" y="2348622"/>
                  <a:pt x="2399287" y="2420880"/>
                </a:cubicBezTo>
                <a:cubicBezTo>
                  <a:pt x="2542053" y="2432945"/>
                  <a:pt x="2642630" y="2407186"/>
                  <a:pt x="2681420" y="2340000"/>
                </a:cubicBezTo>
                <a:cubicBezTo>
                  <a:pt x="2752393" y="2217071"/>
                  <a:pt x="2599836" y="1984353"/>
                  <a:pt x="2309048" y="1730507"/>
                </a:cubicBezTo>
                <a:close/>
                <a:moveTo>
                  <a:pt x="2026056" y="1510554"/>
                </a:moveTo>
                <a:cubicBezTo>
                  <a:pt x="2027893" y="1546708"/>
                  <a:pt x="2028343" y="1583211"/>
                  <a:pt x="2028343" y="1620000"/>
                </a:cubicBezTo>
                <a:lnTo>
                  <a:pt x="2024251" y="1730716"/>
                </a:lnTo>
                <a:lnTo>
                  <a:pt x="2173722" y="1619092"/>
                </a:lnTo>
                <a:cubicBezTo>
                  <a:pt x="2127526" y="1582190"/>
                  <a:pt x="2078507" y="1545517"/>
                  <a:pt x="2026056" y="1510554"/>
                </a:cubicBezTo>
                <a:close/>
                <a:moveTo>
                  <a:pt x="844436" y="1509285"/>
                </a:moveTo>
                <a:lnTo>
                  <a:pt x="694964" y="1620908"/>
                </a:lnTo>
                <a:cubicBezTo>
                  <a:pt x="741160" y="1657811"/>
                  <a:pt x="790179" y="1694484"/>
                  <a:pt x="842630" y="1729447"/>
                </a:cubicBezTo>
                <a:cubicBezTo>
                  <a:pt x="840793" y="1693293"/>
                  <a:pt x="840343" y="1656790"/>
                  <a:pt x="840343" y="1620000"/>
                </a:cubicBezTo>
                <a:close/>
                <a:moveTo>
                  <a:pt x="1434343" y="1361184"/>
                </a:moveTo>
                <a:cubicBezTo>
                  <a:pt x="1573534" y="1361184"/>
                  <a:pt x="1686371" y="1474021"/>
                  <a:pt x="1686371" y="1613212"/>
                </a:cubicBezTo>
                <a:cubicBezTo>
                  <a:pt x="1686371" y="1752403"/>
                  <a:pt x="1573534" y="1865240"/>
                  <a:pt x="1434343" y="1865240"/>
                </a:cubicBezTo>
                <a:cubicBezTo>
                  <a:pt x="1295152" y="1865240"/>
                  <a:pt x="1182315" y="1752403"/>
                  <a:pt x="1182315" y="1613212"/>
                </a:cubicBezTo>
                <a:cubicBezTo>
                  <a:pt x="1182315" y="1474021"/>
                  <a:pt x="1295152" y="1361184"/>
                  <a:pt x="1434343" y="1361184"/>
                </a:cubicBezTo>
                <a:close/>
                <a:moveTo>
                  <a:pt x="1433770" y="1149513"/>
                </a:moveTo>
                <a:cubicBezTo>
                  <a:pt x="1365445" y="1183896"/>
                  <a:pt x="1296585" y="1221489"/>
                  <a:pt x="1227343" y="1261466"/>
                </a:cubicBezTo>
                <a:lnTo>
                  <a:pt x="1027157" y="1384911"/>
                </a:lnTo>
                <a:cubicBezTo>
                  <a:pt x="1022222" y="1461370"/>
                  <a:pt x="1020343" y="1539922"/>
                  <a:pt x="1020343" y="1620000"/>
                </a:cubicBezTo>
                <a:lnTo>
                  <a:pt x="1028287" y="1855786"/>
                </a:lnTo>
                <a:cubicBezTo>
                  <a:pt x="1091680" y="1898065"/>
                  <a:pt x="1158394" y="1938727"/>
                  <a:pt x="1227343" y="1978535"/>
                </a:cubicBezTo>
                <a:lnTo>
                  <a:pt x="1434916" y="2090488"/>
                </a:lnTo>
                <a:cubicBezTo>
                  <a:pt x="1503241" y="2056105"/>
                  <a:pt x="1572101" y="2018511"/>
                  <a:pt x="1641343" y="1978535"/>
                </a:cubicBezTo>
                <a:lnTo>
                  <a:pt x="1841530" y="1855090"/>
                </a:lnTo>
                <a:cubicBezTo>
                  <a:pt x="1846464" y="1778631"/>
                  <a:pt x="1848343" y="1700079"/>
                  <a:pt x="1848343" y="1620000"/>
                </a:cubicBezTo>
                <a:lnTo>
                  <a:pt x="1840399" y="1384214"/>
                </a:lnTo>
                <a:cubicBezTo>
                  <a:pt x="1777006" y="1341936"/>
                  <a:pt x="1710293" y="1301274"/>
                  <a:pt x="1641343" y="1261466"/>
                </a:cubicBezTo>
                <a:close/>
                <a:moveTo>
                  <a:pt x="1065308" y="980650"/>
                </a:moveTo>
                <a:cubicBezTo>
                  <a:pt x="1056566" y="1038899"/>
                  <a:pt x="1049538" y="1099475"/>
                  <a:pt x="1043732" y="1161964"/>
                </a:cubicBezTo>
                <a:cubicBezTo>
                  <a:pt x="1074206" y="1142551"/>
                  <a:pt x="1105539" y="1123943"/>
                  <a:pt x="1137343" y="1105581"/>
                </a:cubicBezTo>
                <a:lnTo>
                  <a:pt x="1233271" y="1052839"/>
                </a:lnTo>
                <a:cubicBezTo>
                  <a:pt x="1176898" y="1024957"/>
                  <a:pt x="1120756" y="1000892"/>
                  <a:pt x="1065308" y="980650"/>
                </a:cubicBezTo>
                <a:close/>
                <a:moveTo>
                  <a:pt x="1804814" y="980095"/>
                </a:moveTo>
                <a:cubicBezTo>
                  <a:pt x="1749321" y="1001726"/>
                  <a:pt x="1692469" y="1025646"/>
                  <a:pt x="1634800" y="1052200"/>
                </a:cubicBezTo>
                <a:cubicBezTo>
                  <a:pt x="1667149" y="1069046"/>
                  <a:pt x="1699234" y="1087043"/>
                  <a:pt x="1731343" y="1105581"/>
                </a:cubicBezTo>
                <a:lnTo>
                  <a:pt x="1826380" y="1162822"/>
                </a:lnTo>
                <a:cubicBezTo>
                  <a:pt x="1820738" y="1099825"/>
                  <a:pt x="1813359" y="1038819"/>
                  <a:pt x="1804814" y="980095"/>
                </a:cubicBezTo>
                <a:close/>
                <a:moveTo>
                  <a:pt x="2432236" y="816002"/>
                </a:moveTo>
                <a:cubicBezTo>
                  <a:pt x="2308930" y="820546"/>
                  <a:pt x="2149627" y="855445"/>
                  <a:pt x="1968950" y="917446"/>
                </a:cubicBezTo>
                <a:cubicBezTo>
                  <a:pt x="1989749" y="1032703"/>
                  <a:pt x="2005463" y="1155596"/>
                  <a:pt x="2014941" y="1284167"/>
                </a:cubicBezTo>
                <a:cubicBezTo>
                  <a:pt x="2121232" y="1356780"/>
                  <a:pt x="2219808" y="1431548"/>
                  <a:pt x="2308918" y="1507322"/>
                </a:cubicBezTo>
                <a:cubicBezTo>
                  <a:pt x="2600162" y="1255150"/>
                  <a:pt x="2752317" y="1022798"/>
                  <a:pt x="2681420" y="900000"/>
                </a:cubicBezTo>
                <a:cubicBezTo>
                  <a:pt x="2645694" y="838121"/>
                  <a:pt x="2557557" y="811383"/>
                  <a:pt x="2432236" y="816002"/>
                </a:cubicBezTo>
                <a:close/>
                <a:moveTo>
                  <a:pt x="436450" y="816001"/>
                </a:moveTo>
                <a:cubicBezTo>
                  <a:pt x="311129" y="811383"/>
                  <a:pt x="222992" y="838121"/>
                  <a:pt x="187266" y="900000"/>
                </a:cubicBezTo>
                <a:cubicBezTo>
                  <a:pt x="158404" y="949991"/>
                  <a:pt x="166508" y="1018139"/>
                  <a:pt x="206887" y="1097970"/>
                </a:cubicBezTo>
                <a:cubicBezTo>
                  <a:pt x="213842" y="1096217"/>
                  <a:pt x="221021" y="1095812"/>
                  <a:pt x="228294" y="1095812"/>
                </a:cubicBezTo>
                <a:cubicBezTo>
                  <a:pt x="334372" y="1095812"/>
                  <a:pt x="420366" y="1181806"/>
                  <a:pt x="420366" y="1287884"/>
                </a:cubicBezTo>
                <a:cubicBezTo>
                  <a:pt x="420366" y="1314219"/>
                  <a:pt x="415066" y="1339317"/>
                  <a:pt x="405427" y="1362148"/>
                </a:cubicBezTo>
                <a:cubicBezTo>
                  <a:pt x="450585" y="1410442"/>
                  <a:pt x="502437" y="1459559"/>
                  <a:pt x="559639" y="1509493"/>
                </a:cubicBezTo>
                <a:cubicBezTo>
                  <a:pt x="648020" y="1432341"/>
                  <a:pt x="746894" y="1357336"/>
                  <a:pt x="853451" y="1284376"/>
                </a:cubicBezTo>
                <a:cubicBezTo>
                  <a:pt x="863322" y="1155820"/>
                  <a:pt x="878792" y="1032881"/>
                  <a:pt x="901357" y="917930"/>
                </a:cubicBezTo>
                <a:cubicBezTo>
                  <a:pt x="719999" y="855651"/>
                  <a:pt x="560119" y="820559"/>
                  <a:pt x="436450" y="816001"/>
                </a:cubicBezTo>
                <a:close/>
                <a:moveTo>
                  <a:pt x="1434343" y="180000"/>
                </a:moveTo>
                <a:cubicBezTo>
                  <a:pt x="1292548" y="180000"/>
                  <a:pt x="1167402" y="427948"/>
                  <a:pt x="1094661" y="806265"/>
                </a:cubicBezTo>
                <a:cubicBezTo>
                  <a:pt x="1204832" y="845548"/>
                  <a:pt x="1318864" y="893532"/>
                  <a:pt x="1434887" y="949272"/>
                </a:cubicBezTo>
                <a:cubicBezTo>
                  <a:pt x="1551037" y="893162"/>
                  <a:pt x="1665385" y="845301"/>
                  <a:pt x="1775658" y="805671"/>
                </a:cubicBezTo>
                <a:cubicBezTo>
                  <a:pt x="1751860" y="684885"/>
                  <a:pt x="1722886" y="577390"/>
                  <a:pt x="1688823" y="487405"/>
                </a:cubicBezTo>
                <a:cubicBezTo>
                  <a:pt x="1688009" y="487647"/>
                  <a:pt x="1687191" y="487652"/>
                  <a:pt x="1686371" y="487652"/>
                </a:cubicBezTo>
                <a:cubicBezTo>
                  <a:pt x="1580293" y="487652"/>
                  <a:pt x="1494299" y="401658"/>
                  <a:pt x="1494299" y="295580"/>
                </a:cubicBezTo>
                <a:cubicBezTo>
                  <a:pt x="1494299" y="264819"/>
                  <a:pt x="1501530" y="235747"/>
                  <a:pt x="1516122" y="210837"/>
                </a:cubicBezTo>
                <a:cubicBezTo>
                  <a:pt x="1490583" y="189985"/>
                  <a:pt x="1462798" y="180000"/>
                  <a:pt x="1434343" y="180000"/>
                </a:cubicBezTo>
                <a:close/>
                <a:moveTo>
                  <a:pt x="1434343" y="0"/>
                </a:moveTo>
                <a:cubicBezTo>
                  <a:pt x="1509303" y="0"/>
                  <a:pt x="1581019" y="37868"/>
                  <a:pt x="1646062" y="107907"/>
                </a:cubicBezTo>
                <a:cubicBezTo>
                  <a:pt x="1659037" y="104972"/>
                  <a:pt x="1672533" y="103508"/>
                  <a:pt x="1686371" y="103508"/>
                </a:cubicBezTo>
                <a:cubicBezTo>
                  <a:pt x="1792449" y="103508"/>
                  <a:pt x="1878443" y="189502"/>
                  <a:pt x="1878443" y="295580"/>
                </a:cubicBezTo>
                <a:cubicBezTo>
                  <a:pt x="1878443" y="342831"/>
                  <a:pt x="1861381" y="386097"/>
                  <a:pt x="1831228" y="417985"/>
                </a:cubicBezTo>
                <a:cubicBezTo>
                  <a:pt x="1871860" y="515668"/>
                  <a:pt x="1906636" y="628220"/>
                  <a:pt x="1935357" y="752219"/>
                </a:cubicBezTo>
                <a:cubicBezTo>
                  <a:pt x="2379384" y="616814"/>
                  <a:pt x="2731816" y="627289"/>
                  <a:pt x="2837304" y="810000"/>
                </a:cubicBezTo>
                <a:cubicBezTo>
                  <a:pt x="2942793" y="992711"/>
                  <a:pt x="2775650" y="1303161"/>
                  <a:pt x="2436521" y="1620139"/>
                </a:cubicBezTo>
                <a:cubicBezTo>
                  <a:pt x="2775698" y="1936928"/>
                  <a:pt x="2942777" y="2247316"/>
                  <a:pt x="2837304" y="2430000"/>
                </a:cubicBezTo>
                <a:cubicBezTo>
                  <a:pt x="2771439" y="2544083"/>
                  <a:pt x="2609300" y="2591017"/>
                  <a:pt x="2388706" y="2577188"/>
                </a:cubicBezTo>
                <a:cubicBezTo>
                  <a:pt x="2358753" y="2639691"/>
                  <a:pt x="2294480" y="2681612"/>
                  <a:pt x="2220415" y="2681612"/>
                </a:cubicBezTo>
                <a:cubicBezTo>
                  <a:pt x="2122541" y="2681612"/>
                  <a:pt x="2041764" y="2608405"/>
                  <a:pt x="2030773" y="2513644"/>
                </a:cubicBezTo>
                <a:cubicBezTo>
                  <a:pt x="1999304" y="2506661"/>
                  <a:pt x="1967635" y="2497623"/>
                  <a:pt x="1935485" y="2487821"/>
                </a:cubicBezTo>
                <a:cubicBezTo>
                  <a:pt x="1830610" y="2940018"/>
                  <a:pt x="1645322" y="3240000"/>
                  <a:pt x="1434343" y="3240000"/>
                </a:cubicBezTo>
                <a:cubicBezTo>
                  <a:pt x="1223366" y="3240000"/>
                  <a:pt x="1038079" y="2940023"/>
                  <a:pt x="933330" y="2487781"/>
                </a:cubicBezTo>
                <a:cubicBezTo>
                  <a:pt x="489302" y="2623186"/>
                  <a:pt x="136870" y="2612712"/>
                  <a:pt x="31382" y="2430000"/>
                </a:cubicBezTo>
                <a:cubicBezTo>
                  <a:pt x="-74106" y="2247290"/>
                  <a:pt x="93037" y="1936840"/>
                  <a:pt x="432165" y="1619862"/>
                </a:cubicBezTo>
                <a:cubicBezTo>
                  <a:pt x="378689" y="1569916"/>
                  <a:pt x="329491" y="1520128"/>
                  <a:pt x="285801" y="1470219"/>
                </a:cubicBezTo>
                <a:cubicBezTo>
                  <a:pt x="267844" y="1476857"/>
                  <a:pt x="248431" y="1479956"/>
                  <a:pt x="228294" y="1479956"/>
                </a:cubicBezTo>
                <a:cubicBezTo>
                  <a:pt x="122216" y="1479956"/>
                  <a:pt x="36222" y="1393962"/>
                  <a:pt x="36222" y="1287884"/>
                </a:cubicBezTo>
                <a:cubicBezTo>
                  <a:pt x="36222" y="1246866"/>
                  <a:pt x="49080" y="1208850"/>
                  <a:pt x="73868" y="1179672"/>
                </a:cubicBezTo>
                <a:cubicBezTo>
                  <a:pt x="-4733" y="1033688"/>
                  <a:pt x="-23287" y="904690"/>
                  <a:pt x="31382" y="810000"/>
                </a:cubicBezTo>
                <a:cubicBezTo>
                  <a:pt x="136860" y="627306"/>
                  <a:pt x="489234" y="616816"/>
                  <a:pt x="933201" y="752179"/>
                </a:cubicBezTo>
                <a:cubicBezTo>
                  <a:pt x="1038076" y="299982"/>
                  <a:pt x="1223365" y="0"/>
                  <a:pt x="143434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80" name="Heart 17">
            <a:extLst>
              <a:ext uri="{FF2B5EF4-FFF2-40B4-BE49-F238E27FC236}">
                <a16:creationId xmlns:a16="http://schemas.microsoft.com/office/drawing/2014/main" id="{FD25AA3C-FD36-4FC1-9406-60F9CCE3DC0D}"/>
              </a:ext>
            </a:extLst>
          </p:cNvPr>
          <p:cNvSpPr/>
          <p:nvPr/>
        </p:nvSpPr>
        <p:spPr>
          <a:xfrm>
            <a:off x="7846544" y="3588496"/>
            <a:ext cx="501299" cy="491506"/>
          </a:xfrm>
          <a:custGeom>
            <a:avLst/>
            <a:gdLst/>
            <a:ahLst/>
            <a:cxnLst/>
            <a:rect l="l" t="t" r="r" b="b"/>
            <a:pathLst>
              <a:path w="3263621" h="3199863">
                <a:moveTo>
                  <a:pt x="1896188" y="786599"/>
                </a:moveTo>
                <a:cubicBezTo>
                  <a:pt x="1878938" y="786251"/>
                  <a:pt x="1861335" y="789280"/>
                  <a:pt x="1844305" y="796082"/>
                </a:cubicBezTo>
                <a:cubicBezTo>
                  <a:pt x="1792333" y="816839"/>
                  <a:pt x="1760707" y="866742"/>
                  <a:pt x="1761231" y="919486"/>
                </a:cubicBezTo>
                <a:lnTo>
                  <a:pt x="1573886" y="1618665"/>
                </a:lnTo>
                <a:lnTo>
                  <a:pt x="1438574" y="1113672"/>
                </a:lnTo>
                <a:cubicBezTo>
                  <a:pt x="1424335" y="1060531"/>
                  <a:pt x="1379808" y="1023594"/>
                  <a:pt x="1328543" y="1016456"/>
                </a:cubicBezTo>
                <a:cubicBezTo>
                  <a:pt x="1320071" y="1015276"/>
                  <a:pt x="1311415" y="1014911"/>
                  <a:pt x="1302836" y="1018067"/>
                </a:cubicBezTo>
                <a:lnTo>
                  <a:pt x="1300556" y="1017667"/>
                </a:lnTo>
                <a:cubicBezTo>
                  <a:pt x="1298914" y="1017711"/>
                  <a:pt x="1297275" y="1017786"/>
                  <a:pt x="1295680" y="1018515"/>
                </a:cubicBezTo>
                <a:lnTo>
                  <a:pt x="1275904" y="1019755"/>
                </a:lnTo>
                <a:cubicBezTo>
                  <a:pt x="1273459" y="1020410"/>
                  <a:pt x="1271049" y="1021129"/>
                  <a:pt x="1269080" y="1023145"/>
                </a:cubicBezTo>
                <a:cubicBezTo>
                  <a:pt x="1229892" y="1033156"/>
                  <a:pt x="1196286" y="1061513"/>
                  <a:pt x="1180414" y="1102068"/>
                </a:cubicBezTo>
                <a:lnTo>
                  <a:pt x="902406" y="1812437"/>
                </a:lnTo>
                <a:lnTo>
                  <a:pt x="612897" y="1812437"/>
                </a:lnTo>
                <a:cubicBezTo>
                  <a:pt x="539543" y="1812437"/>
                  <a:pt x="480078" y="1871902"/>
                  <a:pt x="480078" y="1945256"/>
                </a:cubicBezTo>
                <a:cubicBezTo>
                  <a:pt x="480078" y="2018610"/>
                  <a:pt x="539543" y="2078075"/>
                  <a:pt x="612897" y="2078075"/>
                </a:cubicBezTo>
                <a:lnTo>
                  <a:pt x="966673" y="2078075"/>
                </a:lnTo>
                <a:cubicBezTo>
                  <a:pt x="1008666" y="2088839"/>
                  <a:pt x="1051924" y="2075535"/>
                  <a:pt x="1081835" y="2045978"/>
                </a:cubicBezTo>
                <a:cubicBezTo>
                  <a:pt x="1105846" y="2028294"/>
                  <a:pt x="1122213" y="2001701"/>
                  <a:pt x="1125659" y="1970866"/>
                </a:cubicBezTo>
                <a:lnTo>
                  <a:pt x="1284498" y="1565001"/>
                </a:lnTo>
                <a:lnTo>
                  <a:pt x="1443089" y="2156868"/>
                </a:lnTo>
                <a:cubicBezTo>
                  <a:pt x="1455914" y="2204733"/>
                  <a:pt x="1493311" y="2239452"/>
                  <a:pt x="1538593" y="2249086"/>
                </a:cubicBezTo>
                <a:lnTo>
                  <a:pt x="1542015" y="2250785"/>
                </a:lnTo>
                <a:cubicBezTo>
                  <a:pt x="1542604" y="2250943"/>
                  <a:pt x="1543193" y="2251097"/>
                  <a:pt x="1543870" y="2250902"/>
                </a:cubicBezTo>
                <a:cubicBezTo>
                  <a:pt x="1553422" y="2254514"/>
                  <a:pt x="1563610" y="2255524"/>
                  <a:pt x="1573886" y="2252783"/>
                </a:cubicBezTo>
                <a:cubicBezTo>
                  <a:pt x="1584162" y="2255524"/>
                  <a:pt x="1594351" y="2254515"/>
                  <a:pt x="1603903" y="2250901"/>
                </a:cubicBezTo>
                <a:lnTo>
                  <a:pt x="1605758" y="2250785"/>
                </a:lnTo>
                <a:cubicBezTo>
                  <a:pt x="1606974" y="2250459"/>
                  <a:pt x="1608181" y="2250118"/>
                  <a:pt x="1609178" y="2249086"/>
                </a:cubicBezTo>
                <a:cubicBezTo>
                  <a:pt x="1654461" y="2239453"/>
                  <a:pt x="1691859" y="2204734"/>
                  <a:pt x="1704684" y="2156868"/>
                </a:cubicBezTo>
                <a:lnTo>
                  <a:pt x="1921541" y="1347547"/>
                </a:lnTo>
                <a:lnTo>
                  <a:pt x="2181705" y="1998928"/>
                </a:lnTo>
                <a:cubicBezTo>
                  <a:pt x="2205326" y="2058070"/>
                  <a:pt x="2266689" y="2090865"/>
                  <a:pt x="2326593" y="2078075"/>
                </a:cubicBezTo>
                <a:lnTo>
                  <a:pt x="2671200" y="2078075"/>
                </a:lnTo>
                <a:cubicBezTo>
                  <a:pt x="2744554" y="2078075"/>
                  <a:pt x="2804019" y="2018610"/>
                  <a:pt x="2804019" y="1945256"/>
                </a:cubicBezTo>
                <a:cubicBezTo>
                  <a:pt x="2804019" y="1871902"/>
                  <a:pt x="2744554" y="1812437"/>
                  <a:pt x="2671200" y="1812437"/>
                </a:cubicBezTo>
                <a:lnTo>
                  <a:pt x="2393261" y="1812437"/>
                </a:lnTo>
                <a:lnTo>
                  <a:pt x="2016914" y="870162"/>
                </a:lnTo>
                <a:cubicBezTo>
                  <a:pt x="1996508" y="819071"/>
                  <a:pt x="1947937" y="787642"/>
                  <a:pt x="1896188" y="786599"/>
                </a:cubicBezTo>
                <a:close/>
                <a:moveTo>
                  <a:pt x="773454" y="106"/>
                </a:moveTo>
                <a:cubicBezTo>
                  <a:pt x="1097282" y="5742"/>
                  <a:pt x="1441967" y="238301"/>
                  <a:pt x="1631811" y="769863"/>
                </a:cubicBezTo>
                <a:cubicBezTo>
                  <a:pt x="2306811" y="-1120137"/>
                  <a:pt x="4939311" y="769863"/>
                  <a:pt x="1631811" y="3199863"/>
                </a:cubicBezTo>
                <a:cubicBezTo>
                  <a:pt x="-745455" y="1453301"/>
                  <a:pt x="-54107" y="-14297"/>
                  <a:pt x="773454" y="10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81" name="Rounded Rectangle 25">
            <a:extLst>
              <a:ext uri="{FF2B5EF4-FFF2-40B4-BE49-F238E27FC236}">
                <a16:creationId xmlns:a16="http://schemas.microsoft.com/office/drawing/2014/main" id="{A53FDB1A-403D-4EBD-8EB6-3E1911FAEEC5}"/>
              </a:ext>
            </a:extLst>
          </p:cNvPr>
          <p:cNvSpPr/>
          <p:nvPr/>
        </p:nvSpPr>
        <p:spPr>
          <a:xfrm>
            <a:off x="6982048" y="3626197"/>
            <a:ext cx="497670" cy="419433"/>
          </a:xfrm>
          <a:custGeom>
            <a:avLst/>
            <a:gdLst/>
            <a:ahLst/>
            <a:cxnLst/>
            <a:rect l="l" t="t" r="r" b="b"/>
            <a:pathLst>
              <a:path w="3240000" h="2730652">
                <a:moveTo>
                  <a:pt x="1452811" y="1541940"/>
                </a:moveTo>
                <a:lnTo>
                  <a:pt x="1452811" y="1831951"/>
                </a:lnTo>
                <a:lnTo>
                  <a:pt x="1162800" y="1831951"/>
                </a:lnTo>
                <a:lnTo>
                  <a:pt x="1162800" y="2166329"/>
                </a:lnTo>
                <a:lnTo>
                  <a:pt x="1452811" y="2166329"/>
                </a:lnTo>
                <a:lnTo>
                  <a:pt x="1452811" y="2456340"/>
                </a:lnTo>
                <a:lnTo>
                  <a:pt x="1787189" y="2456340"/>
                </a:lnTo>
                <a:lnTo>
                  <a:pt x="1787189" y="2166329"/>
                </a:lnTo>
                <a:lnTo>
                  <a:pt x="2077200" y="2166329"/>
                </a:lnTo>
                <a:lnTo>
                  <a:pt x="2077200" y="1831951"/>
                </a:lnTo>
                <a:lnTo>
                  <a:pt x="1787189" y="1831951"/>
                </a:lnTo>
                <a:lnTo>
                  <a:pt x="1787189" y="1541940"/>
                </a:lnTo>
                <a:close/>
                <a:moveTo>
                  <a:pt x="0" y="1278453"/>
                </a:moveTo>
                <a:lnTo>
                  <a:pt x="3240000" y="1278453"/>
                </a:lnTo>
                <a:lnTo>
                  <a:pt x="3240000" y="2376509"/>
                </a:lnTo>
                <a:cubicBezTo>
                  <a:pt x="3240000" y="2572097"/>
                  <a:pt x="3081445" y="2730652"/>
                  <a:pt x="2885857" y="2730652"/>
                </a:cubicBezTo>
                <a:lnTo>
                  <a:pt x="354143" y="2730652"/>
                </a:lnTo>
                <a:cubicBezTo>
                  <a:pt x="158555" y="2730652"/>
                  <a:pt x="0" y="2572097"/>
                  <a:pt x="0" y="2376509"/>
                </a:cubicBezTo>
                <a:close/>
                <a:moveTo>
                  <a:pt x="1001150" y="200505"/>
                </a:moveTo>
                <a:cubicBezTo>
                  <a:pt x="933045" y="200505"/>
                  <a:pt x="877834" y="255715"/>
                  <a:pt x="877834" y="323821"/>
                </a:cubicBezTo>
                <a:lnTo>
                  <a:pt x="877834" y="605836"/>
                </a:lnTo>
                <a:lnTo>
                  <a:pt x="2362163" y="605836"/>
                </a:lnTo>
                <a:lnTo>
                  <a:pt x="2362163" y="323821"/>
                </a:lnTo>
                <a:cubicBezTo>
                  <a:pt x="2362163" y="255715"/>
                  <a:pt x="2306952" y="200505"/>
                  <a:pt x="2238846" y="200505"/>
                </a:cubicBezTo>
                <a:close/>
                <a:moveTo>
                  <a:pt x="843301" y="0"/>
                </a:moveTo>
                <a:lnTo>
                  <a:pt x="2396696" y="0"/>
                </a:lnTo>
                <a:cubicBezTo>
                  <a:pt x="2488075" y="0"/>
                  <a:pt x="2562152" y="74077"/>
                  <a:pt x="2562152" y="165456"/>
                </a:cubicBezTo>
                <a:lnTo>
                  <a:pt x="2562152" y="605836"/>
                </a:lnTo>
                <a:lnTo>
                  <a:pt x="2885857" y="605836"/>
                </a:lnTo>
                <a:cubicBezTo>
                  <a:pt x="3081445" y="605836"/>
                  <a:pt x="3240000" y="764391"/>
                  <a:pt x="3240000" y="959979"/>
                </a:cubicBezTo>
                <a:lnTo>
                  <a:pt x="3240000" y="1134437"/>
                </a:lnTo>
                <a:lnTo>
                  <a:pt x="0" y="1134437"/>
                </a:lnTo>
                <a:lnTo>
                  <a:pt x="0" y="959979"/>
                </a:lnTo>
                <a:cubicBezTo>
                  <a:pt x="0" y="764391"/>
                  <a:pt x="158555" y="605836"/>
                  <a:pt x="354143" y="605836"/>
                </a:cubicBezTo>
                <a:lnTo>
                  <a:pt x="677845" y="605836"/>
                </a:lnTo>
                <a:lnTo>
                  <a:pt x="677845" y="165456"/>
                </a:lnTo>
                <a:cubicBezTo>
                  <a:pt x="677845" y="74077"/>
                  <a:pt x="751923" y="0"/>
                  <a:pt x="843301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82" name="Chord 32">
            <a:extLst>
              <a:ext uri="{FF2B5EF4-FFF2-40B4-BE49-F238E27FC236}">
                <a16:creationId xmlns:a16="http://schemas.microsoft.com/office/drawing/2014/main" id="{3D1BBD17-EB21-4265-8BCB-65380AD568C6}"/>
              </a:ext>
            </a:extLst>
          </p:cNvPr>
          <p:cNvSpPr/>
          <p:nvPr/>
        </p:nvSpPr>
        <p:spPr>
          <a:xfrm>
            <a:off x="6132058" y="3589260"/>
            <a:ext cx="497670" cy="493305"/>
          </a:xfrm>
          <a:custGeom>
            <a:avLst/>
            <a:gdLst/>
            <a:ahLst/>
            <a:cxnLst/>
            <a:rect l="l" t="t" r="r" b="b"/>
            <a:pathLst>
              <a:path w="3240000" h="3211580">
                <a:moveTo>
                  <a:pt x="991906" y="2959580"/>
                </a:moveTo>
                <a:lnTo>
                  <a:pt x="2193254" y="2959580"/>
                </a:lnTo>
                <a:cubicBezTo>
                  <a:pt x="2215674" y="2959580"/>
                  <a:pt x="2233849" y="2977755"/>
                  <a:pt x="2233849" y="3000175"/>
                </a:cubicBezTo>
                <a:lnTo>
                  <a:pt x="2233849" y="3170985"/>
                </a:lnTo>
                <a:cubicBezTo>
                  <a:pt x="2233849" y="3193405"/>
                  <a:pt x="2215674" y="3211580"/>
                  <a:pt x="2193254" y="3211580"/>
                </a:cubicBezTo>
                <a:lnTo>
                  <a:pt x="991906" y="3211580"/>
                </a:lnTo>
                <a:cubicBezTo>
                  <a:pt x="969486" y="3211580"/>
                  <a:pt x="951311" y="3193405"/>
                  <a:pt x="951311" y="3170985"/>
                </a:cubicBezTo>
                <a:lnTo>
                  <a:pt x="951311" y="3000175"/>
                </a:lnTo>
                <a:cubicBezTo>
                  <a:pt x="951311" y="2977755"/>
                  <a:pt x="969486" y="2959580"/>
                  <a:pt x="991906" y="2959580"/>
                </a:cubicBezTo>
                <a:close/>
                <a:moveTo>
                  <a:pt x="1439043" y="1763796"/>
                </a:moveTo>
                <a:lnTo>
                  <a:pt x="1439043" y="2067459"/>
                </a:lnTo>
                <a:lnTo>
                  <a:pt x="1135380" y="2067459"/>
                </a:lnTo>
                <a:lnTo>
                  <a:pt x="1135380" y="2374533"/>
                </a:lnTo>
                <a:lnTo>
                  <a:pt x="1439043" y="2374533"/>
                </a:lnTo>
                <a:lnTo>
                  <a:pt x="1439043" y="2678196"/>
                </a:lnTo>
                <a:lnTo>
                  <a:pt x="1746117" y="2678196"/>
                </a:lnTo>
                <a:lnTo>
                  <a:pt x="1746117" y="2374533"/>
                </a:lnTo>
                <a:lnTo>
                  <a:pt x="2049780" y="2374533"/>
                </a:lnTo>
                <a:lnTo>
                  <a:pt x="2049780" y="2067459"/>
                </a:lnTo>
                <a:lnTo>
                  <a:pt x="1746117" y="2067459"/>
                </a:lnTo>
                <a:lnTo>
                  <a:pt x="1746117" y="1763796"/>
                </a:lnTo>
                <a:close/>
                <a:moveTo>
                  <a:pt x="128358" y="1541040"/>
                </a:moveTo>
                <a:lnTo>
                  <a:pt x="3056915" y="1550917"/>
                </a:lnTo>
                <a:cubicBezTo>
                  <a:pt x="3061111" y="2078028"/>
                  <a:pt x="2781683" y="2566719"/>
                  <a:pt x="2325284" y="2830467"/>
                </a:cubicBezTo>
                <a:lnTo>
                  <a:pt x="2182018" y="2900953"/>
                </a:lnTo>
                <a:lnTo>
                  <a:pt x="1002135" y="2900953"/>
                </a:lnTo>
                <a:cubicBezTo>
                  <a:pt x="950374" y="2879821"/>
                  <a:pt x="900231" y="2854191"/>
                  <a:pt x="851341" y="2825496"/>
                </a:cubicBezTo>
                <a:cubicBezTo>
                  <a:pt x="396732" y="2558675"/>
                  <a:pt x="120607" y="2068110"/>
                  <a:pt x="128358" y="1541040"/>
                </a:cubicBezTo>
                <a:close/>
                <a:moveTo>
                  <a:pt x="61067" y="1230414"/>
                </a:moveTo>
                <a:lnTo>
                  <a:pt x="3178933" y="1230414"/>
                </a:lnTo>
                <a:cubicBezTo>
                  <a:pt x="3212659" y="1230414"/>
                  <a:pt x="3240000" y="1257755"/>
                  <a:pt x="3240000" y="1291481"/>
                </a:cubicBezTo>
                <a:lnTo>
                  <a:pt x="3240000" y="1421347"/>
                </a:lnTo>
                <a:cubicBezTo>
                  <a:pt x="3240000" y="1455073"/>
                  <a:pt x="3212659" y="1482414"/>
                  <a:pt x="3178933" y="1482414"/>
                </a:cubicBezTo>
                <a:lnTo>
                  <a:pt x="61067" y="1482414"/>
                </a:lnTo>
                <a:cubicBezTo>
                  <a:pt x="27341" y="1482414"/>
                  <a:pt x="0" y="1455073"/>
                  <a:pt x="0" y="1421347"/>
                </a:cubicBezTo>
                <a:lnTo>
                  <a:pt x="0" y="1291481"/>
                </a:lnTo>
                <a:cubicBezTo>
                  <a:pt x="0" y="1257755"/>
                  <a:pt x="27341" y="1230414"/>
                  <a:pt x="61067" y="1230414"/>
                </a:cubicBezTo>
                <a:close/>
                <a:moveTo>
                  <a:pt x="2481726" y="315922"/>
                </a:moveTo>
                <a:lnTo>
                  <a:pt x="2862412" y="696608"/>
                </a:lnTo>
                <a:lnTo>
                  <a:pt x="2420437" y="1138584"/>
                </a:lnTo>
                <a:lnTo>
                  <a:pt x="1659064" y="1138584"/>
                </a:lnTo>
                <a:close/>
                <a:moveTo>
                  <a:pt x="2730827" y="0"/>
                </a:moveTo>
                <a:cubicBezTo>
                  <a:pt x="2765703" y="0"/>
                  <a:pt x="2800581" y="13305"/>
                  <a:pt x="2827191" y="39915"/>
                </a:cubicBezTo>
                <a:lnTo>
                  <a:pt x="3143636" y="356360"/>
                </a:lnTo>
                <a:cubicBezTo>
                  <a:pt x="3196857" y="409581"/>
                  <a:pt x="3196857" y="495868"/>
                  <a:pt x="3143636" y="549088"/>
                </a:cubicBezTo>
                <a:lnTo>
                  <a:pt x="3082882" y="609843"/>
                </a:lnTo>
                <a:cubicBezTo>
                  <a:pt x="3029661" y="663063"/>
                  <a:pt x="2943375" y="663064"/>
                  <a:pt x="2890155" y="609843"/>
                </a:cubicBezTo>
                <a:lnTo>
                  <a:pt x="2573708" y="293397"/>
                </a:lnTo>
                <a:cubicBezTo>
                  <a:pt x="2520488" y="240176"/>
                  <a:pt x="2520488" y="153889"/>
                  <a:pt x="2573708" y="100669"/>
                </a:cubicBezTo>
                <a:lnTo>
                  <a:pt x="2634463" y="39914"/>
                </a:lnTo>
                <a:cubicBezTo>
                  <a:pt x="2661073" y="13305"/>
                  <a:pt x="2695950" y="0"/>
                  <a:pt x="2730827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83" name="Rounded Rectangle 40">
            <a:extLst>
              <a:ext uri="{FF2B5EF4-FFF2-40B4-BE49-F238E27FC236}">
                <a16:creationId xmlns:a16="http://schemas.microsoft.com/office/drawing/2014/main" id="{9EAE5B7B-9157-44FC-AC9D-E519CCFB3F84}"/>
              </a:ext>
            </a:extLst>
          </p:cNvPr>
          <p:cNvSpPr/>
          <p:nvPr/>
        </p:nvSpPr>
        <p:spPr>
          <a:xfrm rot="2942052">
            <a:off x="8639059" y="3589842"/>
            <a:ext cx="462604" cy="492140"/>
          </a:xfrm>
          <a:custGeom>
            <a:avLst/>
            <a:gdLst/>
            <a:ahLst/>
            <a:cxnLst/>
            <a:rect l="l" t="t" r="r" b="b"/>
            <a:pathLst>
              <a:path w="3011706" h="3204001">
                <a:moveTo>
                  <a:pt x="2432249" y="1011942"/>
                </a:moveTo>
                <a:cubicBezTo>
                  <a:pt x="2423608" y="1019482"/>
                  <a:pt x="2416303" y="1028841"/>
                  <a:pt x="2410966" y="1039800"/>
                </a:cubicBezTo>
                <a:lnTo>
                  <a:pt x="1969837" y="1945620"/>
                </a:lnTo>
                <a:cubicBezTo>
                  <a:pt x="1948488" y="1989457"/>
                  <a:pt x="1966719" y="2042300"/>
                  <a:pt x="2010556" y="2063648"/>
                </a:cubicBezTo>
                <a:cubicBezTo>
                  <a:pt x="2054392" y="2084996"/>
                  <a:pt x="2107235" y="2066766"/>
                  <a:pt x="2128583" y="2022929"/>
                </a:cubicBezTo>
                <a:lnTo>
                  <a:pt x="2569712" y="1117109"/>
                </a:lnTo>
                <a:cubicBezTo>
                  <a:pt x="2591061" y="1073271"/>
                  <a:pt x="2572830" y="1020430"/>
                  <a:pt x="2528993" y="999081"/>
                </a:cubicBezTo>
                <a:cubicBezTo>
                  <a:pt x="2496115" y="983070"/>
                  <a:pt x="2458172" y="989322"/>
                  <a:pt x="2432249" y="1011942"/>
                </a:cubicBezTo>
                <a:close/>
                <a:moveTo>
                  <a:pt x="1709549" y="1044955"/>
                </a:moveTo>
                <a:cubicBezTo>
                  <a:pt x="1978186" y="735551"/>
                  <a:pt x="2446780" y="702502"/>
                  <a:pt x="2756184" y="971139"/>
                </a:cubicBezTo>
                <a:cubicBezTo>
                  <a:pt x="3065588" y="1239776"/>
                  <a:pt x="3098636" y="1708370"/>
                  <a:pt x="2830000" y="2017774"/>
                </a:cubicBezTo>
                <a:cubicBezTo>
                  <a:pt x="2561363" y="2327178"/>
                  <a:pt x="2092769" y="2360227"/>
                  <a:pt x="1783365" y="2091590"/>
                </a:cubicBezTo>
                <a:cubicBezTo>
                  <a:pt x="1473960" y="1822953"/>
                  <a:pt x="1440912" y="1354359"/>
                  <a:pt x="1709549" y="1044955"/>
                </a:cubicBezTo>
                <a:close/>
                <a:moveTo>
                  <a:pt x="208197" y="1872243"/>
                </a:moveTo>
                <a:cubicBezTo>
                  <a:pt x="195168" y="1885273"/>
                  <a:pt x="187109" y="1903273"/>
                  <a:pt x="187109" y="1923155"/>
                </a:cubicBezTo>
                <a:lnTo>
                  <a:pt x="187109" y="2715155"/>
                </a:lnTo>
                <a:cubicBezTo>
                  <a:pt x="187109" y="2754920"/>
                  <a:pt x="219344" y="2787155"/>
                  <a:pt x="259109" y="2787155"/>
                </a:cubicBezTo>
                <a:cubicBezTo>
                  <a:pt x="298874" y="2787155"/>
                  <a:pt x="331109" y="2754920"/>
                  <a:pt x="331109" y="2715155"/>
                </a:cubicBezTo>
                <a:lnTo>
                  <a:pt x="331109" y="1923155"/>
                </a:lnTo>
                <a:cubicBezTo>
                  <a:pt x="331109" y="1883390"/>
                  <a:pt x="298874" y="1851155"/>
                  <a:pt x="259109" y="1851155"/>
                </a:cubicBezTo>
                <a:cubicBezTo>
                  <a:pt x="239226" y="1851156"/>
                  <a:pt x="221226" y="1859214"/>
                  <a:pt x="208197" y="1872243"/>
                </a:cubicBezTo>
                <a:close/>
                <a:moveTo>
                  <a:pt x="0" y="1625202"/>
                </a:moveTo>
                <a:cubicBezTo>
                  <a:pt x="418057" y="1737228"/>
                  <a:pt x="858998" y="1737384"/>
                  <a:pt x="1277606" y="1625336"/>
                </a:cubicBezTo>
                <a:cubicBezTo>
                  <a:pt x="1277605" y="1938624"/>
                  <a:pt x="1277605" y="2251911"/>
                  <a:pt x="1277605" y="2565198"/>
                </a:cubicBezTo>
                <a:cubicBezTo>
                  <a:pt x="1277605" y="2917999"/>
                  <a:pt x="991603" y="3204001"/>
                  <a:pt x="638802" y="3204001"/>
                </a:cubicBezTo>
                <a:lnTo>
                  <a:pt x="638803" y="3204000"/>
                </a:lnTo>
                <a:cubicBezTo>
                  <a:pt x="286002" y="3204000"/>
                  <a:pt x="0" y="2917999"/>
                  <a:pt x="0" y="2565197"/>
                </a:cubicBezTo>
                <a:close/>
                <a:moveTo>
                  <a:pt x="208197" y="459897"/>
                </a:moveTo>
                <a:cubicBezTo>
                  <a:pt x="195167" y="472926"/>
                  <a:pt x="187109" y="490926"/>
                  <a:pt x="187109" y="510808"/>
                </a:cubicBezTo>
                <a:lnTo>
                  <a:pt x="187109" y="1302808"/>
                </a:lnTo>
                <a:cubicBezTo>
                  <a:pt x="187109" y="1342573"/>
                  <a:pt x="219344" y="1374808"/>
                  <a:pt x="259109" y="1374808"/>
                </a:cubicBezTo>
                <a:cubicBezTo>
                  <a:pt x="298874" y="1374808"/>
                  <a:pt x="331109" y="1342573"/>
                  <a:pt x="331109" y="1302808"/>
                </a:cubicBezTo>
                <a:lnTo>
                  <a:pt x="331109" y="510808"/>
                </a:lnTo>
                <a:cubicBezTo>
                  <a:pt x="331109" y="471043"/>
                  <a:pt x="298874" y="438808"/>
                  <a:pt x="259109" y="438808"/>
                </a:cubicBezTo>
                <a:cubicBezTo>
                  <a:pt x="239226" y="438808"/>
                  <a:pt x="221226" y="446867"/>
                  <a:pt x="208197" y="459897"/>
                </a:cubicBezTo>
                <a:close/>
                <a:moveTo>
                  <a:pt x="187101" y="187101"/>
                </a:moveTo>
                <a:cubicBezTo>
                  <a:pt x="302701" y="71501"/>
                  <a:pt x="462402" y="0"/>
                  <a:pt x="638803" y="0"/>
                </a:cubicBezTo>
                <a:cubicBezTo>
                  <a:pt x="991604" y="0"/>
                  <a:pt x="1277606" y="286002"/>
                  <a:pt x="1277606" y="638803"/>
                </a:cubicBezTo>
                <a:lnTo>
                  <a:pt x="1277606" y="1497764"/>
                </a:lnTo>
                <a:cubicBezTo>
                  <a:pt x="859958" y="1616355"/>
                  <a:pt x="417375" y="1616210"/>
                  <a:pt x="0" y="1498771"/>
                </a:cubicBezTo>
                <a:lnTo>
                  <a:pt x="0" y="638803"/>
                </a:lnTo>
                <a:cubicBezTo>
                  <a:pt x="0" y="462403"/>
                  <a:pt x="71500" y="302702"/>
                  <a:pt x="187101" y="187101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84" name="Rounded Rectangle 7">
            <a:extLst>
              <a:ext uri="{FF2B5EF4-FFF2-40B4-BE49-F238E27FC236}">
                <a16:creationId xmlns:a16="http://schemas.microsoft.com/office/drawing/2014/main" id="{EC656316-B78D-4EC1-9C72-547CA566FED0}"/>
              </a:ext>
            </a:extLst>
          </p:cNvPr>
          <p:cNvSpPr>
            <a:spLocks noChangeAspect="1"/>
          </p:cNvSpPr>
          <p:nvPr/>
        </p:nvSpPr>
        <p:spPr>
          <a:xfrm rot="18924894" flipH="1">
            <a:off x="6299616" y="4621988"/>
            <a:ext cx="162556" cy="635774"/>
          </a:xfrm>
          <a:custGeom>
            <a:avLst/>
            <a:gdLst/>
            <a:ahLst/>
            <a:cxnLst/>
            <a:rect l="l" t="t" r="r" b="b"/>
            <a:pathLst>
              <a:path w="1081111" h="4228323">
                <a:moveTo>
                  <a:pt x="335224" y="1867922"/>
                </a:moveTo>
                <a:cubicBezTo>
                  <a:pt x="355105" y="1839562"/>
                  <a:pt x="441066" y="1818228"/>
                  <a:pt x="544096" y="1818228"/>
                </a:cubicBezTo>
                <a:cubicBezTo>
                  <a:pt x="661845" y="1818228"/>
                  <a:pt x="757300" y="1846093"/>
                  <a:pt x="757300" y="1880465"/>
                </a:cubicBezTo>
                <a:lnTo>
                  <a:pt x="754850" y="1887560"/>
                </a:lnTo>
                <a:lnTo>
                  <a:pt x="757869" y="1887560"/>
                </a:lnTo>
                <a:lnTo>
                  <a:pt x="757869" y="2839818"/>
                </a:lnTo>
                <a:cubicBezTo>
                  <a:pt x="757869" y="2972331"/>
                  <a:pt x="662287" y="3079754"/>
                  <a:pt x="544381" y="3079754"/>
                </a:cubicBezTo>
                <a:cubicBezTo>
                  <a:pt x="426475" y="3079754"/>
                  <a:pt x="330892" y="2972330"/>
                  <a:pt x="330892" y="2839818"/>
                </a:cubicBezTo>
                <a:cubicBezTo>
                  <a:pt x="330892" y="2522399"/>
                  <a:pt x="330893" y="2204979"/>
                  <a:pt x="330893" y="1887560"/>
                </a:cubicBezTo>
                <a:lnTo>
                  <a:pt x="333343" y="1887560"/>
                </a:lnTo>
                <a:cubicBezTo>
                  <a:pt x="331423" y="1885549"/>
                  <a:pt x="330893" y="1883025"/>
                  <a:pt x="330893" y="1880465"/>
                </a:cubicBezTo>
                <a:cubicBezTo>
                  <a:pt x="330893" y="1876168"/>
                  <a:pt x="332384" y="1871973"/>
                  <a:pt x="335224" y="1867922"/>
                </a:cubicBezTo>
                <a:close/>
                <a:moveTo>
                  <a:pt x="40017" y="122059"/>
                </a:moveTo>
                <a:cubicBezTo>
                  <a:pt x="33211" y="132011"/>
                  <a:pt x="29637" y="142314"/>
                  <a:pt x="29637" y="152868"/>
                </a:cubicBezTo>
                <a:cubicBezTo>
                  <a:pt x="29637" y="201406"/>
                  <a:pt x="105246" y="244661"/>
                  <a:pt x="223474" y="271871"/>
                </a:cubicBezTo>
                <a:lnTo>
                  <a:pt x="259635" y="468058"/>
                </a:lnTo>
                <a:cubicBezTo>
                  <a:pt x="103865" y="495856"/>
                  <a:pt x="0" y="547115"/>
                  <a:pt x="0" y="605632"/>
                </a:cubicBezTo>
                <a:cubicBezTo>
                  <a:pt x="0" y="658669"/>
                  <a:pt x="85325" y="705745"/>
                  <a:pt x="217400" y="734580"/>
                </a:cubicBezTo>
                <a:lnTo>
                  <a:pt x="217063" y="737117"/>
                </a:lnTo>
                <a:lnTo>
                  <a:pt x="217063" y="2943282"/>
                </a:lnTo>
                <a:cubicBezTo>
                  <a:pt x="217063" y="3039089"/>
                  <a:pt x="294931" y="3121078"/>
                  <a:pt x="405721" y="3153265"/>
                </a:cubicBezTo>
                <a:cubicBezTo>
                  <a:pt x="400324" y="3160310"/>
                  <a:pt x="397646" y="3168520"/>
                  <a:pt x="397646" y="3177204"/>
                </a:cubicBezTo>
                <a:lnTo>
                  <a:pt x="397646" y="3194256"/>
                </a:lnTo>
                <a:cubicBezTo>
                  <a:pt x="397646" y="3224314"/>
                  <a:pt x="429716" y="3248680"/>
                  <a:pt x="469276" y="3248680"/>
                </a:cubicBezTo>
                <a:lnTo>
                  <a:pt x="496274" y="3248680"/>
                </a:lnTo>
                <a:cubicBezTo>
                  <a:pt x="503831" y="3569617"/>
                  <a:pt x="518631" y="3867052"/>
                  <a:pt x="514761" y="4228323"/>
                </a:cubicBezTo>
                <a:lnTo>
                  <a:pt x="577573" y="4091802"/>
                </a:lnTo>
                <a:cubicBezTo>
                  <a:pt x="580481" y="3794896"/>
                  <a:pt x="583388" y="3537508"/>
                  <a:pt x="586278" y="3248680"/>
                </a:cubicBezTo>
                <a:lnTo>
                  <a:pt x="611834" y="3248680"/>
                </a:lnTo>
                <a:cubicBezTo>
                  <a:pt x="651395" y="3248680"/>
                  <a:pt x="683465" y="3224314"/>
                  <a:pt x="683465" y="3194256"/>
                </a:cubicBezTo>
                <a:lnTo>
                  <a:pt x="683465" y="3177205"/>
                </a:lnTo>
                <a:cubicBezTo>
                  <a:pt x="683465" y="3168518"/>
                  <a:pt x="680787" y="3160307"/>
                  <a:pt x="675388" y="3153262"/>
                </a:cubicBezTo>
                <a:cubicBezTo>
                  <a:pt x="786180" y="3121079"/>
                  <a:pt x="864048" y="3039089"/>
                  <a:pt x="864048" y="2943282"/>
                </a:cubicBezTo>
                <a:lnTo>
                  <a:pt x="864048" y="737117"/>
                </a:lnTo>
                <a:cubicBezTo>
                  <a:pt x="864048" y="736269"/>
                  <a:pt x="864042" y="735422"/>
                  <a:pt x="863712" y="734579"/>
                </a:cubicBezTo>
                <a:cubicBezTo>
                  <a:pt x="995786" y="705744"/>
                  <a:pt x="1081111" y="658669"/>
                  <a:pt x="1081111" y="605632"/>
                </a:cubicBezTo>
                <a:cubicBezTo>
                  <a:pt x="1081111" y="547115"/>
                  <a:pt x="977246" y="495856"/>
                  <a:pt x="821477" y="468058"/>
                </a:cubicBezTo>
                <a:lnTo>
                  <a:pt x="857637" y="271871"/>
                </a:lnTo>
                <a:cubicBezTo>
                  <a:pt x="975865" y="244661"/>
                  <a:pt x="1051474" y="201406"/>
                  <a:pt x="1051474" y="152868"/>
                </a:cubicBezTo>
                <a:cubicBezTo>
                  <a:pt x="1051474" y="68441"/>
                  <a:pt x="822728" y="0"/>
                  <a:pt x="540555" y="0"/>
                </a:cubicBezTo>
                <a:cubicBezTo>
                  <a:pt x="293654" y="0"/>
                  <a:pt x="87658" y="52400"/>
                  <a:pt x="40017" y="12205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85" name="Rounded Rectangle 17">
            <a:extLst>
              <a:ext uri="{FF2B5EF4-FFF2-40B4-BE49-F238E27FC236}">
                <a16:creationId xmlns:a16="http://schemas.microsoft.com/office/drawing/2014/main" id="{6B94B2D2-8266-41F5-8364-5F47F1CD6CCC}"/>
              </a:ext>
            </a:extLst>
          </p:cNvPr>
          <p:cNvSpPr>
            <a:spLocks noChangeAspect="1"/>
          </p:cNvSpPr>
          <p:nvPr/>
        </p:nvSpPr>
        <p:spPr>
          <a:xfrm>
            <a:off x="11156386" y="3571006"/>
            <a:ext cx="332990" cy="529812"/>
          </a:xfrm>
          <a:custGeom>
            <a:avLst/>
            <a:gdLst/>
            <a:ahLst/>
            <a:cxnLst/>
            <a:rect l="l" t="t" r="r" b="b"/>
            <a:pathLst>
              <a:path w="2016224" h="3207971">
                <a:moveTo>
                  <a:pt x="854575" y="1382799"/>
                </a:moveTo>
                <a:lnTo>
                  <a:pt x="854575" y="1686462"/>
                </a:lnTo>
                <a:lnTo>
                  <a:pt x="550912" y="1686462"/>
                </a:lnTo>
                <a:lnTo>
                  <a:pt x="550912" y="1993536"/>
                </a:lnTo>
                <a:lnTo>
                  <a:pt x="854575" y="1993536"/>
                </a:lnTo>
                <a:lnTo>
                  <a:pt x="854575" y="2297199"/>
                </a:lnTo>
                <a:lnTo>
                  <a:pt x="1161649" y="2297199"/>
                </a:lnTo>
                <a:lnTo>
                  <a:pt x="1161649" y="1993536"/>
                </a:lnTo>
                <a:lnTo>
                  <a:pt x="1465312" y="1993536"/>
                </a:lnTo>
                <a:lnTo>
                  <a:pt x="1465312" y="1686462"/>
                </a:lnTo>
                <a:lnTo>
                  <a:pt x="1161649" y="1686462"/>
                </a:lnTo>
                <a:lnTo>
                  <a:pt x="1161649" y="1382799"/>
                </a:lnTo>
                <a:close/>
                <a:moveTo>
                  <a:pt x="397285" y="941591"/>
                </a:moveTo>
                <a:lnTo>
                  <a:pt x="1618940" y="941591"/>
                </a:lnTo>
                <a:lnTo>
                  <a:pt x="1618940" y="2738407"/>
                </a:lnTo>
                <a:lnTo>
                  <a:pt x="397285" y="2738407"/>
                </a:lnTo>
                <a:close/>
                <a:moveTo>
                  <a:pt x="305673" y="849979"/>
                </a:moveTo>
                <a:lnTo>
                  <a:pt x="305673" y="2830019"/>
                </a:lnTo>
                <a:lnTo>
                  <a:pt x="1710552" y="2830019"/>
                </a:lnTo>
                <a:lnTo>
                  <a:pt x="1710552" y="849979"/>
                </a:lnTo>
                <a:close/>
                <a:moveTo>
                  <a:pt x="240515" y="472027"/>
                </a:moveTo>
                <a:lnTo>
                  <a:pt x="1775709" y="472027"/>
                </a:lnTo>
                <a:cubicBezTo>
                  <a:pt x="1908542" y="472027"/>
                  <a:pt x="2016224" y="579709"/>
                  <a:pt x="2016224" y="712542"/>
                </a:cubicBezTo>
                <a:lnTo>
                  <a:pt x="2016224" y="2967456"/>
                </a:lnTo>
                <a:cubicBezTo>
                  <a:pt x="2016224" y="3100289"/>
                  <a:pt x="1908542" y="3207971"/>
                  <a:pt x="1775709" y="3207971"/>
                </a:cubicBezTo>
                <a:lnTo>
                  <a:pt x="240515" y="3207971"/>
                </a:lnTo>
                <a:cubicBezTo>
                  <a:pt x="107682" y="3207971"/>
                  <a:pt x="0" y="3100289"/>
                  <a:pt x="0" y="2967456"/>
                </a:cubicBezTo>
                <a:lnTo>
                  <a:pt x="0" y="712542"/>
                </a:lnTo>
                <a:cubicBezTo>
                  <a:pt x="0" y="579709"/>
                  <a:pt x="107682" y="472027"/>
                  <a:pt x="240515" y="472027"/>
                </a:cubicBezTo>
                <a:close/>
                <a:moveTo>
                  <a:pt x="515787" y="0"/>
                </a:moveTo>
                <a:lnTo>
                  <a:pt x="1500437" y="0"/>
                </a:lnTo>
                <a:cubicBezTo>
                  <a:pt x="1541893" y="0"/>
                  <a:pt x="1575500" y="33607"/>
                  <a:pt x="1575500" y="75063"/>
                </a:cubicBezTo>
                <a:lnTo>
                  <a:pt x="1575500" y="367990"/>
                </a:lnTo>
                <a:lnTo>
                  <a:pt x="440724" y="367990"/>
                </a:lnTo>
                <a:lnTo>
                  <a:pt x="440724" y="75063"/>
                </a:lnTo>
                <a:cubicBezTo>
                  <a:pt x="440724" y="33607"/>
                  <a:pt x="474331" y="0"/>
                  <a:pt x="515787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86" name="Oval 21">
            <a:extLst>
              <a:ext uri="{FF2B5EF4-FFF2-40B4-BE49-F238E27FC236}">
                <a16:creationId xmlns:a16="http://schemas.microsoft.com/office/drawing/2014/main" id="{97FCD430-8257-484B-9F8F-22D7D55C6EEE}"/>
              </a:ext>
            </a:extLst>
          </p:cNvPr>
          <p:cNvSpPr>
            <a:spLocks noChangeAspect="1"/>
          </p:cNvSpPr>
          <p:nvPr/>
        </p:nvSpPr>
        <p:spPr>
          <a:xfrm>
            <a:off x="9438721" y="3571006"/>
            <a:ext cx="529812" cy="529812"/>
          </a:xfrm>
          <a:custGeom>
            <a:avLst/>
            <a:gdLst/>
            <a:ahLst/>
            <a:cxnLst/>
            <a:rect l="l" t="t" r="r" b="b"/>
            <a:pathLst>
              <a:path w="3240000" h="3240000">
                <a:moveTo>
                  <a:pt x="1799999" y="306000"/>
                </a:moveTo>
                <a:lnTo>
                  <a:pt x="1440000" y="306000"/>
                </a:lnTo>
                <a:lnTo>
                  <a:pt x="1440000" y="1308231"/>
                </a:lnTo>
                <a:lnTo>
                  <a:pt x="572043" y="807116"/>
                </a:lnTo>
                <a:lnTo>
                  <a:pt x="392043" y="1118885"/>
                </a:lnTo>
                <a:lnTo>
                  <a:pt x="1260000" y="1620000"/>
                </a:lnTo>
                <a:lnTo>
                  <a:pt x="392043" y="2121116"/>
                </a:lnTo>
                <a:lnTo>
                  <a:pt x="572043" y="2432885"/>
                </a:lnTo>
                <a:lnTo>
                  <a:pt x="1440000" y="1931769"/>
                </a:lnTo>
                <a:lnTo>
                  <a:pt x="1440000" y="2934000"/>
                </a:lnTo>
                <a:lnTo>
                  <a:pt x="1800000" y="2934000"/>
                </a:lnTo>
                <a:lnTo>
                  <a:pt x="1800000" y="1931769"/>
                </a:lnTo>
                <a:lnTo>
                  <a:pt x="2667957" y="2432884"/>
                </a:lnTo>
                <a:lnTo>
                  <a:pt x="2847957" y="2121116"/>
                </a:lnTo>
                <a:lnTo>
                  <a:pt x="1980000" y="1620000"/>
                </a:lnTo>
                <a:lnTo>
                  <a:pt x="2847958" y="1118885"/>
                </a:lnTo>
                <a:lnTo>
                  <a:pt x="2667957" y="807116"/>
                </a:lnTo>
                <a:lnTo>
                  <a:pt x="1800000" y="1308231"/>
                </a:lnTo>
                <a:close/>
                <a:moveTo>
                  <a:pt x="1620000" y="0"/>
                </a:moveTo>
                <a:cubicBezTo>
                  <a:pt x="2514701" y="0"/>
                  <a:pt x="3240000" y="725299"/>
                  <a:pt x="3240000" y="1620000"/>
                </a:cubicBezTo>
                <a:cubicBezTo>
                  <a:pt x="3240000" y="2514701"/>
                  <a:pt x="2514701" y="3240000"/>
                  <a:pt x="1620000" y="3240000"/>
                </a:cubicBezTo>
                <a:cubicBezTo>
                  <a:pt x="725299" y="3240000"/>
                  <a:pt x="0" y="2514701"/>
                  <a:pt x="0" y="1620000"/>
                </a:cubicBezTo>
                <a:cubicBezTo>
                  <a:pt x="0" y="725299"/>
                  <a:pt x="725299" y="0"/>
                  <a:pt x="1620000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87" name="Oval 25">
            <a:extLst>
              <a:ext uri="{FF2B5EF4-FFF2-40B4-BE49-F238E27FC236}">
                <a16:creationId xmlns:a16="http://schemas.microsoft.com/office/drawing/2014/main" id="{662B9A10-B959-4031-98B4-3EA3760E7508}"/>
              </a:ext>
            </a:extLst>
          </p:cNvPr>
          <p:cNvSpPr>
            <a:spLocks noChangeAspect="1"/>
          </p:cNvSpPr>
          <p:nvPr/>
        </p:nvSpPr>
        <p:spPr>
          <a:xfrm>
            <a:off x="10277790" y="3571006"/>
            <a:ext cx="529090" cy="529812"/>
          </a:xfrm>
          <a:custGeom>
            <a:avLst/>
            <a:gdLst/>
            <a:ahLst/>
            <a:cxnLst/>
            <a:rect l="l" t="t" r="r" b="b"/>
            <a:pathLst>
              <a:path w="3225370" h="3229762">
                <a:moveTo>
                  <a:pt x="1355872" y="0"/>
                </a:moveTo>
                <a:cubicBezTo>
                  <a:pt x="1564636" y="0"/>
                  <a:pt x="1733872" y="169236"/>
                  <a:pt x="1733872" y="378000"/>
                </a:cubicBezTo>
                <a:cubicBezTo>
                  <a:pt x="1733872" y="530834"/>
                  <a:pt x="1643169" y="662483"/>
                  <a:pt x="1512292" y="721255"/>
                </a:cubicBezTo>
                <a:lnTo>
                  <a:pt x="1607042" y="1169019"/>
                </a:lnTo>
                <a:cubicBezTo>
                  <a:pt x="1611319" y="1167786"/>
                  <a:pt x="1615651" y="1167712"/>
                  <a:pt x="1620000" y="1167712"/>
                </a:cubicBezTo>
                <a:cubicBezTo>
                  <a:pt x="1828764" y="1167712"/>
                  <a:pt x="1998000" y="1336948"/>
                  <a:pt x="1998000" y="1545712"/>
                </a:cubicBezTo>
                <a:lnTo>
                  <a:pt x="1996362" y="1567711"/>
                </a:lnTo>
                <a:lnTo>
                  <a:pt x="2525816" y="1711728"/>
                </a:lnTo>
                <a:cubicBezTo>
                  <a:pt x="2591164" y="1602543"/>
                  <a:pt x="2710810" y="1530128"/>
                  <a:pt x="2847370" y="1530128"/>
                </a:cubicBezTo>
                <a:cubicBezTo>
                  <a:pt x="3056134" y="1530128"/>
                  <a:pt x="3225370" y="1699364"/>
                  <a:pt x="3225370" y="1908128"/>
                </a:cubicBezTo>
                <a:cubicBezTo>
                  <a:pt x="3225370" y="2116892"/>
                  <a:pt x="3056134" y="2286128"/>
                  <a:pt x="2847370" y="2286128"/>
                </a:cubicBezTo>
                <a:cubicBezTo>
                  <a:pt x="2638606" y="2286128"/>
                  <a:pt x="2469370" y="2116892"/>
                  <a:pt x="2469370" y="1908128"/>
                </a:cubicBezTo>
                <a:lnTo>
                  <a:pt x="2475505" y="1847275"/>
                </a:lnTo>
                <a:lnTo>
                  <a:pt x="1957861" y="1706471"/>
                </a:lnTo>
                <a:cubicBezTo>
                  <a:pt x="1922674" y="1789256"/>
                  <a:pt x="1855841" y="1854310"/>
                  <a:pt x="1773397" y="1890608"/>
                </a:cubicBezTo>
                <a:lnTo>
                  <a:pt x="1908290" y="2478637"/>
                </a:lnTo>
                <a:cubicBezTo>
                  <a:pt x="2094333" y="2500701"/>
                  <a:pt x="2237929" y="2659462"/>
                  <a:pt x="2237929" y="2851762"/>
                </a:cubicBezTo>
                <a:cubicBezTo>
                  <a:pt x="2237929" y="3060526"/>
                  <a:pt x="2068693" y="3229762"/>
                  <a:pt x="1859929" y="3229762"/>
                </a:cubicBezTo>
                <a:cubicBezTo>
                  <a:pt x="1651165" y="3229762"/>
                  <a:pt x="1481929" y="3060526"/>
                  <a:pt x="1481929" y="2851762"/>
                </a:cubicBezTo>
                <a:cubicBezTo>
                  <a:pt x="1481929" y="2676759"/>
                  <a:pt x="1600854" y="2529533"/>
                  <a:pt x="1762693" y="2487978"/>
                </a:cubicBezTo>
                <a:lnTo>
                  <a:pt x="1632951" y="1922407"/>
                </a:lnTo>
                <a:cubicBezTo>
                  <a:pt x="1628677" y="1923639"/>
                  <a:pt x="1624347" y="1923712"/>
                  <a:pt x="1620000" y="1923712"/>
                </a:cubicBezTo>
                <a:cubicBezTo>
                  <a:pt x="1474614" y="1923712"/>
                  <a:pt x="1348399" y="1841634"/>
                  <a:pt x="1286703" y="1720478"/>
                </a:cubicBezTo>
                <a:lnTo>
                  <a:pt x="726463" y="1950491"/>
                </a:lnTo>
                <a:cubicBezTo>
                  <a:pt x="745503" y="1995553"/>
                  <a:pt x="756000" y="2045092"/>
                  <a:pt x="756000" y="2097083"/>
                </a:cubicBezTo>
                <a:cubicBezTo>
                  <a:pt x="756000" y="2305847"/>
                  <a:pt x="586764" y="2475083"/>
                  <a:pt x="378000" y="2475083"/>
                </a:cubicBezTo>
                <a:cubicBezTo>
                  <a:pt x="169236" y="2475083"/>
                  <a:pt x="0" y="2305847"/>
                  <a:pt x="0" y="2097083"/>
                </a:cubicBezTo>
                <a:cubicBezTo>
                  <a:pt x="0" y="1888319"/>
                  <a:pt x="169236" y="1719083"/>
                  <a:pt x="378000" y="1719083"/>
                </a:cubicBezTo>
                <a:cubicBezTo>
                  <a:pt x="481765" y="1719083"/>
                  <a:pt x="575764" y="1760894"/>
                  <a:pt x="643957" y="1828700"/>
                </a:cubicBezTo>
                <a:lnTo>
                  <a:pt x="1245626" y="1581679"/>
                </a:lnTo>
                <a:cubicBezTo>
                  <a:pt x="1242578" y="1569964"/>
                  <a:pt x="1242000" y="1557905"/>
                  <a:pt x="1242000" y="1545712"/>
                </a:cubicBezTo>
                <a:cubicBezTo>
                  <a:pt x="1242000" y="1391666"/>
                  <a:pt x="1334148" y="1259142"/>
                  <a:pt x="1466584" y="1200827"/>
                </a:cubicBezTo>
                <a:lnTo>
                  <a:pt x="1372109" y="754363"/>
                </a:lnTo>
                <a:cubicBezTo>
                  <a:pt x="1366762" y="755885"/>
                  <a:pt x="1361331" y="756000"/>
                  <a:pt x="1355872" y="756000"/>
                </a:cubicBezTo>
                <a:cubicBezTo>
                  <a:pt x="1147108" y="756000"/>
                  <a:pt x="977872" y="586764"/>
                  <a:pt x="977872" y="378000"/>
                </a:cubicBezTo>
                <a:cubicBezTo>
                  <a:pt x="977872" y="169236"/>
                  <a:pt x="1147108" y="0"/>
                  <a:pt x="1355872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88" name="Block Arc 20">
            <a:extLst>
              <a:ext uri="{FF2B5EF4-FFF2-40B4-BE49-F238E27FC236}">
                <a16:creationId xmlns:a16="http://schemas.microsoft.com/office/drawing/2014/main" id="{442BD419-0F67-4BAB-976B-E90CC1C4AECE}"/>
              </a:ext>
            </a:extLst>
          </p:cNvPr>
          <p:cNvSpPr>
            <a:spLocks noChangeAspect="1"/>
          </p:cNvSpPr>
          <p:nvPr/>
        </p:nvSpPr>
        <p:spPr>
          <a:xfrm rot="10800000">
            <a:off x="5298601" y="4674968"/>
            <a:ext cx="488619" cy="529812"/>
          </a:xfrm>
          <a:custGeom>
            <a:avLst/>
            <a:gdLst/>
            <a:ahLst/>
            <a:cxnLst/>
            <a:rect l="l" t="t" r="r" b="b"/>
            <a:pathLst>
              <a:path w="2958558" h="3207983">
                <a:moveTo>
                  <a:pt x="376920" y="2960896"/>
                </a:moveTo>
                <a:cubicBezTo>
                  <a:pt x="266613" y="2960896"/>
                  <a:pt x="177192" y="2871475"/>
                  <a:pt x="177192" y="2761168"/>
                </a:cubicBezTo>
                <a:cubicBezTo>
                  <a:pt x="177192" y="2650861"/>
                  <a:pt x="266613" y="2561440"/>
                  <a:pt x="376920" y="2561440"/>
                </a:cubicBezTo>
                <a:cubicBezTo>
                  <a:pt x="487227" y="2561440"/>
                  <a:pt x="576648" y="2650861"/>
                  <a:pt x="576648" y="2761168"/>
                </a:cubicBezTo>
                <a:cubicBezTo>
                  <a:pt x="576648" y="2871475"/>
                  <a:pt x="487227" y="2960896"/>
                  <a:pt x="376920" y="2960896"/>
                </a:cubicBezTo>
                <a:close/>
                <a:moveTo>
                  <a:pt x="376921" y="3072323"/>
                </a:moveTo>
                <a:cubicBezTo>
                  <a:pt x="539434" y="3072323"/>
                  <a:pt x="671176" y="2940581"/>
                  <a:pt x="671176" y="2778068"/>
                </a:cubicBezTo>
                <a:cubicBezTo>
                  <a:pt x="671176" y="2615555"/>
                  <a:pt x="539434" y="2483813"/>
                  <a:pt x="376921" y="2483813"/>
                </a:cubicBezTo>
                <a:cubicBezTo>
                  <a:pt x="214408" y="2483813"/>
                  <a:pt x="82666" y="2615555"/>
                  <a:pt x="82666" y="2778068"/>
                </a:cubicBezTo>
                <a:cubicBezTo>
                  <a:pt x="82666" y="2940581"/>
                  <a:pt x="214408" y="3072323"/>
                  <a:pt x="376921" y="3072323"/>
                </a:cubicBezTo>
                <a:close/>
                <a:moveTo>
                  <a:pt x="2379939" y="3207575"/>
                </a:moveTo>
                <a:cubicBezTo>
                  <a:pt x="2342159" y="3210380"/>
                  <a:pt x="2303308" y="3198772"/>
                  <a:pt x="2272342" y="3172087"/>
                </a:cubicBezTo>
                <a:cubicBezTo>
                  <a:pt x="2210411" y="3118717"/>
                  <a:pt x="2203469" y="3025247"/>
                  <a:pt x="2256839" y="2963315"/>
                </a:cubicBezTo>
                <a:cubicBezTo>
                  <a:pt x="2292137" y="2922355"/>
                  <a:pt x="2344975" y="2905450"/>
                  <a:pt x="2394194" y="2916618"/>
                </a:cubicBezTo>
                <a:lnTo>
                  <a:pt x="2482323" y="2842744"/>
                </a:lnTo>
                <a:lnTo>
                  <a:pt x="2486558" y="2847797"/>
                </a:lnTo>
                <a:cubicBezTo>
                  <a:pt x="2638916" y="2767056"/>
                  <a:pt x="2628462" y="2744879"/>
                  <a:pt x="2689889" y="2690172"/>
                </a:cubicBezTo>
                <a:cubicBezTo>
                  <a:pt x="2722819" y="2655246"/>
                  <a:pt x="2732363" y="2657367"/>
                  <a:pt x="2726376" y="2568558"/>
                </a:cubicBezTo>
                <a:lnTo>
                  <a:pt x="2730335" y="2568172"/>
                </a:lnTo>
                <a:lnTo>
                  <a:pt x="2726098" y="2568172"/>
                </a:lnTo>
                <a:lnTo>
                  <a:pt x="2726098" y="2140027"/>
                </a:lnTo>
                <a:lnTo>
                  <a:pt x="2686068" y="2140105"/>
                </a:lnTo>
                <a:cubicBezTo>
                  <a:pt x="2685662" y="1932305"/>
                  <a:pt x="2574529" y="1740506"/>
                  <a:pt x="2394530" y="1636956"/>
                </a:cubicBezTo>
                <a:cubicBezTo>
                  <a:pt x="2214320" y="1533284"/>
                  <a:pt x="1992511" y="1533845"/>
                  <a:pt x="1812826" y="1638426"/>
                </a:cubicBezTo>
                <a:cubicBezTo>
                  <a:pt x="1633353" y="1742884"/>
                  <a:pt x="1523189" y="1935240"/>
                  <a:pt x="1523830" y="2143038"/>
                </a:cubicBezTo>
                <a:lnTo>
                  <a:pt x="1483625" y="2143162"/>
                </a:lnTo>
                <a:lnTo>
                  <a:pt x="1483625" y="2568172"/>
                </a:lnTo>
                <a:lnTo>
                  <a:pt x="1479388" y="2568172"/>
                </a:lnTo>
                <a:lnTo>
                  <a:pt x="1483347" y="2568558"/>
                </a:lnTo>
                <a:cubicBezTo>
                  <a:pt x="1477359" y="2657367"/>
                  <a:pt x="1486903" y="2655246"/>
                  <a:pt x="1519833" y="2690172"/>
                </a:cubicBezTo>
                <a:cubicBezTo>
                  <a:pt x="1581261" y="2744879"/>
                  <a:pt x="1570806" y="2767057"/>
                  <a:pt x="1723166" y="2847797"/>
                </a:cubicBezTo>
                <a:lnTo>
                  <a:pt x="1727402" y="2842744"/>
                </a:lnTo>
                <a:lnTo>
                  <a:pt x="1815530" y="2916618"/>
                </a:lnTo>
                <a:cubicBezTo>
                  <a:pt x="1864749" y="2905450"/>
                  <a:pt x="1917587" y="2922356"/>
                  <a:pt x="1952884" y="2963315"/>
                </a:cubicBezTo>
                <a:cubicBezTo>
                  <a:pt x="2006254" y="3025247"/>
                  <a:pt x="1999313" y="3118717"/>
                  <a:pt x="1937381" y="3172087"/>
                </a:cubicBezTo>
                <a:cubicBezTo>
                  <a:pt x="1906416" y="3198772"/>
                  <a:pt x="1867565" y="3210380"/>
                  <a:pt x="1829785" y="3207575"/>
                </a:cubicBezTo>
                <a:cubicBezTo>
                  <a:pt x="1792004" y="3204769"/>
                  <a:pt x="1755294" y="3187551"/>
                  <a:pt x="1728609" y="3156586"/>
                </a:cubicBezTo>
                <a:cubicBezTo>
                  <a:pt x="1704170" y="3128225"/>
                  <a:pt x="1692377" y="3093251"/>
                  <a:pt x="1694258" y="3058558"/>
                </a:cubicBezTo>
                <a:lnTo>
                  <a:pt x="1607474" y="2985811"/>
                </a:lnTo>
                <a:lnTo>
                  <a:pt x="1609754" y="2983092"/>
                </a:lnTo>
                <a:cubicBezTo>
                  <a:pt x="1505378" y="2914609"/>
                  <a:pt x="1454899" y="2874388"/>
                  <a:pt x="1372959" y="2808609"/>
                </a:cubicBezTo>
                <a:cubicBezTo>
                  <a:pt x="1301402" y="2768123"/>
                  <a:pt x="1295976" y="2652344"/>
                  <a:pt x="1300245" y="2568172"/>
                </a:cubicBezTo>
                <a:lnTo>
                  <a:pt x="1296941" y="2568172"/>
                </a:lnTo>
                <a:lnTo>
                  <a:pt x="1296941" y="2143739"/>
                </a:lnTo>
                <a:lnTo>
                  <a:pt x="1251342" y="2143880"/>
                </a:lnTo>
                <a:cubicBezTo>
                  <a:pt x="1250400" y="1838694"/>
                  <a:pt x="1412261" y="1556194"/>
                  <a:pt x="1675942" y="1402813"/>
                </a:cubicBezTo>
                <a:cubicBezTo>
                  <a:pt x="1778114" y="1343381"/>
                  <a:pt x="1889554" y="1306836"/>
                  <a:pt x="2003205" y="1293823"/>
                </a:cubicBezTo>
                <a:lnTo>
                  <a:pt x="2003205" y="878785"/>
                </a:lnTo>
                <a:lnTo>
                  <a:pt x="1998176" y="878621"/>
                </a:lnTo>
                <a:cubicBezTo>
                  <a:pt x="2009560" y="630102"/>
                  <a:pt x="1847671" y="398939"/>
                  <a:pt x="1584243" y="287563"/>
                </a:cubicBezTo>
                <a:cubicBezTo>
                  <a:pt x="1373323" y="198386"/>
                  <a:pt x="1125012" y="198092"/>
                  <a:pt x="913796" y="286769"/>
                </a:cubicBezTo>
                <a:cubicBezTo>
                  <a:pt x="650203" y="397436"/>
                  <a:pt x="487575" y="627955"/>
                  <a:pt x="497878" y="876315"/>
                </a:cubicBezTo>
                <a:lnTo>
                  <a:pt x="492947" y="876461"/>
                </a:lnTo>
                <a:lnTo>
                  <a:pt x="492947" y="2424958"/>
                </a:lnTo>
                <a:cubicBezTo>
                  <a:pt x="646520" y="2471832"/>
                  <a:pt x="757382" y="2615059"/>
                  <a:pt x="757382" y="2784179"/>
                </a:cubicBezTo>
                <a:cubicBezTo>
                  <a:pt x="757382" y="2993324"/>
                  <a:pt x="587836" y="3162870"/>
                  <a:pt x="378691" y="3162870"/>
                </a:cubicBezTo>
                <a:cubicBezTo>
                  <a:pt x="169546" y="3162870"/>
                  <a:pt x="0" y="2993324"/>
                  <a:pt x="0" y="2784179"/>
                </a:cubicBezTo>
                <a:cubicBezTo>
                  <a:pt x="0" y="2610447"/>
                  <a:pt x="116991" y="2464039"/>
                  <a:pt x="276947" y="2421074"/>
                </a:cubicBezTo>
                <a:lnTo>
                  <a:pt x="276947" y="783746"/>
                </a:lnTo>
                <a:lnTo>
                  <a:pt x="281758" y="783746"/>
                </a:lnTo>
                <a:cubicBezTo>
                  <a:pt x="307533" y="493124"/>
                  <a:pt x="502412" y="231983"/>
                  <a:pt x="801266" y="95774"/>
                </a:cubicBezTo>
                <a:cubicBezTo>
                  <a:pt x="1082323" y="-32324"/>
                  <a:pt x="1416727" y="-31901"/>
                  <a:pt x="1697364" y="96907"/>
                </a:cubicBezTo>
                <a:cubicBezTo>
                  <a:pt x="1994951" y="233494"/>
                  <a:pt x="2188714" y="494056"/>
                  <a:pt x="2214549" y="783746"/>
                </a:cubicBezTo>
                <a:lnTo>
                  <a:pt x="2219205" y="783746"/>
                </a:lnTo>
                <a:lnTo>
                  <a:pt x="2219205" y="1295162"/>
                </a:lnTo>
                <a:cubicBezTo>
                  <a:pt x="2327099" y="1309357"/>
                  <a:pt x="2432799" y="1344641"/>
                  <a:pt x="2530224" y="1400656"/>
                </a:cubicBezTo>
                <a:cubicBezTo>
                  <a:pt x="2794677" y="1552703"/>
                  <a:pt x="2957961" y="1834385"/>
                  <a:pt x="2958558" y="2139573"/>
                </a:cubicBezTo>
                <a:lnTo>
                  <a:pt x="2912782" y="2139663"/>
                </a:lnTo>
                <a:lnTo>
                  <a:pt x="2912782" y="2568172"/>
                </a:lnTo>
                <a:lnTo>
                  <a:pt x="2909478" y="2568172"/>
                </a:lnTo>
                <a:cubicBezTo>
                  <a:pt x="2913747" y="2652344"/>
                  <a:pt x="2908320" y="2768123"/>
                  <a:pt x="2836763" y="2808609"/>
                </a:cubicBezTo>
                <a:cubicBezTo>
                  <a:pt x="2754824" y="2874388"/>
                  <a:pt x="2704345" y="2914609"/>
                  <a:pt x="2599970" y="2983091"/>
                </a:cubicBezTo>
                <a:lnTo>
                  <a:pt x="2602250" y="2985811"/>
                </a:lnTo>
                <a:lnTo>
                  <a:pt x="2515466" y="3058559"/>
                </a:lnTo>
                <a:cubicBezTo>
                  <a:pt x="2517346" y="3093252"/>
                  <a:pt x="2505554" y="3128225"/>
                  <a:pt x="2481114" y="3156586"/>
                </a:cubicBezTo>
                <a:cubicBezTo>
                  <a:pt x="2454429" y="3187551"/>
                  <a:pt x="2417719" y="3204769"/>
                  <a:pt x="2379939" y="320757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89" name="Block Arc 11">
            <a:extLst>
              <a:ext uri="{FF2B5EF4-FFF2-40B4-BE49-F238E27FC236}">
                <a16:creationId xmlns:a16="http://schemas.microsoft.com/office/drawing/2014/main" id="{6237B46C-EE2F-45F5-A452-AEF5853F7D2C}"/>
              </a:ext>
            </a:extLst>
          </p:cNvPr>
          <p:cNvSpPr/>
          <p:nvPr/>
        </p:nvSpPr>
        <p:spPr>
          <a:xfrm rot="10800000">
            <a:off x="8710309" y="4659312"/>
            <a:ext cx="320105" cy="520850"/>
          </a:xfrm>
          <a:custGeom>
            <a:avLst/>
            <a:gdLst/>
            <a:ahLst/>
            <a:cxnLst/>
            <a:rect l="l" t="t" r="r" b="b"/>
            <a:pathLst>
              <a:path w="3636337" h="7138182">
                <a:moveTo>
                  <a:pt x="1563551" y="3029061"/>
                </a:moveTo>
                <a:lnTo>
                  <a:pt x="1563551" y="1171769"/>
                </a:lnTo>
                <a:cubicBezTo>
                  <a:pt x="1444523" y="1201084"/>
                  <a:pt x="1330799" y="1254073"/>
                  <a:pt x="1228219" y="1328453"/>
                </a:cubicBezTo>
                <a:cubicBezTo>
                  <a:pt x="927220" y="1546705"/>
                  <a:pt x="771440" y="1913395"/>
                  <a:pt x="823311" y="2281559"/>
                </a:cubicBezTo>
                <a:cubicBezTo>
                  <a:pt x="886035" y="2761950"/>
                  <a:pt x="1181988" y="2923981"/>
                  <a:pt x="1563551" y="3029061"/>
                </a:cubicBezTo>
                <a:close/>
                <a:moveTo>
                  <a:pt x="2056123" y="5971053"/>
                </a:moveTo>
                <a:cubicBezTo>
                  <a:pt x="2180706" y="5941789"/>
                  <a:pt x="2300029" y="5887431"/>
                  <a:pt x="2407191" y="5809729"/>
                </a:cubicBezTo>
                <a:cubicBezTo>
                  <a:pt x="2708190" y="5591477"/>
                  <a:pt x="2863970" y="5224787"/>
                  <a:pt x="2812099" y="4856623"/>
                </a:cubicBezTo>
                <a:cubicBezTo>
                  <a:pt x="2712300" y="4365494"/>
                  <a:pt x="2419393" y="4148018"/>
                  <a:pt x="2056123" y="4007016"/>
                </a:cubicBezTo>
                <a:close/>
                <a:moveTo>
                  <a:pt x="2056123" y="7138182"/>
                </a:moveTo>
                <a:lnTo>
                  <a:pt x="1563551" y="7138182"/>
                </a:lnTo>
                <a:lnTo>
                  <a:pt x="1563551" y="6796553"/>
                </a:lnTo>
                <a:cubicBezTo>
                  <a:pt x="1376287" y="6771102"/>
                  <a:pt x="1191751" y="6715291"/>
                  <a:pt x="1016794" y="6629471"/>
                </a:cubicBezTo>
                <a:cubicBezTo>
                  <a:pt x="412303" y="6332946"/>
                  <a:pt x="21102" y="5726704"/>
                  <a:pt x="0" y="5053734"/>
                </a:cubicBezTo>
                <a:lnTo>
                  <a:pt x="813973" y="5028205"/>
                </a:lnTo>
                <a:cubicBezTo>
                  <a:pt x="825624" y="5399818"/>
                  <a:pt x="1041643" y="5734588"/>
                  <a:pt x="1375441" y="5898325"/>
                </a:cubicBezTo>
                <a:cubicBezTo>
                  <a:pt x="1436179" y="5928119"/>
                  <a:pt x="1499008" y="5951362"/>
                  <a:pt x="1563551" y="5965918"/>
                </a:cubicBezTo>
                <a:lnTo>
                  <a:pt x="1563551" y="3847635"/>
                </a:lnTo>
                <a:cubicBezTo>
                  <a:pt x="920238" y="3662345"/>
                  <a:pt x="233045" y="3450393"/>
                  <a:pt x="16852" y="2382091"/>
                </a:cubicBezTo>
                <a:cubicBezTo>
                  <a:pt x="-73403" y="1719933"/>
                  <a:pt x="208577" y="1061859"/>
                  <a:pt x="750173" y="669157"/>
                </a:cubicBezTo>
                <a:cubicBezTo>
                  <a:pt x="994931" y="491686"/>
                  <a:pt x="1274723" y="381458"/>
                  <a:pt x="1563551" y="341319"/>
                </a:cubicBezTo>
                <a:lnTo>
                  <a:pt x="1563551" y="0"/>
                </a:lnTo>
                <a:lnTo>
                  <a:pt x="2056123" y="0"/>
                </a:lnTo>
                <a:lnTo>
                  <a:pt x="2056123" y="339268"/>
                </a:lnTo>
                <a:cubicBezTo>
                  <a:pt x="2248752" y="363969"/>
                  <a:pt x="2438747" y="420481"/>
                  <a:pt x="2618616" y="508711"/>
                </a:cubicBezTo>
                <a:cubicBezTo>
                  <a:pt x="3223107" y="805237"/>
                  <a:pt x="3614308" y="1411478"/>
                  <a:pt x="3635410" y="2084448"/>
                </a:cubicBezTo>
                <a:lnTo>
                  <a:pt x="2821437" y="2109978"/>
                </a:lnTo>
                <a:cubicBezTo>
                  <a:pt x="2809786" y="1738364"/>
                  <a:pt x="2593767" y="1403594"/>
                  <a:pt x="2259969" y="1239857"/>
                </a:cubicBezTo>
                <a:cubicBezTo>
                  <a:pt x="2194243" y="1207617"/>
                  <a:pt x="2126069" y="1183046"/>
                  <a:pt x="2056123" y="1168235"/>
                </a:cubicBezTo>
                <a:lnTo>
                  <a:pt x="2056123" y="3150890"/>
                </a:lnTo>
                <a:cubicBezTo>
                  <a:pt x="2675271" y="3303511"/>
                  <a:pt x="3347939" y="3564428"/>
                  <a:pt x="3618512" y="4743007"/>
                </a:cubicBezTo>
                <a:cubicBezTo>
                  <a:pt x="3712448" y="5409725"/>
                  <a:pt x="3430336" y="6073786"/>
                  <a:pt x="2885237" y="6469025"/>
                </a:cubicBezTo>
                <a:cubicBezTo>
                  <a:pt x="2636047" y="6649712"/>
                  <a:pt x="2350538" y="6760700"/>
                  <a:pt x="2056123" y="679874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90" name="Rectangle 21">
            <a:extLst>
              <a:ext uri="{FF2B5EF4-FFF2-40B4-BE49-F238E27FC236}">
                <a16:creationId xmlns:a16="http://schemas.microsoft.com/office/drawing/2014/main" id="{3DFB5373-0015-4A31-8F01-1597E404815D}"/>
              </a:ext>
            </a:extLst>
          </p:cNvPr>
          <p:cNvSpPr/>
          <p:nvPr/>
        </p:nvSpPr>
        <p:spPr>
          <a:xfrm>
            <a:off x="6977936" y="4798176"/>
            <a:ext cx="505898" cy="283399"/>
          </a:xfrm>
          <a:custGeom>
            <a:avLst/>
            <a:gdLst/>
            <a:ahLst/>
            <a:cxnLst/>
            <a:rect l="l" t="t" r="r" b="b"/>
            <a:pathLst>
              <a:path w="4560938" h="2554996">
                <a:moveTo>
                  <a:pt x="2315585" y="1351978"/>
                </a:moveTo>
                <a:lnTo>
                  <a:pt x="2315585" y="1608128"/>
                </a:lnTo>
                <a:cubicBezTo>
                  <a:pt x="2332000" y="1604085"/>
                  <a:pt x="2347685" y="1596777"/>
                  <a:pt x="2361832" y="1586519"/>
                </a:cubicBezTo>
                <a:cubicBezTo>
                  <a:pt x="2403345" y="1556419"/>
                  <a:pt x="2424829" y="1505846"/>
                  <a:pt x="2417675" y="1455070"/>
                </a:cubicBezTo>
                <a:cubicBezTo>
                  <a:pt x="2409025" y="1388817"/>
                  <a:pt x="2368208" y="1366470"/>
                  <a:pt x="2315585" y="1351978"/>
                </a:cubicBezTo>
                <a:close/>
                <a:moveTo>
                  <a:pt x="3612086" y="989467"/>
                </a:moveTo>
                <a:cubicBezTo>
                  <a:pt x="3453010" y="989467"/>
                  <a:pt x="3324054" y="1118423"/>
                  <a:pt x="3324054" y="1277499"/>
                </a:cubicBezTo>
                <a:cubicBezTo>
                  <a:pt x="3324054" y="1436575"/>
                  <a:pt x="3453010" y="1565531"/>
                  <a:pt x="3612086" y="1565531"/>
                </a:cubicBezTo>
                <a:cubicBezTo>
                  <a:pt x="3771162" y="1565531"/>
                  <a:pt x="3900118" y="1436575"/>
                  <a:pt x="3900118" y="1277499"/>
                </a:cubicBezTo>
                <a:cubicBezTo>
                  <a:pt x="3900118" y="1118423"/>
                  <a:pt x="3771162" y="989467"/>
                  <a:pt x="3612086" y="989467"/>
                </a:cubicBezTo>
                <a:close/>
                <a:moveTo>
                  <a:pt x="948854" y="989467"/>
                </a:moveTo>
                <a:cubicBezTo>
                  <a:pt x="789778" y="989467"/>
                  <a:pt x="660822" y="1118423"/>
                  <a:pt x="660822" y="1277499"/>
                </a:cubicBezTo>
                <a:cubicBezTo>
                  <a:pt x="660822" y="1436575"/>
                  <a:pt x="789778" y="1565531"/>
                  <a:pt x="948854" y="1565531"/>
                </a:cubicBezTo>
                <a:cubicBezTo>
                  <a:pt x="1107930" y="1565531"/>
                  <a:pt x="1236886" y="1436575"/>
                  <a:pt x="1236886" y="1277499"/>
                </a:cubicBezTo>
                <a:cubicBezTo>
                  <a:pt x="1236886" y="1118423"/>
                  <a:pt x="1107930" y="989467"/>
                  <a:pt x="948854" y="989467"/>
                </a:cubicBezTo>
                <a:close/>
                <a:moveTo>
                  <a:pt x="2247651" y="946230"/>
                </a:moveTo>
                <a:cubicBezTo>
                  <a:pt x="2230469" y="950266"/>
                  <a:pt x="2214012" y="957763"/>
                  <a:pt x="2199233" y="968479"/>
                </a:cubicBezTo>
                <a:cubicBezTo>
                  <a:pt x="2157721" y="998579"/>
                  <a:pt x="2136236" y="1049152"/>
                  <a:pt x="2143390" y="1099928"/>
                </a:cubicBezTo>
                <a:cubicBezTo>
                  <a:pt x="2157154" y="1167662"/>
                  <a:pt x="2197550" y="1197656"/>
                  <a:pt x="2247651" y="1217102"/>
                </a:cubicBezTo>
                <a:close/>
                <a:moveTo>
                  <a:pt x="2247651" y="785264"/>
                </a:moveTo>
                <a:lnTo>
                  <a:pt x="2315585" y="785264"/>
                </a:lnTo>
                <a:lnTo>
                  <a:pt x="2315585" y="832380"/>
                </a:lnTo>
                <a:cubicBezTo>
                  <a:pt x="2341411" y="835890"/>
                  <a:pt x="2366862" y="843587"/>
                  <a:pt x="2390991" y="855423"/>
                </a:cubicBezTo>
                <a:cubicBezTo>
                  <a:pt x="2474360" y="896319"/>
                  <a:pt x="2528313" y="979930"/>
                  <a:pt x="2531223" y="1072743"/>
                </a:cubicBezTo>
                <a:lnTo>
                  <a:pt x="2418963" y="1076264"/>
                </a:lnTo>
                <a:cubicBezTo>
                  <a:pt x="2417356" y="1025012"/>
                  <a:pt x="2387564" y="978842"/>
                  <a:pt x="2341528" y="956260"/>
                </a:cubicBezTo>
                <a:cubicBezTo>
                  <a:pt x="2333151" y="952151"/>
                  <a:pt x="2324486" y="948946"/>
                  <a:pt x="2315585" y="946938"/>
                </a:cubicBezTo>
                <a:lnTo>
                  <a:pt x="2315585" y="1239083"/>
                </a:lnTo>
                <a:cubicBezTo>
                  <a:pt x="2404308" y="1264638"/>
                  <a:pt x="2499083" y="1293869"/>
                  <a:pt x="2528899" y="1441205"/>
                </a:cubicBezTo>
                <a:cubicBezTo>
                  <a:pt x="2541347" y="1532528"/>
                  <a:pt x="2502457" y="1623287"/>
                  <a:pt x="2427762" y="1677447"/>
                </a:cubicBezTo>
                <a:cubicBezTo>
                  <a:pt x="2394006" y="1701923"/>
                  <a:pt x="2355419" y="1717125"/>
                  <a:pt x="2315585" y="1722661"/>
                </a:cubicBezTo>
                <a:lnTo>
                  <a:pt x="2315585" y="1769734"/>
                </a:lnTo>
                <a:lnTo>
                  <a:pt x="2247651" y="1769734"/>
                </a:lnTo>
                <a:lnTo>
                  <a:pt x="2247651" y="1722944"/>
                </a:lnTo>
                <a:cubicBezTo>
                  <a:pt x="2221084" y="1719537"/>
                  <a:pt x="2194881" y="1711743"/>
                  <a:pt x="2170074" y="1699575"/>
                </a:cubicBezTo>
                <a:cubicBezTo>
                  <a:pt x="2086705" y="1658679"/>
                  <a:pt x="2032752" y="1575069"/>
                  <a:pt x="2029842" y="1482255"/>
                </a:cubicBezTo>
                <a:lnTo>
                  <a:pt x="2142102" y="1478734"/>
                </a:lnTo>
                <a:cubicBezTo>
                  <a:pt x="2143709" y="1529986"/>
                  <a:pt x="2173501" y="1576156"/>
                  <a:pt x="2219537" y="1598738"/>
                </a:cubicBezTo>
                <a:cubicBezTo>
                  <a:pt x="2228602" y="1603184"/>
                  <a:pt x="2238004" y="1606573"/>
                  <a:pt x="2247651" y="1608616"/>
                </a:cubicBezTo>
                <a:lnTo>
                  <a:pt x="2247651" y="1335176"/>
                </a:lnTo>
                <a:cubicBezTo>
                  <a:pt x="2162261" y="1314127"/>
                  <a:pt x="2069489" y="1278142"/>
                  <a:pt x="2032173" y="1115597"/>
                </a:cubicBezTo>
                <a:cubicBezTo>
                  <a:pt x="2019217" y="1023646"/>
                  <a:pt x="2058125" y="932061"/>
                  <a:pt x="2133303" y="877552"/>
                </a:cubicBezTo>
                <a:cubicBezTo>
                  <a:pt x="2167670" y="852632"/>
                  <a:pt x="2207046" y="837325"/>
                  <a:pt x="2247651" y="832077"/>
                </a:cubicBezTo>
                <a:close/>
                <a:moveTo>
                  <a:pt x="2280470" y="617534"/>
                </a:moveTo>
                <a:cubicBezTo>
                  <a:pt x="1915981" y="617534"/>
                  <a:pt x="1620504" y="913011"/>
                  <a:pt x="1620504" y="1277500"/>
                </a:cubicBezTo>
                <a:cubicBezTo>
                  <a:pt x="1620504" y="1641989"/>
                  <a:pt x="1915981" y="1937466"/>
                  <a:pt x="2280470" y="1937466"/>
                </a:cubicBezTo>
                <a:cubicBezTo>
                  <a:pt x="2644959" y="1937466"/>
                  <a:pt x="2940436" y="1641989"/>
                  <a:pt x="2940436" y="1277500"/>
                </a:cubicBezTo>
                <a:cubicBezTo>
                  <a:pt x="2940436" y="913011"/>
                  <a:pt x="2644959" y="617534"/>
                  <a:pt x="2280470" y="617534"/>
                </a:cubicBezTo>
                <a:close/>
                <a:moveTo>
                  <a:pt x="284505" y="265281"/>
                </a:moveTo>
                <a:lnTo>
                  <a:pt x="4276434" y="265281"/>
                </a:lnTo>
                <a:lnTo>
                  <a:pt x="4276434" y="2289716"/>
                </a:lnTo>
                <a:lnTo>
                  <a:pt x="284505" y="2289716"/>
                </a:lnTo>
                <a:close/>
                <a:moveTo>
                  <a:pt x="180344" y="148161"/>
                </a:moveTo>
                <a:lnTo>
                  <a:pt x="180344" y="2406836"/>
                </a:lnTo>
                <a:lnTo>
                  <a:pt x="4380595" y="2406836"/>
                </a:lnTo>
                <a:lnTo>
                  <a:pt x="4380595" y="148161"/>
                </a:lnTo>
                <a:close/>
                <a:moveTo>
                  <a:pt x="0" y="0"/>
                </a:moveTo>
                <a:lnTo>
                  <a:pt x="4560938" y="0"/>
                </a:lnTo>
                <a:lnTo>
                  <a:pt x="4560938" y="2554996"/>
                </a:lnTo>
                <a:lnTo>
                  <a:pt x="0" y="255499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91" name="Round Same Side Corner Rectangle 8">
            <a:extLst>
              <a:ext uri="{FF2B5EF4-FFF2-40B4-BE49-F238E27FC236}">
                <a16:creationId xmlns:a16="http://schemas.microsoft.com/office/drawing/2014/main" id="{E4451B41-2F0A-4F98-8F16-0D0192492445}"/>
              </a:ext>
            </a:extLst>
          </p:cNvPr>
          <p:cNvSpPr/>
          <p:nvPr/>
        </p:nvSpPr>
        <p:spPr>
          <a:xfrm>
            <a:off x="11061660" y="4700090"/>
            <a:ext cx="522441" cy="523242"/>
          </a:xfrm>
          <a:custGeom>
            <a:avLst/>
            <a:gdLst/>
            <a:ahLst/>
            <a:cxnLst/>
            <a:rect l="l" t="t" r="r" b="b"/>
            <a:pathLst>
              <a:path w="3197597" h="3202496">
                <a:moveTo>
                  <a:pt x="601421" y="1611393"/>
                </a:moveTo>
                <a:lnTo>
                  <a:pt x="2596176" y="1611393"/>
                </a:lnTo>
                <a:cubicBezTo>
                  <a:pt x="2928331" y="1611393"/>
                  <a:pt x="3197594" y="1880656"/>
                  <a:pt x="3197594" y="2212811"/>
                </a:cubicBezTo>
                <a:lnTo>
                  <a:pt x="3197594" y="2776360"/>
                </a:lnTo>
                <a:lnTo>
                  <a:pt x="3197597" y="2776360"/>
                </a:lnTo>
                <a:lnTo>
                  <a:pt x="3197597" y="2914824"/>
                </a:lnTo>
                <a:lnTo>
                  <a:pt x="3197198" y="2914824"/>
                </a:lnTo>
                <a:lnTo>
                  <a:pt x="3197198" y="3202496"/>
                </a:lnTo>
                <a:lnTo>
                  <a:pt x="398" y="3202496"/>
                </a:lnTo>
                <a:lnTo>
                  <a:pt x="398" y="2914824"/>
                </a:lnTo>
                <a:lnTo>
                  <a:pt x="0" y="2914824"/>
                </a:lnTo>
                <a:lnTo>
                  <a:pt x="0" y="2212811"/>
                </a:lnTo>
                <a:cubicBezTo>
                  <a:pt x="0" y="1880656"/>
                  <a:pt x="269266" y="1611393"/>
                  <a:pt x="601421" y="1611393"/>
                </a:cubicBezTo>
                <a:close/>
                <a:moveTo>
                  <a:pt x="1598801" y="0"/>
                </a:moveTo>
                <a:cubicBezTo>
                  <a:pt x="1998649" y="0"/>
                  <a:pt x="2322791" y="324142"/>
                  <a:pt x="2322791" y="723993"/>
                </a:cubicBezTo>
                <a:cubicBezTo>
                  <a:pt x="2322791" y="1123843"/>
                  <a:pt x="1998649" y="1447985"/>
                  <a:pt x="1598801" y="1447985"/>
                </a:cubicBezTo>
                <a:cubicBezTo>
                  <a:pt x="1198951" y="1447985"/>
                  <a:pt x="874809" y="1123843"/>
                  <a:pt x="874809" y="723993"/>
                </a:cubicBezTo>
                <a:cubicBezTo>
                  <a:pt x="874809" y="324142"/>
                  <a:pt x="1198951" y="0"/>
                  <a:pt x="1598801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92" name="Rounded Rectangle 51">
            <a:extLst>
              <a:ext uri="{FF2B5EF4-FFF2-40B4-BE49-F238E27FC236}">
                <a16:creationId xmlns:a16="http://schemas.microsoft.com/office/drawing/2014/main" id="{B83253D3-E181-4488-9CD9-39D21527F719}"/>
              </a:ext>
            </a:extLst>
          </p:cNvPr>
          <p:cNvSpPr/>
          <p:nvPr/>
        </p:nvSpPr>
        <p:spPr>
          <a:xfrm rot="16200000" flipH="1">
            <a:off x="9442736" y="5628226"/>
            <a:ext cx="541566" cy="510026"/>
          </a:xfrm>
          <a:custGeom>
            <a:avLst/>
            <a:gdLst/>
            <a:ahLst/>
            <a:cxnLst/>
            <a:rect l="l" t="t" r="r" b="b"/>
            <a:pathLst>
              <a:path w="2928608" h="2758049">
                <a:moveTo>
                  <a:pt x="2797052" y="1199936"/>
                </a:moveTo>
                <a:lnTo>
                  <a:pt x="2797052" y="1541978"/>
                </a:lnTo>
                <a:cubicBezTo>
                  <a:pt x="2797052" y="1578306"/>
                  <a:pt x="2826502" y="1607756"/>
                  <a:pt x="2862830" y="1607756"/>
                </a:cubicBezTo>
                <a:lnTo>
                  <a:pt x="2862830" y="1607755"/>
                </a:lnTo>
                <a:cubicBezTo>
                  <a:pt x="2899158" y="1607755"/>
                  <a:pt x="2928608" y="1578305"/>
                  <a:pt x="2928608" y="1541977"/>
                </a:cubicBezTo>
                <a:lnTo>
                  <a:pt x="2928607" y="1199936"/>
                </a:lnTo>
                <a:cubicBezTo>
                  <a:pt x="2928607" y="1163608"/>
                  <a:pt x="2899158" y="1134159"/>
                  <a:pt x="2862830" y="1134158"/>
                </a:cubicBezTo>
                <a:cubicBezTo>
                  <a:pt x="2826502" y="1134159"/>
                  <a:pt x="2797052" y="1163608"/>
                  <a:pt x="2797052" y="1199936"/>
                </a:cubicBezTo>
                <a:close/>
                <a:moveTo>
                  <a:pt x="2593193" y="1147315"/>
                </a:moveTo>
                <a:lnTo>
                  <a:pt x="2593193" y="1594601"/>
                </a:lnTo>
                <a:cubicBezTo>
                  <a:pt x="2593193" y="1630929"/>
                  <a:pt x="2622643" y="1660379"/>
                  <a:pt x="2658971" y="1660379"/>
                </a:cubicBezTo>
                <a:lnTo>
                  <a:pt x="2658971" y="1660378"/>
                </a:lnTo>
                <a:cubicBezTo>
                  <a:pt x="2695299" y="1660378"/>
                  <a:pt x="2724749" y="1630928"/>
                  <a:pt x="2724749" y="1594600"/>
                </a:cubicBezTo>
                <a:lnTo>
                  <a:pt x="2724748" y="1147315"/>
                </a:lnTo>
                <a:cubicBezTo>
                  <a:pt x="2724748" y="1110987"/>
                  <a:pt x="2695299" y="1081538"/>
                  <a:pt x="2658971" y="1081537"/>
                </a:cubicBezTo>
                <a:cubicBezTo>
                  <a:pt x="2622643" y="1081538"/>
                  <a:pt x="2593193" y="1110987"/>
                  <a:pt x="2593193" y="1147315"/>
                </a:cubicBezTo>
                <a:close/>
                <a:moveTo>
                  <a:pt x="2389334" y="1121004"/>
                </a:moveTo>
                <a:lnTo>
                  <a:pt x="2389334" y="1620912"/>
                </a:lnTo>
                <a:cubicBezTo>
                  <a:pt x="2389334" y="1657240"/>
                  <a:pt x="2418784" y="1686690"/>
                  <a:pt x="2455112" y="1686690"/>
                </a:cubicBezTo>
                <a:lnTo>
                  <a:pt x="2455112" y="1686689"/>
                </a:lnTo>
                <a:cubicBezTo>
                  <a:pt x="2491440" y="1686689"/>
                  <a:pt x="2520890" y="1657239"/>
                  <a:pt x="2520890" y="1620911"/>
                </a:cubicBezTo>
                <a:lnTo>
                  <a:pt x="2520889" y="1121004"/>
                </a:lnTo>
                <a:cubicBezTo>
                  <a:pt x="2520889" y="1084676"/>
                  <a:pt x="2491440" y="1055227"/>
                  <a:pt x="2455112" y="1055226"/>
                </a:cubicBezTo>
                <a:cubicBezTo>
                  <a:pt x="2418784" y="1055227"/>
                  <a:pt x="2389334" y="1084676"/>
                  <a:pt x="2389334" y="1121004"/>
                </a:cubicBezTo>
                <a:close/>
                <a:moveTo>
                  <a:pt x="1314382" y="1247024"/>
                </a:moveTo>
                <a:cubicBezTo>
                  <a:pt x="1314381" y="1225915"/>
                  <a:pt x="1331494" y="1208803"/>
                  <a:pt x="1352603" y="1208803"/>
                </a:cubicBezTo>
                <a:lnTo>
                  <a:pt x="1410313" y="1208803"/>
                </a:lnTo>
                <a:lnTo>
                  <a:pt x="1410313" y="1146778"/>
                </a:lnTo>
                <a:cubicBezTo>
                  <a:pt x="1410313" y="1145599"/>
                  <a:pt x="1410393" y="1144438"/>
                  <a:pt x="1411688" y="1143457"/>
                </a:cubicBezTo>
                <a:lnTo>
                  <a:pt x="1408531" y="1133444"/>
                </a:lnTo>
                <a:cubicBezTo>
                  <a:pt x="1410371" y="1112415"/>
                  <a:pt x="1428909" y="1096860"/>
                  <a:pt x="1449938" y="1098699"/>
                </a:cubicBezTo>
                <a:lnTo>
                  <a:pt x="2236821" y="1167543"/>
                </a:lnTo>
                <a:cubicBezTo>
                  <a:pt x="2257849" y="1169383"/>
                  <a:pt x="2273405" y="1187920"/>
                  <a:pt x="2271565" y="1208950"/>
                </a:cubicBezTo>
                <a:cubicBezTo>
                  <a:pt x="2269725" y="1229978"/>
                  <a:pt x="2251187" y="1245533"/>
                  <a:pt x="2230159" y="1243693"/>
                </a:cubicBezTo>
                <a:cubicBezTo>
                  <a:pt x="1973864" y="1221271"/>
                  <a:pt x="1717570" y="1198849"/>
                  <a:pt x="1461275" y="1176426"/>
                </a:cubicBezTo>
                <a:lnTo>
                  <a:pt x="1461274" y="1208803"/>
                </a:lnTo>
                <a:lnTo>
                  <a:pt x="1518985" y="1208803"/>
                </a:lnTo>
                <a:cubicBezTo>
                  <a:pt x="1540095" y="1208802"/>
                  <a:pt x="1557205" y="1225915"/>
                  <a:pt x="1557206" y="1247025"/>
                </a:cubicBezTo>
                <a:lnTo>
                  <a:pt x="1557207" y="1247023"/>
                </a:lnTo>
                <a:cubicBezTo>
                  <a:pt x="1557207" y="1268132"/>
                  <a:pt x="1540095" y="1285244"/>
                  <a:pt x="1518986" y="1285244"/>
                </a:cubicBezTo>
                <a:cubicBezTo>
                  <a:pt x="1499749" y="1285244"/>
                  <a:pt x="1480511" y="1285243"/>
                  <a:pt x="1461275" y="1285244"/>
                </a:cubicBezTo>
                <a:lnTo>
                  <a:pt x="1461275" y="1337600"/>
                </a:lnTo>
                <a:lnTo>
                  <a:pt x="1518985" y="1337600"/>
                </a:lnTo>
                <a:cubicBezTo>
                  <a:pt x="1540095" y="1337600"/>
                  <a:pt x="1557206" y="1354713"/>
                  <a:pt x="1557206" y="1375821"/>
                </a:cubicBezTo>
                <a:lnTo>
                  <a:pt x="1557207" y="1375820"/>
                </a:lnTo>
                <a:cubicBezTo>
                  <a:pt x="1557206" y="1396928"/>
                  <a:pt x="1540095" y="1414041"/>
                  <a:pt x="1518986" y="1414041"/>
                </a:cubicBezTo>
                <a:cubicBezTo>
                  <a:pt x="1499750" y="1414041"/>
                  <a:pt x="1480511" y="1414041"/>
                  <a:pt x="1461275" y="1414042"/>
                </a:cubicBezTo>
                <a:lnTo>
                  <a:pt x="1461275" y="1466398"/>
                </a:lnTo>
                <a:lnTo>
                  <a:pt x="1518985" y="1466398"/>
                </a:lnTo>
                <a:cubicBezTo>
                  <a:pt x="1540095" y="1466398"/>
                  <a:pt x="1557206" y="1483509"/>
                  <a:pt x="1557206" y="1504618"/>
                </a:cubicBezTo>
                <a:lnTo>
                  <a:pt x="1557207" y="1504619"/>
                </a:lnTo>
                <a:cubicBezTo>
                  <a:pt x="1557207" y="1525727"/>
                  <a:pt x="1540094" y="1542838"/>
                  <a:pt x="1518986" y="1542839"/>
                </a:cubicBezTo>
                <a:cubicBezTo>
                  <a:pt x="1499749" y="1542839"/>
                  <a:pt x="1480511" y="1542838"/>
                  <a:pt x="1461275" y="1542839"/>
                </a:cubicBezTo>
                <a:lnTo>
                  <a:pt x="1461274" y="1575412"/>
                </a:lnTo>
                <a:lnTo>
                  <a:pt x="2226550" y="1494978"/>
                </a:lnTo>
                <a:cubicBezTo>
                  <a:pt x="2247542" y="1492772"/>
                  <a:pt x="2266350" y="1508001"/>
                  <a:pt x="2268556" y="1528995"/>
                </a:cubicBezTo>
                <a:cubicBezTo>
                  <a:pt x="2270763" y="1549988"/>
                  <a:pt x="2255534" y="1568794"/>
                  <a:pt x="2234542" y="1571000"/>
                </a:cubicBezTo>
                <a:cubicBezTo>
                  <a:pt x="1972686" y="1598522"/>
                  <a:pt x="1710833" y="1626046"/>
                  <a:pt x="1448978" y="1653567"/>
                </a:cubicBezTo>
                <a:cubicBezTo>
                  <a:pt x="1427984" y="1655774"/>
                  <a:pt x="1409178" y="1640544"/>
                  <a:pt x="1406971" y="1619551"/>
                </a:cubicBezTo>
                <a:cubicBezTo>
                  <a:pt x="1406474" y="1614827"/>
                  <a:pt x="1406862" y="1610214"/>
                  <a:pt x="1410805" y="1606610"/>
                </a:cubicBezTo>
                <a:lnTo>
                  <a:pt x="1410312" y="1605422"/>
                </a:lnTo>
                <a:lnTo>
                  <a:pt x="1410312" y="1542839"/>
                </a:lnTo>
                <a:lnTo>
                  <a:pt x="1352603" y="1542841"/>
                </a:lnTo>
                <a:cubicBezTo>
                  <a:pt x="1331494" y="1542841"/>
                  <a:pt x="1314382" y="1525729"/>
                  <a:pt x="1314382" y="1504619"/>
                </a:cubicBezTo>
                <a:cubicBezTo>
                  <a:pt x="1314382" y="1483510"/>
                  <a:pt x="1331493" y="1466397"/>
                  <a:pt x="1352603" y="1466398"/>
                </a:cubicBezTo>
                <a:lnTo>
                  <a:pt x="1410312" y="1466398"/>
                </a:lnTo>
                <a:lnTo>
                  <a:pt x="1410313" y="1414042"/>
                </a:lnTo>
                <a:lnTo>
                  <a:pt x="1352603" y="1414042"/>
                </a:lnTo>
                <a:cubicBezTo>
                  <a:pt x="1331494" y="1414041"/>
                  <a:pt x="1314383" y="1396930"/>
                  <a:pt x="1314382" y="1375820"/>
                </a:cubicBezTo>
                <a:cubicBezTo>
                  <a:pt x="1314383" y="1354713"/>
                  <a:pt x="1331494" y="1337600"/>
                  <a:pt x="1352603" y="1337601"/>
                </a:cubicBezTo>
                <a:lnTo>
                  <a:pt x="1410312" y="1337600"/>
                </a:lnTo>
                <a:lnTo>
                  <a:pt x="1410312" y="1285244"/>
                </a:lnTo>
                <a:lnTo>
                  <a:pt x="1352603" y="1285244"/>
                </a:lnTo>
                <a:cubicBezTo>
                  <a:pt x="1331494" y="1285244"/>
                  <a:pt x="1314381" y="1268133"/>
                  <a:pt x="1314382" y="1247024"/>
                </a:cubicBezTo>
                <a:close/>
                <a:moveTo>
                  <a:pt x="1171967" y="72000"/>
                </a:moveTo>
                <a:lnTo>
                  <a:pt x="1171967" y="288000"/>
                </a:lnTo>
                <a:cubicBezTo>
                  <a:pt x="1171967" y="327765"/>
                  <a:pt x="1204202" y="360000"/>
                  <a:pt x="1243967" y="360000"/>
                </a:cubicBezTo>
                <a:cubicBezTo>
                  <a:pt x="1283732" y="360000"/>
                  <a:pt x="1315967" y="327765"/>
                  <a:pt x="1315967" y="288000"/>
                </a:cubicBezTo>
                <a:lnTo>
                  <a:pt x="1315967" y="72000"/>
                </a:lnTo>
                <a:cubicBezTo>
                  <a:pt x="1315967" y="32235"/>
                  <a:pt x="1283732" y="0"/>
                  <a:pt x="1243967" y="0"/>
                </a:cubicBezTo>
                <a:cubicBezTo>
                  <a:pt x="1204202" y="0"/>
                  <a:pt x="1171967" y="32235"/>
                  <a:pt x="1171967" y="72000"/>
                </a:cubicBezTo>
                <a:close/>
                <a:moveTo>
                  <a:pt x="1171966" y="2470049"/>
                </a:moveTo>
                <a:lnTo>
                  <a:pt x="1171966" y="2686049"/>
                </a:lnTo>
                <a:cubicBezTo>
                  <a:pt x="1171966" y="2725814"/>
                  <a:pt x="1204201" y="2758049"/>
                  <a:pt x="1243966" y="2758049"/>
                </a:cubicBezTo>
                <a:cubicBezTo>
                  <a:pt x="1283731" y="2758049"/>
                  <a:pt x="1315966" y="2725814"/>
                  <a:pt x="1315966" y="2686049"/>
                </a:cubicBezTo>
                <a:lnTo>
                  <a:pt x="1315966" y="2470049"/>
                </a:lnTo>
                <a:cubicBezTo>
                  <a:pt x="1315966" y="2430284"/>
                  <a:pt x="1283731" y="2398049"/>
                  <a:pt x="1243966" y="2398049"/>
                </a:cubicBezTo>
                <a:cubicBezTo>
                  <a:pt x="1204201" y="2398049"/>
                  <a:pt x="1171966" y="2430284"/>
                  <a:pt x="1171966" y="2470049"/>
                </a:cubicBezTo>
                <a:close/>
                <a:moveTo>
                  <a:pt x="515345" y="1370958"/>
                </a:moveTo>
                <a:cubicBezTo>
                  <a:pt x="515344" y="1558300"/>
                  <a:pt x="586814" y="1745642"/>
                  <a:pt x="729750" y="1888579"/>
                </a:cubicBezTo>
                <a:cubicBezTo>
                  <a:pt x="1015625" y="2174454"/>
                  <a:pt x="1479119" y="2174454"/>
                  <a:pt x="1764994" y="1888580"/>
                </a:cubicBezTo>
                <a:lnTo>
                  <a:pt x="1940572" y="1713001"/>
                </a:lnTo>
                <a:lnTo>
                  <a:pt x="2136413" y="1713002"/>
                </a:lnTo>
                <a:cubicBezTo>
                  <a:pt x="2215124" y="1713001"/>
                  <a:pt x="2278929" y="1649195"/>
                  <a:pt x="2278929" y="1570486"/>
                </a:cubicBezTo>
                <a:lnTo>
                  <a:pt x="2278929" y="1374645"/>
                </a:lnTo>
                <a:lnTo>
                  <a:pt x="2282614" y="1370959"/>
                </a:lnTo>
                <a:lnTo>
                  <a:pt x="2278929" y="1367272"/>
                </a:lnTo>
                <a:lnTo>
                  <a:pt x="2278929" y="1171432"/>
                </a:lnTo>
                <a:cubicBezTo>
                  <a:pt x="2278929" y="1092722"/>
                  <a:pt x="2215123" y="1028916"/>
                  <a:pt x="2136413" y="1028916"/>
                </a:cubicBezTo>
                <a:lnTo>
                  <a:pt x="1940571" y="1028916"/>
                </a:lnTo>
                <a:cubicBezTo>
                  <a:pt x="1882045" y="970390"/>
                  <a:pt x="1823519" y="911862"/>
                  <a:pt x="1764993" y="853336"/>
                </a:cubicBezTo>
                <a:cubicBezTo>
                  <a:pt x="1479118" y="567461"/>
                  <a:pt x="1015625" y="567462"/>
                  <a:pt x="729750" y="853336"/>
                </a:cubicBezTo>
                <a:cubicBezTo>
                  <a:pt x="586813" y="996273"/>
                  <a:pt x="515344" y="1183616"/>
                  <a:pt x="515345" y="1370958"/>
                </a:cubicBezTo>
                <a:close/>
                <a:moveTo>
                  <a:pt x="388776" y="2386770"/>
                </a:moveTo>
                <a:cubicBezTo>
                  <a:pt x="388776" y="2405196"/>
                  <a:pt x="395805" y="2423622"/>
                  <a:pt x="409865" y="2437681"/>
                </a:cubicBezTo>
                <a:cubicBezTo>
                  <a:pt x="437983" y="2465800"/>
                  <a:pt x="483570" y="2465800"/>
                  <a:pt x="511688" y="2437681"/>
                </a:cubicBezTo>
                <a:lnTo>
                  <a:pt x="664423" y="2284946"/>
                </a:lnTo>
                <a:cubicBezTo>
                  <a:pt x="692541" y="2256828"/>
                  <a:pt x="692541" y="2211241"/>
                  <a:pt x="664423" y="2183123"/>
                </a:cubicBezTo>
                <a:cubicBezTo>
                  <a:pt x="636305" y="2155005"/>
                  <a:pt x="590718" y="2155005"/>
                  <a:pt x="562599" y="2183123"/>
                </a:cubicBezTo>
                <a:lnTo>
                  <a:pt x="409865" y="2335858"/>
                </a:lnTo>
                <a:cubicBezTo>
                  <a:pt x="395805" y="2349917"/>
                  <a:pt x="388776" y="2368343"/>
                  <a:pt x="388776" y="2386770"/>
                </a:cubicBezTo>
                <a:close/>
                <a:moveTo>
                  <a:pt x="388776" y="365689"/>
                </a:moveTo>
                <a:cubicBezTo>
                  <a:pt x="388776" y="384115"/>
                  <a:pt x="395805" y="402541"/>
                  <a:pt x="409865" y="416600"/>
                </a:cubicBezTo>
                <a:lnTo>
                  <a:pt x="562599" y="569335"/>
                </a:lnTo>
                <a:cubicBezTo>
                  <a:pt x="590718" y="597454"/>
                  <a:pt x="636305" y="597454"/>
                  <a:pt x="664423" y="569335"/>
                </a:cubicBezTo>
                <a:cubicBezTo>
                  <a:pt x="692541" y="541217"/>
                  <a:pt x="692541" y="495630"/>
                  <a:pt x="664423" y="467512"/>
                </a:cubicBezTo>
                <a:lnTo>
                  <a:pt x="511688" y="314777"/>
                </a:lnTo>
                <a:cubicBezTo>
                  <a:pt x="483570" y="286659"/>
                  <a:pt x="437983" y="286659"/>
                  <a:pt x="409865" y="314777"/>
                </a:cubicBezTo>
                <a:cubicBezTo>
                  <a:pt x="395805" y="328836"/>
                  <a:pt x="388776" y="347262"/>
                  <a:pt x="388776" y="365689"/>
                </a:cubicBezTo>
                <a:close/>
                <a:moveTo>
                  <a:pt x="0" y="1379024"/>
                </a:moveTo>
                <a:cubicBezTo>
                  <a:pt x="0" y="1418789"/>
                  <a:pt x="32235" y="1451024"/>
                  <a:pt x="72000" y="1451024"/>
                </a:cubicBezTo>
                <a:lnTo>
                  <a:pt x="288000" y="1451024"/>
                </a:lnTo>
                <a:cubicBezTo>
                  <a:pt x="327765" y="1451024"/>
                  <a:pt x="360000" y="1418789"/>
                  <a:pt x="360000" y="1379024"/>
                </a:cubicBezTo>
                <a:cubicBezTo>
                  <a:pt x="360000" y="1339259"/>
                  <a:pt x="327765" y="1307024"/>
                  <a:pt x="288000" y="1307024"/>
                </a:cubicBezTo>
                <a:lnTo>
                  <a:pt x="72000" y="1307024"/>
                </a:lnTo>
                <a:cubicBezTo>
                  <a:pt x="32235" y="1307024"/>
                  <a:pt x="0" y="1339259"/>
                  <a:pt x="0" y="1379024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93" name="Isosceles Triangle 5">
            <a:extLst>
              <a:ext uri="{FF2B5EF4-FFF2-40B4-BE49-F238E27FC236}">
                <a16:creationId xmlns:a16="http://schemas.microsoft.com/office/drawing/2014/main" id="{C90FA9E7-BC2A-492A-9790-9857E5ADE9BC}"/>
              </a:ext>
            </a:extLst>
          </p:cNvPr>
          <p:cNvSpPr>
            <a:spLocks noChangeAspect="1"/>
          </p:cNvSpPr>
          <p:nvPr/>
        </p:nvSpPr>
        <p:spPr>
          <a:xfrm>
            <a:off x="7895083" y="4737985"/>
            <a:ext cx="404220" cy="403783"/>
          </a:xfrm>
          <a:custGeom>
            <a:avLst/>
            <a:gdLst/>
            <a:ahLst/>
            <a:cxnLst/>
            <a:rect l="l" t="t" r="r" b="b"/>
            <a:pathLst>
              <a:path w="3229104" h="3225610">
                <a:moveTo>
                  <a:pt x="2311104" y="907633"/>
                </a:moveTo>
                <a:lnTo>
                  <a:pt x="3229104" y="907633"/>
                </a:lnTo>
                <a:lnTo>
                  <a:pt x="1769979" y="3097491"/>
                </a:lnTo>
                <a:close/>
                <a:moveTo>
                  <a:pt x="823" y="907633"/>
                </a:moveTo>
                <a:lnTo>
                  <a:pt x="918823" y="907633"/>
                </a:lnTo>
                <a:lnTo>
                  <a:pt x="1498048" y="3135591"/>
                </a:lnTo>
                <a:close/>
                <a:moveTo>
                  <a:pt x="1036980" y="907632"/>
                </a:moveTo>
                <a:lnTo>
                  <a:pt x="2192122" y="907632"/>
                </a:lnTo>
                <a:lnTo>
                  <a:pt x="1614551" y="3225610"/>
                </a:lnTo>
                <a:close/>
                <a:moveTo>
                  <a:pt x="2769693" y="0"/>
                </a:moveTo>
                <a:lnTo>
                  <a:pt x="3229104" y="792088"/>
                </a:lnTo>
                <a:lnTo>
                  <a:pt x="2310282" y="792088"/>
                </a:lnTo>
                <a:close/>
                <a:moveTo>
                  <a:pt x="1732713" y="0"/>
                </a:moveTo>
                <a:lnTo>
                  <a:pt x="2651535" y="0"/>
                </a:lnTo>
                <a:lnTo>
                  <a:pt x="2192124" y="792088"/>
                </a:lnTo>
                <a:close/>
                <a:moveTo>
                  <a:pt x="1614553" y="0"/>
                </a:moveTo>
                <a:lnTo>
                  <a:pt x="2073964" y="792088"/>
                </a:lnTo>
                <a:lnTo>
                  <a:pt x="1155142" y="792088"/>
                </a:lnTo>
                <a:close/>
                <a:moveTo>
                  <a:pt x="577571" y="0"/>
                </a:moveTo>
                <a:lnTo>
                  <a:pt x="1496393" y="0"/>
                </a:lnTo>
                <a:lnTo>
                  <a:pt x="1036982" y="792088"/>
                </a:lnTo>
                <a:close/>
                <a:moveTo>
                  <a:pt x="459411" y="0"/>
                </a:moveTo>
                <a:lnTo>
                  <a:pt x="918822" y="792088"/>
                </a:lnTo>
                <a:lnTo>
                  <a:pt x="0" y="79208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94" name="Trapezoid 22">
            <a:extLst>
              <a:ext uri="{FF2B5EF4-FFF2-40B4-BE49-F238E27FC236}">
                <a16:creationId xmlns:a16="http://schemas.microsoft.com/office/drawing/2014/main" id="{D2EC6B0A-E896-40D9-B4A8-1556019F68B9}"/>
              </a:ext>
            </a:extLst>
          </p:cNvPr>
          <p:cNvSpPr>
            <a:spLocks noChangeAspect="1"/>
          </p:cNvSpPr>
          <p:nvPr/>
        </p:nvSpPr>
        <p:spPr>
          <a:xfrm>
            <a:off x="9438721" y="4805113"/>
            <a:ext cx="529812" cy="269525"/>
          </a:xfrm>
          <a:custGeom>
            <a:avLst/>
            <a:gdLst/>
            <a:ahLst/>
            <a:cxnLst/>
            <a:rect l="l" t="t" r="r" b="b"/>
            <a:pathLst>
              <a:path w="3261500" h="1659188">
                <a:moveTo>
                  <a:pt x="121102" y="1436888"/>
                </a:moveTo>
                <a:lnTo>
                  <a:pt x="3045452" y="1436888"/>
                </a:lnTo>
                <a:cubicBezTo>
                  <a:pt x="3001437" y="1508238"/>
                  <a:pt x="2956882" y="1580993"/>
                  <a:pt x="2918729" y="1659188"/>
                </a:cubicBezTo>
                <a:lnTo>
                  <a:pt x="202648" y="1659188"/>
                </a:lnTo>
                <a:cubicBezTo>
                  <a:pt x="188127" y="1585004"/>
                  <a:pt x="156049" y="1510828"/>
                  <a:pt x="121102" y="1436888"/>
                </a:cubicBezTo>
                <a:close/>
                <a:moveTo>
                  <a:pt x="2814967" y="1119413"/>
                </a:moveTo>
                <a:lnTo>
                  <a:pt x="2814967" y="1227413"/>
                </a:lnTo>
                <a:lnTo>
                  <a:pt x="2922967" y="1227413"/>
                </a:lnTo>
                <a:lnTo>
                  <a:pt x="2922967" y="1119413"/>
                </a:lnTo>
                <a:close/>
                <a:moveTo>
                  <a:pt x="2600074" y="1119413"/>
                </a:moveTo>
                <a:lnTo>
                  <a:pt x="2600074" y="1227413"/>
                </a:lnTo>
                <a:lnTo>
                  <a:pt x="2708074" y="1227413"/>
                </a:lnTo>
                <a:lnTo>
                  <a:pt x="2708074" y="1119413"/>
                </a:lnTo>
                <a:close/>
                <a:moveTo>
                  <a:pt x="2385182" y="1119413"/>
                </a:moveTo>
                <a:lnTo>
                  <a:pt x="2385182" y="1227413"/>
                </a:lnTo>
                <a:lnTo>
                  <a:pt x="2493182" y="1227413"/>
                </a:lnTo>
                <a:lnTo>
                  <a:pt x="2493182" y="1119413"/>
                </a:lnTo>
                <a:close/>
                <a:moveTo>
                  <a:pt x="1716569" y="1119413"/>
                </a:moveTo>
                <a:lnTo>
                  <a:pt x="1716569" y="1227413"/>
                </a:lnTo>
                <a:lnTo>
                  <a:pt x="1824569" y="1227413"/>
                </a:lnTo>
                <a:lnTo>
                  <a:pt x="1824569" y="1119413"/>
                </a:lnTo>
                <a:close/>
                <a:moveTo>
                  <a:pt x="1501676" y="1119413"/>
                </a:moveTo>
                <a:lnTo>
                  <a:pt x="1501676" y="1227413"/>
                </a:lnTo>
                <a:lnTo>
                  <a:pt x="1609676" y="1227413"/>
                </a:lnTo>
                <a:lnTo>
                  <a:pt x="1609676" y="1119413"/>
                </a:lnTo>
                <a:close/>
                <a:moveTo>
                  <a:pt x="1286784" y="1119413"/>
                </a:moveTo>
                <a:lnTo>
                  <a:pt x="1286784" y="1227413"/>
                </a:lnTo>
                <a:lnTo>
                  <a:pt x="1394784" y="1227413"/>
                </a:lnTo>
                <a:lnTo>
                  <a:pt x="1394784" y="1119413"/>
                </a:lnTo>
                <a:close/>
                <a:moveTo>
                  <a:pt x="1071892" y="1119413"/>
                </a:moveTo>
                <a:lnTo>
                  <a:pt x="1071892" y="1227413"/>
                </a:lnTo>
                <a:lnTo>
                  <a:pt x="1179892" y="1227413"/>
                </a:lnTo>
                <a:lnTo>
                  <a:pt x="1179892" y="1119413"/>
                </a:lnTo>
                <a:close/>
                <a:moveTo>
                  <a:pt x="857000" y="1119413"/>
                </a:moveTo>
                <a:lnTo>
                  <a:pt x="857000" y="1227413"/>
                </a:lnTo>
                <a:lnTo>
                  <a:pt x="965000" y="1227413"/>
                </a:lnTo>
                <a:lnTo>
                  <a:pt x="965000" y="1119413"/>
                </a:lnTo>
                <a:close/>
                <a:moveTo>
                  <a:pt x="642108" y="1119413"/>
                </a:moveTo>
                <a:lnTo>
                  <a:pt x="642108" y="1227413"/>
                </a:lnTo>
                <a:lnTo>
                  <a:pt x="750108" y="1227413"/>
                </a:lnTo>
                <a:lnTo>
                  <a:pt x="750108" y="1119413"/>
                </a:lnTo>
                <a:close/>
                <a:moveTo>
                  <a:pt x="427216" y="1119413"/>
                </a:moveTo>
                <a:lnTo>
                  <a:pt x="427216" y="1227413"/>
                </a:lnTo>
                <a:lnTo>
                  <a:pt x="535216" y="1227413"/>
                </a:lnTo>
                <a:lnTo>
                  <a:pt x="535216" y="1119413"/>
                </a:lnTo>
                <a:close/>
                <a:moveTo>
                  <a:pt x="356387" y="794045"/>
                </a:moveTo>
                <a:lnTo>
                  <a:pt x="310667" y="896924"/>
                </a:lnTo>
                <a:lnTo>
                  <a:pt x="2620886" y="908354"/>
                </a:lnTo>
                <a:lnTo>
                  <a:pt x="2540130" y="801665"/>
                </a:lnTo>
                <a:close/>
                <a:moveTo>
                  <a:pt x="382676" y="631248"/>
                </a:moveTo>
                <a:lnTo>
                  <a:pt x="363625" y="730317"/>
                </a:lnTo>
                <a:lnTo>
                  <a:pt x="2492522" y="737937"/>
                </a:lnTo>
                <a:lnTo>
                  <a:pt x="2418771" y="631248"/>
                </a:lnTo>
                <a:close/>
                <a:moveTo>
                  <a:pt x="1756650" y="318899"/>
                </a:moveTo>
                <a:lnTo>
                  <a:pt x="1756650" y="477608"/>
                </a:lnTo>
                <a:lnTo>
                  <a:pt x="1900650" y="477608"/>
                </a:lnTo>
                <a:lnTo>
                  <a:pt x="1900650" y="318899"/>
                </a:lnTo>
                <a:close/>
                <a:moveTo>
                  <a:pt x="1470038" y="318899"/>
                </a:moveTo>
                <a:lnTo>
                  <a:pt x="1470038" y="477608"/>
                </a:lnTo>
                <a:lnTo>
                  <a:pt x="1614038" y="477608"/>
                </a:lnTo>
                <a:lnTo>
                  <a:pt x="1614038" y="318899"/>
                </a:lnTo>
                <a:close/>
                <a:moveTo>
                  <a:pt x="1183427" y="318899"/>
                </a:moveTo>
                <a:lnTo>
                  <a:pt x="1183427" y="477608"/>
                </a:lnTo>
                <a:lnTo>
                  <a:pt x="1327427" y="477608"/>
                </a:lnTo>
                <a:lnTo>
                  <a:pt x="1327427" y="318899"/>
                </a:lnTo>
                <a:close/>
                <a:moveTo>
                  <a:pt x="896816" y="318899"/>
                </a:moveTo>
                <a:lnTo>
                  <a:pt x="896816" y="477608"/>
                </a:lnTo>
                <a:lnTo>
                  <a:pt x="1040816" y="477608"/>
                </a:lnTo>
                <a:lnTo>
                  <a:pt x="1040816" y="318899"/>
                </a:lnTo>
                <a:close/>
                <a:moveTo>
                  <a:pt x="1190618" y="0"/>
                </a:moveTo>
                <a:lnTo>
                  <a:pt x="1271830" y="0"/>
                </a:lnTo>
                <a:lnTo>
                  <a:pt x="1308266" y="193836"/>
                </a:lnTo>
                <a:lnTo>
                  <a:pt x="1977660" y="193836"/>
                </a:lnTo>
                <a:lnTo>
                  <a:pt x="2138144" y="525639"/>
                </a:lnTo>
                <a:lnTo>
                  <a:pt x="2421400" y="525639"/>
                </a:lnTo>
                <a:lnTo>
                  <a:pt x="2750195" y="950920"/>
                </a:lnTo>
                <a:lnTo>
                  <a:pt x="3261500" y="937238"/>
                </a:lnTo>
                <a:cubicBezTo>
                  <a:pt x="3244841" y="1097170"/>
                  <a:pt x="3172191" y="1230845"/>
                  <a:pt x="3089450" y="1364888"/>
                </a:cubicBezTo>
                <a:lnTo>
                  <a:pt x="88044" y="1364888"/>
                </a:lnTo>
                <a:cubicBezTo>
                  <a:pt x="35437" y="1251413"/>
                  <a:pt x="-11245" y="1137942"/>
                  <a:pt x="2399" y="1024450"/>
                </a:cubicBezTo>
                <a:lnTo>
                  <a:pt x="197767" y="1019222"/>
                </a:lnTo>
                <a:lnTo>
                  <a:pt x="321162" y="525639"/>
                </a:lnTo>
                <a:lnTo>
                  <a:pt x="681951" y="525639"/>
                </a:lnTo>
                <a:lnTo>
                  <a:pt x="764901" y="193836"/>
                </a:lnTo>
                <a:lnTo>
                  <a:pt x="930048" y="193836"/>
                </a:lnTo>
                <a:lnTo>
                  <a:pt x="966373" y="588"/>
                </a:lnTo>
                <a:lnTo>
                  <a:pt x="1047585" y="588"/>
                </a:lnTo>
                <a:lnTo>
                  <a:pt x="1083910" y="193836"/>
                </a:lnTo>
                <a:lnTo>
                  <a:pt x="1154183" y="1938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95" name="Rounded Rectangle 20">
            <a:extLst>
              <a:ext uri="{FF2B5EF4-FFF2-40B4-BE49-F238E27FC236}">
                <a16:creationId xmlns:a16="http://schemas.microsoft.com/office/drawing/2014/main" id="{B5A75B4D-CA52-4F78-AC74-CB42B7BD2898}"/>
              </a:ext>
            </a:extLst>
          </p:cNvPr>
          <p:cNvSpPr>
            <a:spLocks noChangeAspect="1"/>
          </p:cNvSpPr>
          <p:nvPr/>
        </p:nvSpPr>
        <p:spPr>
          <a:xfrm rot="2160000">
            <a:off x="10296822" y="4674968"/>
            <a:ext cx="491028" cy="529812"/>
          </a:xfrm>
          <a:custGeom>
            <a:avLst/>
            <a:gdLst/>
            <a:ahLst/>
            <a:cxnLst/>
            <a:rect l="l" t="t" r="r" b="b"/>
            <a:pathLst>
              <a:path w="2735240" h="2951283">
                <a:moveTo>
                  <a:pt x="945240" y="943134"/>
                </a:moveTo>
                <a:cubicBezTo>
                  <a:pt x="504657" y="1263236"/>
                  <a:pt x="406988" y="1879894"/>
                  <a:pt x="727090" y="2320477"/>
                </a:cubicBezTo>
                <a:cubicBezTo>
                  <a:pt x="1047193" y="2761060"/>
                  <a:pt x="1663850" y="2858729"/>
                  <a:pt x="2104434" y="2538627"/>
                </a:cubicBezTo>
                <a:cubicBezTo>
                  <a:pt x="2545017" y="2218524"/>
                  <a:pt x="2642686" y="1601867"/>
                  <a:pt x="2322584" y="1161283"/>
                </a:cubicBezTo>
                <a:cubicBezTo>
                  <a:pt x="2003839" y="722570"/>
                  <a:pt x="1391052" y="623866"/>
                  <a:pt x="951049" y="939346"/>
                </a:cubicBezTo>
                <a:lnTo>
                  <a:pt x="1557721" y="1618250"/>
                </a:lnTo>
                <a:cubicBezTo>
                  <a:pt x="1596798" y="1621348"/>
                  <a:pt x="1633874" y="1641400"/>
                  <a:pt x="1658719" y="1675596"/>
                </a:cubicBezTo>
                <a:cubicBezTo>
                  <a:pt x="1705470" y="1739944"/>
                  <a:pt x="1691206" y="1830007"/>
                  <a:pt x="1626858" y="1876758"/>
                </a:cubicBezTo>
                <a:cubicBezTo>
                  <a:pt x="1562511" y="1923509"/>
                  <a:pt x="1472448" y="1909245"/>
                  <a:pt x="1425696" y="1844897"/>
                </a:cubicBezTo>
                <a:cubicBezTo>
                  <a:pt x="1398776" y="1807844"/>
                  <a:pt x="1392087" y="1762265"/>
                  <a:pt x="1405709" y="1721944"/>
                </a:cubicBezTo>
                <a:lnTo>
                  <a:pt x="950242" y="939871"/>
                </a:lnTo>
                <a:cubicBezTo>
                  <a:pt x="948462" y="940800"/>
                  <a:pt x="946850" y="941964"/>
                  <a:pt x="945240" y="943134"/>
                </a:cubicBezTo>
                <a:close/>
                <a:moveTo>
                  <a:pt x="390013" y="178929"/>
                </a:moveTo>
                <a:cubicBezTo>
                  <a:pt x="223423" y="299964"/>
                  <a:pt x="186493" y="533130"/>
                  <a:pt x="307528" y="699721"/>
                </a:cubicBezTo>
                <a:cubicBezTo>
                  <a:pt x="392822" y="817118"/>
                  <a:pt x="533802" y="870124"/>
                  <a:pt x="667672" y="847235"/>
                </a:cubicBezTo>
                <a:lnTo>
                  <a:pt x="556452" y="694153"/>
                </a:lnTo>
                <a:lnTo>
                  <a:pt x="528500" y="714461"/>
                </a:lnTo>
                <a:cubicBezTo>
                  <a:pt x="498835" y="736014"/>
                  <a:pt x="457314" y="729437"/>
                  <a:pt x="435761" y="699772"/>
                </a:cubicBezTo>
                <a:lnTo>
                  <a:pt x="341779" y="570418"/>
                </a:lnTo>
                <a:cubicBezTo>
                  <a:pt x="320226" y="540753"/>
                  <a:pt x="326803" y="499231"/>
                  <a:pt x="356468" y="477679"/>
                </a:cubicBezTo>
                <a:lnTo>
                  <a:pt x="684509" y="239343"/>
                </a:lnTo>
                <a:cubicBezTo>
                  <a:pt x="714174" y="217790"/>
                  <a:pt x="755695" y="224366"/>
                  <a:pt x="777248" y="254031"/>
                </a:cubicBezTo>
                <a:lnTo>
                  <a:pt x="871230" y="383386"/>
                </a:lnTo>
                <a:cubicBezTo>
                  <a:pt x="892782" y="413051"/>
                  <a:pt x="886206" y="454572"/>
                  <a:pt x="856541" y="476125"/>
                </a:cubicBezTo>
                <a:lnTo>
                  <a:pt x="828590" y="496433"/>
                </a:lnTo>
                <a:lnTo>
                  <a:pt x="939810" y="649514"/>
                </a:lnTo>
                <a:cubicBezTo>
                  <a:pt x="1002947" y="529270"/>
                  <a:pt x="996100" y="378811"/>
                  <a:pt x="910806" y="261414"/>
                </a:cubicBezTo>
                <a:cubicBezTo>
                  <a:pt x="789771" y="94824"/>
                  <a:pt x="556604" y="57894"/>
                  <a:pt x="390013" y="178929"/>
                </a:cubicBezTo>
                <a:close/>
                <a:moveTo>
                  <a:pt x="326716" y="91807"/>
                </a:moveTo>
                <a:cubicBezTo>
                  <a:pt x="541423" y="-64186"/>
                  <a:pt x="841934" y="-16590"/>
                  <a:pt x="997927" y="198117"/>
                </a:cubicBezTo>
                <a:cubicBezTo>
                  <a:pt x="1090326" y="325293"/>
                  <a:pt x="1111296" y="482575"/>
                  <a:pt x="1067359" y="621566"/>
                </a:cubicBezTo>
                <a:cubicBezTo>
                  <a:pt x="1125087" y="596400"/>
                  <a:pt x="1184605" y="577365"/>
                  <a:pt x="1244892" y="563339"/>
                </a:cubicBezTo>
                <a:lnTo>
                  <a:pt x="1244892" y="425809"/>
                </a:lnTo>
                <a:lnTo>
                  <a:pt x="1238396" y="425809"/>
                </a:lnTo>
                <a:cubicBezTo>
                  <a:pt x="1203300" y="425809"/>
                  <a:pt x="1174849" y="397358"/>
                  <a:pt x="1174849" y="362262"/>
                </a:cubicBezTo>
                <a:lnTo>
                  <a:pt x="1174849" y="209229"/>
                </a:lnTo>
                <a:cubicBezTo>
                  <a:pt x="1174849" y="191681"/>
                  <a:pt x="1181962" y="175794"/>
                  <a:pt x="1193462" y="164294"/>
                </a:cubicBezTo>
                <a:cubicBezTo>
                  <a:pt x="1204961" y="152795"/>
                  <a:pt x="1220848" y="145682"/>
                  <a:pt x="1238396" y="145682"/>
                </a:cubicBezTo>
                <a:lnTo>
                  <a:pt x="1484804" y="145682"/>
                </a:lnTo>
                <a:cubicBezTo>
                  <a:pt x="1519900" y="145682"/>
                  <a:pt x="1548351" y="174133"/>
                  <a:pt x="1548351" y="209229"/>
                </a:cubicBezTo>
                <a:lnTo>
                  <a:pt x="1548351" y="362262"/>
                </a:lnTo>
                <a:cubicBezTo>
                  <a:pt x="1548351" y="397358"/>
                  <a:pt x="1519900" y="425809"/>
                  <a:pt x="1484804" y="425809"/>
                </a:cubicBezTo>
                <a:lnTo>
                  <a:pt x="1478305" y="425809"/>
                </a:lnTo>
                <a:lnTo>
                  <a:pt x="1478305" y="531522"/>
                </a:lnTo>
                <a:cubicBezTo>
                  <a:pt x="1867969" y="516696"/>
                  <a:pt x="2257580" y="690299"/>
                  <a:pt x="2504004" y="1029474"/>
                </a:cubicBezTo>
                <a:cubicBezTo>
                  <a:pt x="2896903" y="1570253"/>
                  <a:pt x="2777023" y="2327148"/>
                  <a:pt x="2236244" y="2720047"/>
                </a:cubicBezTo>
                <a:cubicBezTo>
                  <a:pt x="1695464" y="3112946"/>
                  <a:pt x="938569" y="2993066"/>
                  <a:pt x="545670" y="2452287"/>
                </a:cubicBezTo>
                <a:cubicBezTo>
                  <a:pt x="302842" y="2118063"/>
                  <a:pt x="255883" y="1701289"/>
                  <a:pt x="383624" y="1339097"/>
                </a:cubicBezTo>
                <a:lnTo>
                  <a:pt x="271337" y="1301981"/>
                </a:lnTo>
                <a:lnTo>
                  <a:pt x="269200" y="1308446"/>
                </a:lnTo>
                <a:cubicBezTo>
                  <a:pt x="258184" y="1341768"/>
                  <a:pt x="222242" y="1359852"/>
                  <a:pt x="188919" y="1348836"/>
                </a:cubicBezTo>
                <a:lnTo>
                  <a:pt x="43619" y="1300805"/>
                </a:lnTo>
                <a:cubicBezTo>
                  <a:pt x="10297" y="1289790"/>
                  <a:pt x="-7787" y="1253847"/>
                  <a:pt x="3228" y="1220525"/>
                </a:cubicBezTo>
                <a:lnTo>
                  <a:pt x="80565" y="986568"/>
                </a:lnTo>
                <a:cubicBezTo>
                  <a:pt x="86073" y="969906"/>
                  <a:pt x="97812" y="957056"/>
                  <a:pt x="112340" y="949746"/>
                </a:cubicBezTo>
                <a:cubicBezTo>
                  <a:pt x="126869" y="942436"/>
                  <a:pt x="144185" y="940669"/>
                  <a:pt x="160847" y="946177"/>
                </a:cubicBezTo>
                <a:lnTo>
                  <a:pt x="306147" y="994208"/>
                </a:lnTo>
                <a:cubicBezTo>
                  <a:pt x="339468" y="1005223"/>
                  <a:pt x="357552" y="1041166"/>
                  <a:pt x="346537" y="1074488"/>
                </a:cubicBezTo>
                <a:lnTo>
                  <a:pt x="344596" y="1080361"/>
                </a:lnTo>
                <a:lnTo>
                  <a:pt x="482601" y="1125980"/>
                </a:lnTo>
                <a:cubicBezTo>
                  <a:pt x="516519" y="1067404"/>
                  <a:pt x="556040" y="1011588"/>
                  <a:pt x="601675" y="959905"/>
                </a:cubicBezTo>
                <a:cubicBezTo>
                  <a:pt x="455910" y="958740"/>
                  <a:pt x="312806" y="890195"/>
                  <a:pt x="220407" y="763018"/>
                </a:cubicBezTo>
                <a:cubicBezTo>
                  <a:pt x="64413" y="548311"/>
                  <a:pt x="112009" y="247801"/>
                  <a:pt x="326716" y="9180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96" name="Trapezoid 28">
            <a:extLst>
              <a:ext uri="{FF2B5EF4-FFF2-40B4-BE49-F238E27FC236}">
                <a16:creationId xmlns:a16="http://schemas.microsoft.com/office/drawing/2014/main" id="{013F6F7D-652C-40EF-B339-66A172676932}"/>
              </a:ext>
            </a:extLst>
          </p:cNvPr>
          <p:cNvSpPr>
            <a:spLocks noChangeAspect="1"/>
          </p:cNvSpPr>
          <p:nvPr/>
        </p:nvSpPr>
        <p:spPr>
          <a:xfrm>
            <a:off x="4477340" y="4674968"/>
            <a:ext cx="437175" cy="529812"/>
          </a:xfrm>
          <a:custGeom>
            <a:avLst/>
            <a:gdLst/>
            <a:ahLst/>
            <a:cxnLst/>
            <a:rect l="l" t="t" r="r" b="b"/>
            <a:pathLst>
              <a:path w="2664297" h="3228846">
                <a:moveTo>
                  <a:pt x="2006233" y="1910002"/>
                </a:moveTo>
                <a:cubicBezTo>
                  <a:pt x="2195393" y="2270441"/>
                  <a:pt x="2396463" y="2592453"/>
                  <a:pt x="2218318" y="2693318"/>
                </a:cubicBezTo>
                <a:cubicBezTo>
                  <a:pt x="1760490" y="2959655"/>
                  <a:pt x="875097" y="3011972"/>
                  <a:pt x="413381" y="2693318"/>
                </a:cubicBezTo>
                <a:cubicBezTo>
                  <a:pt x="278026" y="2578660"/>
                  <a:pt x="448417" y="2270210"/>
                  <a:pt x="622358" y="1918652"/>
                </a:cubicBezTo>
                <a:close/>
                <a:moveTo>
                  <a:pt x="998355" y="318176"/>
                </a:moveTo>
                <a:lnTo>
                  <a:pt x="1054483" y="938365"/>
                </a:lnTo>
                <a:cubicBezTo>
                  <a:pt x="1073419" y="1202005"/>
                  <a:pt x="-94533" y="2544942"/>
                  <a:pt x="263185" y="2803859"/>
                </a:cubicBezTo>
                <a:cubicBezTo>
                  <a:pt x="799752" y="3120272"/>
                  <a:pt x="1828684" y="3068324"/>
                  <a:pt x="2360732" y="2803859"/>
                </a:cubicBezTo>
                <a:cubicBezTo>
                  <a:pt x="2817826" y="2582721"/>
                  <a:pt x="1567592" y="1249230"/>
                  <a:pt x="1559424" y="938364"/>
                </a:cubicBezTo>
                <a:lnTo>
                  <a:pt x="1635785" y="320808"/>
                </a:lnTo>
                <a:lnTo>
                  <a:pt x="1616510" y="323841"/>
                </a:lnTo>
                <a:cubicBezTo>
                  <a:pt x="1541035" y="362546"/>
                  <a:pt x="1432716" y="386340"/>
                  <a:pt x="1312455" y="386340"/>
                </a:cubicBezTo>
                <a:cubicBezTo>
                  <a:pt x="1186664" y="386340"/>
                  <a:pt x="1073940" y="360308"/>
                  <a:pt x="998355" y="318176"/>
                </a:cubicBezTo>
                <a:close/>
                <a:moveTo>
                  <a:pt x="1312455" y="60748"/>
                </a:moveTo>
                <a:cubicBezTo>
                  <a:pt x="1155275" y="60748"/>
                  <a:pt x="1027857" y="120035"/>
                  <a:pt x="1027857" y="193171"/>
                </a:cubicBezTo>
                <a:cubicBezTo>
                  <a:pt x="1027857" y="266307"/>
                  <a:pt x="1155275" y="325594"/>
                  <a:pt x="1312455" y="325594"/>
                </a:cubicBezTo>
                <a:cubicBezTo>
                  <a:pt x="1469634" y="325594"/>
                  <a:pt x="1597052" y="266307"/>
                  <a:pt x="1597052" y="193171"/>
                </a:cubicBezTo>
                <a:cubicBezTo>
                  <a:pt x="1597052" y="120035"/>
                  <a:pt x="1469634" y="60748"/>
                  <a:pt x="1312455" y="60748"/>
                </a:cubicBezTo>
                <a:close/>
                <a:moveTo>
                  <a:pt x="1312455" y="0"/>
                </a:moveTo>
                <a:cubicBezTo>
                  <a:pt x="1537130" y="0"/>
                  <a:pt x="1720121" y="83046"/>
                  <a:pt x="1726235" y="186847"/>
                </a:cubicBezTo>
                <a:cubicBezTo>
                  <a:pt x="1726742" y="186524"/>
                  <a:pt x="1727174" y="186120"/>
                  <a:pt x="1727606" y="185717"/>
                </a:cubicBezTo>
                <a:lnTo>
                  <a:pt x="1727102" y="190850"/>
                </a:lnTo>
                <a:cubicBezTo>
                  <a:pt x="1727595" y="191614"/>
                  <a:pt x="1727605" y="192391"/>
                  <a:pt x="1727605" y="193170"/>
                </a:cubicBezTo>
                <a:lnTo>
                  <a:pt x="1726271" y="199326"/>
                </a:lnTo>
                <a:lnTo>
                  <a:pt x="1655630" y="919826"/>
                </a:lnTo>
                <a:cubicBezTo>
                  <a:pt x="1665213" y="1268678"/>
                  <a:pt x="3079202" y="2735754"/>
                  <a:pt x="2542920" y="2983914"/>
                </a:cubicBezTo>
                <a:cubicBezTo>
                  <a:pt x="1918698" y="3280693"/>
                  <a:pt x="711513" y="3338989"/>
                  <a:pt x="81991" y="2983914"/>
                </a:cubicBezTo>
                <a:cubicBezTo>
                  <a:pt x="-337699" y="2693358"/>
                  <a:pt x="991496" y="1215684"/>
                  <a:pt x="969280" y="919828"/>
                </a:cubicBezTo>
                <a:lnTo>
                  <a:pt x="898640" y="199335"/>
                </a:lnTo>
                <a:cubicBezTo>
                  <a:pt x="897375" y="197339"/>
                  <a:pt x="897304" y="195258"/>
                  <a:pt x="897304" y="193170"/>
                </a:cubicBezTo>
                <a:lnTo>
                  <a:pt x="897808" y="190847"/>
                </a:lnTo>
                <a:lnTo>
                  <a:pt x="897305" y="185717"/>
                </a:lnTo>
                <a:lnTo>
                  <a:pt x="898687" y="186789"/>
                </a:lnTo>
                <a:cubicBezTo>
                  <a:pt x="904857" y="83015"/>
                  <a:pt x="1087821" y="0"/>
                  <a:pt x="1312455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97" name="Rounded Rectangle 2">
            <a:extLst>
              <a:ext uri="{FF2B5EF4-FFF2-40B4-BE49-F238E27FC236}">
                <a16:creationId xmlns:a16="http://schemas.microsoft.com/office/drawing/2014/main" id="{2CB3F902-7F51-468E-928D-DF8ED92CA432}"/>
              </a:ext>
            </a:extLst>
          </p:cNvPr>
          <p:cNvSpPr/>
          <p:nvPr/>
        </p:nvSpPr>
        <p:spPr>
          <a:xfrm>
            <a:off x="5283276" y="5634756"/>
            <a:ext cx="519265" cy="519265"/>
          </a:xfrm>
          <a:custGeom>
            <a:avLst/>
            <a:gdLst>
              <a:gd name="connsiteX0" fmla="*/ 1979373 w 3960440"/>
              <a:gd name="connsiteY0" fmla="*/ 472350 h 3960000"/>
              <a:gd name="connsiteX1" fmla="*/ 813783 w 3960440"/>
              <a:gd name="connsiteY1" fmla="*/ 1434034 h 3960000"/>
              <a:gd name="connsiteX2" fmla="*/ 1171732 w 3960440"/>
              <a:gd name="connsiteY2" fmla="*/ 2285845 h 3960000"/>
              <a:gd name="connsiteX3" fmla="*/ 1338560 w 3960440"/>
              <a:gd name="connsiteY3" fmla="*/ 1981614 h 3960000"/>
              <a:gd name="connsiteX4" fmla="*/ 1182276 w 3960440"/>
              <a:gd name="connsiteY4" fmla="*/ 1442314 h 3960000"/>
              <a:gd name="connsiteX5" fmla="*/ 2217373 w 3960440"/>
              <a:gd name="connsiteY5" fmla="*/ 796414 h 3960000"/>
              <a:gd name="connsiteX6" fmla="*/ 2730780 w 3960440"/>
              <a:gd name="connsiteY6" fmla="*/ 1554106 h 3960000"/>
              <a:gd name="connsiteX7" fmla="*/ 2424394 w 3960440"/>
              <a:gd name="connsiteY7" fmla="*/ 2278672 h 3960000"/>
              <a:gd name="connsiteX8" fmla="*/ 1910984 w 3960440"/>
              <a:gd name="connsiteY8" fmla="*/ 2071653 h 3960000"/>
              <a:gd name="connsiteX9" fmla="*/ 2072459 w 3960440"/>
              <a:gd name="connsiteY9" fmla="*/ 1512703 h 3960000"/>
              <a:gd name="connsiteX10" fmla="*/ 1873721 w 3960440"/>
              <a:gd name="connsiteY10" fmla="*/ 1156628 h 3960000"/>
              <a:gd name="connsiteX11" fmla="*/ 1525929 w 3960440"/>
              <a:gd name="connsiteY11" fmla="*/ 1392629 h 3960000"/>
              <a:gd name="connsiteX12" fmla="*/ 1521788 w 3960440"/>
              <a:gd name="connsiteY12" fmla="*/ 1897758 h 3960000"/>
              <a:gd name="connsiteX13" fmla="*/ 1339611 w 3960440"/>
              <a:gd name="connsiteY13" fmla="*/ 3487664 h 3960000"/>
              <a:gd name="connsiteX14" fmla="*/ 1803335 w 3960440"/>
              <a:gd name="connsiteY14" fmla="*/ 2485692 h 3960000"/>
              <a:gd name="connsiteX15" fmla="*/ 2283619 w 3960440"/>
              <a:gd name="connsiteY15" fmla="*/ 2688571 h 3960000"/>
              <a:gd name="connsiteX16" fmla="*/ 3144820 w 3960440"/>
              <a:gd name="connsiteY16" fmla="*/ 1595509 h 3960000"/>
              <a:gd name="connsiteX17" fmla="*/ 2134565 w 3960440"/>
              <a:gd name="connsiteY17" fmla="*/ 477605 h 3960000"/>
              <a:gd name="connsiteX18" fmla="*/ 1979373 w 3960440"/>
              <a:gd name="connsiteY18" fmla="*/ 472350 h 3960000"/>
              <a:gd name="connsiteX19" fmla="*/ 436907 w 3960440"/>
              <a:gd name="connsiteY19" fmla="*/ 0 h 3960000"/>
              <a:gd name="connsiteX20" fmla="*/ 3523533 w 3960440"/>
              <a:gd name="connsiteY20" fmla="*/ 0 h 3960000"/>
              <a:gd name="connsiteX21" fmla="*/ 3960440 w 3960440"/>
              <a:gd name="connsiteY21" fmla="*/ 436907 h 3960000"/>
              <a:gd name="connsiteX22" fmla="*/ 3960440 w 3960440"/>
              <a:gd name="connsiteY22" fmla="*/ 3523093 h 3960000"/>
              <a:gd name="connsiteX23" fmla="*/ 3523533 w 3960440"/>
              <a:gd name="connsiteY23" fmla="*/ 3960000 h 3960000"/>
              <a:gd name="connsiteX24" fmla="*/ 436907 w 3960440"/>
              <a:gd name="connsiteY24" fmla="*/ 3960000 h 3960000"/>
              <a:gd name="connsiteX25" fmla="*/ 0 w 3960440"/>
              <a:gd name="connsiteY25" fmla="*/ 3523093 h 3960000"/>
              <a:gd name="connsiteX26" fmla="*/ 0 w 3960440"/>
              <a:gd name="connsiteY26" fmla="*/ 436907 h 3960000"/>
              <a:gd name="connsiteX27" fmla="*/ 436907 w 3960440"/>
              <a:gd name="connsiteY27" fmla="*/ 0 h 3960000"/>
              <a:gd name="connsiteX0" fmla="*/ 1979373 w 3960440"/>
              <a:gd name="connsiteY0" fmla="*/ 472350 h 3960000"/>
              <a:gd name="connsiteX1" fmla="*/ 813783 w 3960440"/>
              <a:gd name="connsiteY1" fmla="*/ 1434034 h 3960000"/>
              <a:gd name="connsiteX2" fmla="*/ 1171732 w 3960440"/>
              <a:gd name="connsiteY2" fmla="*/ 2285845 h 3960000"/>
              <a:gd name="connsiteX3" fmla="*/ 1296382 w 3960440"/>
              <a:gd name="connsiteY3" fmla="*/ 1907811 h 3960000"/>
              <a:gd name="connsiteX4" fmla="*/ 1182276 w 3960440"/>
              <a:gd name="connsiteY4" fmla="*/ 1442314 h 3960000"/>
              <a:gd name="connsiteX5" fmla="*/ 2217373 w 3960440"/>
              <a:gd name="connsiteY5" fmla="*/ 796414 h 3960000"/>
              <a:gd name="connsiteX6" fmla="*/ 2730780 w 3960440"/>
              <a:gd name="connsiteY6" fmla="*/ 1554106 h 3960000"/>
              <a:gd name="connsiteX7" fmla="*/ 2424394 w 3960440"/>
              <a:gd name="connsiteY7" fmla="*/ 2278672 h 3960000"/>
              <a:gd name="connsiteX8" fmla="*/ 1910984 w 3960440"/>
              <a:gd name="connsiteY8" fmla="*/ 2071653 h 3960000"/>
              <a:gd name="connsiteX9" fmla="*/ 2072459 w 3960440"/>
              <a:gd name="connsiteY9" fmla="*/ 1512703 h 3960000"/>
              <a:gd name="connsiteX10" fmla="*/ 1873721 w 3960440"/>
              <a:gd name="connsiteY10" fmla="*/ 1156628 h 3960000"/>
              <a:gd name="connsiteX11" fmla="*/ 1525929 w 3960440"/>
              <a:gd name="connsiteY11" fmla="*/ 1392629 h 3960000"/>
              <a:gd name="connsiteX12" fmla="*/ 1521788 w 3960440"/>
              <a:gd name="connsiteY12" fmla="*/ 1897758 h 3960000"/>
              <a:gd name="connsiteX13" fmla="*/ 1339611 w 3960440"/>
              <a:gd name="connsiteY13" fmla="*/ 3487664 h 3960000"/>
              <a:gd name="connsiteX14" fmla="*/ 1803335 w 3960440"/>
              <a:gd name="connsiteY14" fmla="*/ 2485692 h 3960000"/>
              <a:gd name="connsiteX15" fmla="*/ 2283619 w 3960440"/>
              <a:gd name="connsiteY15" fmla="*/ 2688571 h 3960000"/>
              <a:gd name="connsiteX16" fmla="*/ 3144820 w 3960440"/>
              <a:gd name="connsiteY16" fmla="*/ 1595509 h 3960000"/>
              <a:gd name="connsiteX17" fmla="*/ 2134565 w 3960440"/>
              <a:gd name="connsiteY17" fmla="*/ 477605 h 3960000"/>
              <a:gd name="connsiteX18" fmla="*/ 1979373 w 3960440"/>
              <a:gd name="connsiteY18" fmla="*/ 472350 h 3960000"/>
              <a:gd name="connsiteX19" fmla="*/ 436907 w 3960440"/>
              <a:gd name="connsiteY19" fmla="*/ 0 h 3960000"/>
              <a:gd name="connsiteX20" fmla="*/ 3523533 w 3960440"/>
              <a:gd name="connsiteY20" fmla="*/ 0 h 3960000"/>
              <a:gd name="connsiteX21" fmla="*/ 3960440 w 3960440"/>
              <a:gd name="connsiteY21" fmla="*/ 436907 h 3960000"/>
              <a:gd name="connsiteX22" fmla="*/ 3960440 w 3960440"/>
              <a:gd name="connsiteY22" fmla="*/ 3523093 h 3960000"/>
              <a:gd name="connsiteX23" fmla="*/ 3523533 w 3960440"/>
              <a:gd name="connsiteY23" fmla="*/ 3960000 h 3960000"/>
              <a:gd name="connsiteX24" fmla="*/ 436907 w 3960440"/>
              <a:gd name="connsiteY24" fmla="*/ 3960000 h 3960000"/>
              <a:gd name="connsiteX25" fmla="*/ 0 w 3960440"/>
              <a:gd name="connsiteY25" fmla="*/ 3523093 h 3960000"/>
              <a:gd name="connsiteX26" fmla="*/ 0 w 3960440"/>
              <a:gd name="connsiteY26" fmla="*/ 436907 h 3960000"/>
              <a:gd name="connsiteX27" fmla="*/ 436907 w 3960440"/>
              <a:gd name="connsiteY27" fmla="*/ 0 h 3960000"/>
              <a:gd name="connsiteX0" fmla="*/ 1979373 w 3960440"/>
              <a:gd name="connsiteY0" fmla="*/ 472350 h 3960000"/>
              <a:gd name="connsiteX1" fmla="*/ 813783 w 3960440"/>
              <a:gd name="connsiteY1" fmla="*/ 1434034 h 3960000"/>
              <a:gd name="connsiteX2" fmla="*/ 1119009 w 3960440"/>
              <a:gd name="connsiteY2" fmla="*/ 2222584 h 3960000"/>
              <a:gd name="connsiteX3" fmla="*/ 1296382 w 3960440"/>
              <a:gd name="connsiteY3" fmla="*/ 1907811 h 3960000"/>
              <a:gd name="connsiteX4" fmla="*/ 1182276 w 3960440"/>
              <a:gd name="connsiteY4" fmla="*/ 1442314 h 3960000"/>
              <a:gd name="connsiteX5" fmla="*/ 2217373 w 3960440"/>
              <a:gd name="connsiteY5" fmla="*/ 796414 h 3960000"/>
              <a:gd name="connsiteX6" fmla="*/ 2730780 w 3960440"/>
              <a:gd name="connsiteY6" fmla="*/ 1554106 h 3960000"/>
              <a:gd name="connsiteX7" fmla="*/ 2424394 w 3960440"/>
              <a:gd name="connsiteY7" fmla="*/ 2278672 h 3960000"/>
              <a:gd name="connsiteX8" fmla="*/ 1910984 w 3960440"/>
              <a:gd name="connsiteY8" fmla="*/ 2071653 h 3960000"/>
              <a:gd name="connsiteX9" fmla="*/ 2072459 w 3960440"/>
              <a:gd name="connsiteY9" fmla="*/ 1512703 h 3960000"/>
              <a:gd name="connsiteX10" fmla="*/ 1873721 w 3960440"/>
              <a:gd name="connsiteY10" fmla="*/ 1156628 h 3960000"/>
              <a:gd name="connsiteX11" fmla="*/ 1525929 w 3960440"/>
              <a:gd name="connsiteY11" fmla="*/ 1392629 h 3960000"/>
              <a:gd name="connsiteX12" fmla="*/ 1521788 w 3960440"/>
              <a:gd name="connsiteY12" fmla="*/ 1897758 h 3960000"/>
              <a:gd name="connsiteX13" fmla="*/ 1339611 w 3960440"/>
              <a:gd name="connsiteY13" fmla="*/ 3487664 h 3960000"/>
              <a:gd name="connsiteX14" fmla="*/ 1803335 w 3960440"/>
              <a:gd name="connsiteY14" fmla="*/ 2485692 h 3960000"/>
              <a:gd name="connsiteX15" fmla="*/ 2283619 w 3960440"/>
              <a:gd name="connsiteY15" fmla="*/ 2688571 h 3960000"/>
              <a:gd name="connsiteX16" fmla="*/ 3144820 w 3960440"/>
              <a:gd name="connsiteY16" fmla="*/ 1595509 h 3960000"/>
              <a:gd name="connsiteX17" fmla="*/ 2134565 w 3960440"/>
              <a:gd name="connsiteY17" fmla="*/ 477605 h 3960000"/>
              <a:gd name="connsiteX18" fmla="*/ 1979373 w 3960440"/>
              <a:gd name="connsiteY18" fmla="*/ 472350 h 3960000"/>
              <a:gd name="connsiteX19" fmla="*/ 436907 w 3960440"/>
              <a:gd name="connsiteY19" fmla="*/ 0 h 3960000"/>
              <a:gd name="connsiteX20" fmla="*/ 3523533 w 3960440"/>
              <a:gd name="connsiteY20" fmla="*/ 0 h 3960000"/>
              <a:gd name="connsiteX21" fmla="*/ 3960440 w 3960440"/>
              <a:gd name="connsiteY21" fmla="*/ 436907 h 3960000"/>
              <a:gd name="connsiteX22" fmla="*/ 3960440 w 3960440"/>
              <a:gd name="connsiteY22" fmla="*/ 3523093 h 3960000"/>
              <a:gd name="connsiteX23" fmla="*/ 3523533 w 3960440"/>
              <a:gd name="connsiteY23" fmla="*/ 3960000 h 3960000"/>
              <a:gd name="connsiteX24" fmla="*/ 436907 w 3960440"/>
              <a:gd name="connsiteY24" fmla="*/ 3960000 h 3960000"/>
              <a:gd name="connsiteX25" fmla="*/ 0 w 3960440"/>
              <a:gd name="connsiteY25" fmla="*/ 3523093 h 3960000"/>
              <a:gd name="connsiteX26" fmla="*/ 0 w 3960440"/>
              <a:gd name="connsiteY26" fmla="*/ 436907 h 3960000"/>
              <a:gd name="connsiteX27" fmla="*/ 436907 w 3960440"/>
              <a:gd name="connsiteY27" fmla="*/ 0 h 3960000"/>
              <a:gd name="connsiteX0" fmla="*/ 1979373 w 3960440"/>
              <a:gd name="connsiteY0" fmla="*/ 472350 h 3960000"/>
              <a:gd name="connsiteX1" fmla="*/ 813783 w 3960440"/>
              <a:gd name="connsiteY1" fmla="*/ 1434034 h 3960000"/>
              <a:gd name="connsiteX2" fmla="*/ 1119009 w 3960440"/>
              <a:gd name="connsiteY2" fmla="*/ 2222584 h 3960000"/>
              <a:gd name="connsiteX3" fmla="*/ 1296382 w 3960440"/>
              <a:gd name="connsiteY3" fmla="*/ 1907811 h 3960000"/>
              <a:gd name="connsiteX4" fmla="*/ 1182276 w 3960440"/>
              <a:gd name="connsiteY4" fmla="*/ 1442314 h 3960000"/>
              <a:gd name="connsiteX5" fmla="*/ 2217373 w 3960440"/>
              <a:gd name="connsiteY5" fmla="*/ 796414 h 3960000"/>
              <a:gd name="connsiteX6" fmla="*/ 2730780 w 3960440"/>
              <a:gd name="connsiteY6" fmla="*/ 1554106 h 3960000"/>
              <a:gd name="connsiteX7" fmla="*/ 2424394 w 3960440"/>
              <a:gd name="connsiteY7" fmla="*/ 2278672 h 3960000"/>
              <a:gd name="connsiteX8" fmla="*/ 1910984 w 3960440"/>
              <a:gd name="connsiteY8" fmla="*/ 2071653 h 3960000"/>
              <a:gd name="connsiteX9" fmla="*/ 2072459 w 3960440"/>
              <a:gd name="connsiteY9" fmla="*/ 1512703 h 3960000"/>
              <a:gd name="connsiteX10" fmla="*/ 1873721 w 3960440"/>
              <a:gd name="connsiteY10" fmla="*/ 1156628 h 3960000"/>
              <a:gd name="connsiteX11" fmla="*/ 1525929 w 3960440"/>
              <a:gd name="connsiteY11" fmla="*/ 1392629 h 3960000"/>
              <a:gd name="connsiteX12" fmla="*/ 1521788 w 3960440"/>
              <a:gd name="connsiteY12" fmla="*/ 1897758 h 3960000"/>
              <a:gd name="connsiteX13" fmla="*/ 1339611 w 3960440"/>
              <a:gd name="connsiteY13" fmla="*/ 3487664 h 3960000"/>
              <a:gd name="connsiteX14" fmla="*/ 1803335 w 3960440"/>
              <a:gd name="connsiteY14" fmla="*/ 2485692 h 3960000"/>
              <a:gd name="connsiteX15" fmla="*/ 2283619 w 3960440"/>
              <a:gd name="connsiteY15" fmla="*/ 2688571 h 3960000"/>
              <a:gd name="connsiteX16" fmla="*/ 3144820 w 3960440"/>
              <a:gd name="connsiteY16" fmla="*/ 1595509 h 3960000"/>
              <a:gd name="connsiteX17" fmla="*/ 2134565 w 3960440"/>
              <a:gd name="connsiteY17" fmla="*/ 477605 h 3960000"/>
              <a:gd name="connsiteX18" fmla="*/ 1979373 w 3960440"/>
              <a:gd name="connsiteY18" fmla="*/ 472350 h 3960000"/>
              <a:gd name="connsiteX19" fmla="*/ 436907 w 3960440"/>
              <a:gd name="connsiteY19" fmla="*/ 0 h 3960000"/>
              <a:gd name="connsiteX20" fmla="*/ 3523533 w 3960440"/>
              <a:gd name="connsiteY20" fmla="*/ 0 h 3960000"/>
              <a:gd name="connsiteX21" fmla="*/ 3960440 w 3960440"/>
              <a:gd name="connsiteY21" fmla="*/ 436907 h 3960000"/>
              <a:gd name="connsiteX22" fmla="*/ 3960440 w 3960440"/>
              <a:gd name="connsiteY22" fmla="*/ 3523093 h 3960000"/>
              <a:gd name="connsiteX23" fmla="*/ 3523533 w 3960440"/>
              <a:gd name="connsiteY23" fmla="*/ 3960000 h 3960000"/>
              <a:gd name="connsiteX24" fmla="*/ 436907 w 3960440"/>
              <a:gd name="connsiteY24" fmla="*/ 3960000 h 3960000"/>
              <a:gd name="connsiteX25" fmla="*/ 0 w 3960440"/>
              <a:gd name="connsiteY25" fmla="*/ 3523093 h 3960000"/>
              <a:gd name="connsiteX26" fmla="*/ 0 w 3960440"/>
              <a:gd name="connsiteY26" fmla="*/ 436907 h 3960000"/>
              <a:gd name="connsiteX27" fmla="*/ 436907 w 3960440"/>
              <a:gd name="connsiteY27" fmla="*/ 0 h 3960000"/>
              <a:gd name="connsiteX0" fmla="*/ 1979373 w 3960440"/>
              <a:gd name="connsiteY0" fmla="*/ 472350 h 3960000"/>
              <a:gd name="connsiteX1" fmla="*/ 813783 w 3960440"/>
              <a:gd name="connsiteY1" fmla="*/ 1434034 h 3960000"/>
              <a:gd name="connsiteX2" fmla="*/ 1119009 w 3960440"/>
              <a:gd name="connsiteY2" fmla="*/ 2222584 h 3960000"/>
              <a:gd name="connsiteX3" fmla="*/ 1296382 w 3960440"/>
              <a:gd name="connsiteY3" fmla="*/ 1907811 h 3960000"/>
              <a:gd name="connsiteX4" fmla="*/ 1182276 w 3960440"/>
              <a:gd name="connsiteY4" fmla="*/ 1442314 h 3960000"/>
              <a:gd name="connsiteX5" fmla="*/ 2217373 w 3960440"/>
              <a:gd name="connsiteY5" fmla="*/ 796414 h 3960000"/>
              <a:gd name="connsiteX6" fmla="*/ 2730780 w 3960440"/>
              <a:gd name="connsiteY6" fmla="*/ 1554106 h 3960000"/>
              <a:gd name="connsiteX7" fmla="*/ 2424394 w 3960440"/>
              <a:gd name="connsiteY7" fmla="*/ 2278672 h 3960000"/>
              <a:gd name="connsiteX8" fmla="*/ 1910984 w 3960440"/>
              <a:gd name="connsiteY8" fmla="*/ 2071653 h 3960000"/>
              <a:gd name="connsiteX9" fmla="*/ 2072459 w 3960440"/>
              <a:gd name="connsiteY9" fmla="*/ 1512703 h 3960000"/>
              <a:gd name="connsiteX10" fmla="*/ 1873721 w 3960440"/>
              <a:gd name="connsiteY10" fmla="*/ 1156628 h 3960000"/>
              <a:gd name="connsiteX11" fmla="*/ 1525929 w 3960440"/>
              <a:gd name="connsiteY11" fmla="*/ 1392629 h 3960000"/>
              <a:gd name="connsiteX12" fmla="*/ 1521788 w 3960440"/>
              <a:gd name="connsiteY12" fmla="*/ 1897758 h 3960000"/>
              <a:gd name="connsiteX13" fmla="*/ 1339611 w 3960440"/>
              <a:gd name="connsiteY13" fmla="*/ 3487664 h 3960000"/>
              <a:gd name="connsiteX14" fmla="*/ 1803335 w 3960440"/>
              <a:gd name="connsiteY14" fmla="*/ 2485692 h 3960000"/>
              <a:gd name="connsiteX15" fmla="*/ 2283619 w 3960440"/>
              <a:gd name="connsiteY15" fmla="*/ 2688571 h 3960000"/>
              <a:gd name="connsiteX16" fmla="*/ 3144820 w 3960440"/>
              <a:gd name="connsiteY16" fmla="*/ 1595509 h 3960000"/>
              <a:gd name="connsiteX17" fmla="*/ 2134565 w 3960440"/>
              <a:gd name="connsiteY17" fmla="*/ 477605 h 3960000"/>
              <a:gd name="connsiteX18" fmla="*/ 1979373 w 3960440"/>
              <a:gd name="connsiteY18" fmla="*/ 472350 h 3960000"/>
              <a:gd name="connsiteX19" fmla="*/ 436907 w 3960440"/>
              <a:gd name="connsiteY19" fmla="*/ 0 h 3960000"/>
              <a:gd name="connsiteX20" fmla="*/ 3523533 w 3960440"/>
              <a:gd name="connsiteY20" fmla="*/ 0 h 3960000"/>
              <a:gd name="connsiteX21" fmla="*/ 3960440 w 3960440"/>
              <a:gd name="connsiteY21" fmla="*/ 436907 h 3960000"/>
              <a:gd name="connsiteX22" fmla="*/ 3960440 w 3960440"/>
              <a:gd name="connsiteY22" fmla="*/ 3523093 h 3960000"/>
              <a:gd name="connsiteX23" fmla="*/ 3523533 w 3960440"/>
              <a:gd name="connsiteY23" fmla="*/ 3960000 h 3960000"/>
              <a:gd name="connsiteX24" fmla="*/ 436907 w 3960440"/>
              <a:gd name="connsiteY24" fmla="*/ 3960000 h 3960000"/>
              <a:gd name="connsiteX25" fmla="*/ 0 w 3960440"/>
              <a:gd name="connsiteY25" fmla="*/ 3523093 h 3960000"/>
              <a:gd name="connsiteX26" fmla="*/ 0 w 3960440"/>
              <a:gd name="connsiteY26" fmla="*/ 436907 h 3960000"/>
              <a:gd name="connsiteX27" fmla="*/ 436907 w 3960440"/>
              <a:gd name="connsiteY27" fmla="*/ 0 h 3960000"/>
              <a:gd name="connsiteX0" fmla="*/ 1979373 w 3960440"/>
              <a:gd name="connsiteY0" fmla="*/ 472350 h 3960000"/>
              <a:gd name="connsiteX1" fmla="*/ 813783 w 3960440"/>
              <a:gd name="connsiteY1" fmla="*/ 1434034 h 3960000"/>
              <a:gd name="connsiteX2" fmla="*/ 1119009 w 3960440"/>
              <a:gd name="connsiteY2" fmla="*/ 2222584 h 3960000"/>
              <a:gd name="connsiteX3" fmla="*/ 1296382 w 3960440"/>
              <a:gd name="connsiteY3" fmla="*/ 1907811 h 3960000"/>
              <a:gd name="connsiteX4" fmla="*/ 1182276 w 3960440"/>
              <a:gd name="connsiteY4" fmla="*/ 1442314 h 3960000"/>
              <a:gd name="connsiteX5" fmla="*/ 2217373 w 3960440"/>
              <a:gd name="connsiteY5" fmla="*/ 796414 h 3960000"/>
              <a:gd name="connsiteX6" fmla="*/ 2730780 w 3960440"/>
              <a:gd name="connsiteY6" fmla="*/ 1554106 h 3960000"/>
              <a:gd name="connsiteX7" fmla="*/ 2424394 w 3960440"/>
              <a:gd name="connsiteY7" fmla="*/ 2278672 h 3960000"/>
              <a:gd name="connsiteX8" fmla="*/ 1910984 w 3960440"/>
              <a:gd name="connsiteY8" fmla="*/ 2071653 h 3960000"/>
              <a:gd name="connsiteX9" fmla="*/ 2072459 w 3960440"/>
              <a:gd name="connsiteY9" fmla="*/ 1512703 h 3960000"/>
              <a:gd name="connsiteX10" fmla="*/ 1873721 w 3960440"/>
              <a:gd name="connsiteY10" fmla="*/ 1156628 h 3960000"/>
              <a:gd name="connsiteX11" fmla="*/ 1525929 w 3960440"/>
              <a:gd name="connsiteY11" fmla="*/ 1392629 h 3960000"/>
              <a:gd name="connsiteX12" fmla="*/ 1521788 w 3960440"/>
              <a:gd name="connsiteY12" fmla="*/ 1897758 h 3960000"/>
              <a:gd name="connsiteX13" fmla="*/ 1339611 w 3960440"/>
              <a:gd name="connsiteY13" fmla="*/ 3487664 h 3960000"/>
              <a:gd name="connsiteX14" fmla="*/ 1803335 w 3960440"/>
              <a:gd name="connsiteY14" fmla="*/ 2485692 h 3960000"/>
              <a:gd name="connsiteX15" fmla="*/ 2283619 w 3960440"/>
              <a:gd name="connsiteY15" fmla="*/ 2688571 h 3960000"/>
              <a:gd name="connsiteX16" fmla="*/ 3144820 w 3960440"/>
              <a:gd name="connsiteY16" fmla="*/ 1595509 h 3960000"/>
              <a:gd name="connsiteX17" fmla="*/ 2134565 w 3960440"/>
              <a:gd name="connsiteY17" fmla="*/ 477605 h 3960000"/>
              <a:gd name="connsiteX18" fmla="*/ 1979373 w 3960440"/>
              <a:gd name="connsiteY18" fmla="*/ 472350 h 3960000"/>
              <a:gd name="connsiteX19" fmla="*/ 436907 w 3960440"/>
              <a:gd name="connsiteY19" fmla="*/ 0 h 3960000"/>
              <a:gd name="connsiteX20" fmla="*/ 3523533 w 3960440"/>
              <a:gd name="connsiteY20" fmla="*/ 0 h 3960000"/>
              <a:gd name="connsiteX21" fmla="*/ 3960440 w 3960440"/>
              <a:gd name="connsiteY21" fmla="*/ 436907 h 3960000"/>
              <a:gd name="connsiteX22" fmla="*/ 3960440 w 3960440"/>
              <a:gd name="connsiteY22" fmla="*/ 3523093 h 3960000"/>
              <a:gd name="connsiteX23" fmla="*/ 3523533 w 3960440"/>
              <a:gd name="connsiteY23" fmla="*/ 3960000 h 3960000"/>
              <a:gd name="connsiteX24" fmla="*/ 436907 w 3960440"/>
              <a:gd name="connsiteY24" fmla="*/ 3960000 h 3960000"/>
              <a:gd name="connsiteX25" fmla="*/ 0 w 3960440"/>
              <a:gd name="connsiteY25" fmla="*/ 3523093 h 3960000"/>
              <a:gd name="connsiteX26" fmla="*/ 0 w 3960440"/>
              <a:gd name="connsiteY26" fmla="*/ 436907 h 3960000"/>
              <a:gd name="connsiteX27" fmla="*/ 436907 w 3960440"/>
              <a:gd name="connsiteY27" fmla="*/ 0 h 3960000"/>
              <a:gd name="connsiteX0" fmla="*/ 1979373 w 3960440"/>
              <a:gd name="connsiteY0" fmla="*/ 472350 h 3960000"/>
              <a:gd name="connsiteX1" fmla="*/ 813783 w 3960440"/>
              <a:gd name="connsiteY1" fmla="*/ 1434034 h 3960000"/>
              <a:gd name="connsiteX2" fmla="*/ 1119009 w 3960440"/>
              <a:gd name="connsiteY2" fmla="*/ 2222584 h 3960000"/>
              <a:gd name="connsiteX3" fmla="*/ 1296382 w 3960440"/>
              <a:gd name="connsiteY3" fmla="*/ 1907811 h 3960000"/>
              <a:gd name="connsiteX4" fmla="*/ 1182276 w 3960440"/>
              <a:gd name="connsiteY4" fmla="*/ 1442314 h 3960000"/>
              <a:gd name="connsiteX5" fmla="*/ 2217373 w 3960440"/>
              <a:gd name="connsiteY5" fmla="*/ 838586 h 3960000"/>
              <a:gd name="connsiteX6" fmla="*/ 2730780 w 3960440"/>
              <a:gd name="connsiteY6" fmla="*/ 1554106 h 3960000"/>
              <a:gd name="connsiteX7" fmla="*/ 2424394 w 3960440"/>
              <a:gd name="connsiteY7" fmla="*/ 2278672 h 3960000"/>
              <a:gd name="connsiteX8" fmla="*/ 1910984 w 3960440"/>
              <a:gd name="connsiteY8" fmla="*/ 2071653 h 3960000"/>
              <a:gd name="connsiteX9" fmla="*/ 2072459 w 3960440"/>
              <a:gd name="connsiteY9" fmla="*/ 1512703 h 3960000"/>
              <a:gd name="connsiteX10" fmla="*/ 1873721 w 3960440"/>
              <a:gd name="connsiteY10" fmla="*/ 1156628 h 3960000"/>
              <a:gd name="connsiteX11" fmla="*/ 1525929 w 3960440"/>
              <a:gd name="connsiteY11" fmla="*/ 1392629 h 3960000"/>
              <a:gd name="connsiteX12" fmla="*/ 1521788 w 3960440"/>
              <a:gd name="connsiteY12" fmla="*/ 1897758 h 3960000"/>
              <a:gd name="connsiteX13" fmla="*/ 1339611 w 3960440"/>
              <a:gd name="connsiteY13" fmla="*/ 3487664 h 3960000"/>
              <a:gd name="connsiteX14" fmla="*/ 1803335 w 3960440"/>
              <a:gd name="connsiteY14" fmla="*/ 2485692 h 3960000"/>
              <a:gd name="connsiteX15" fmla="*/ 2283619 w 3960440"/>
              <a:gd name="connsiteY15" fmla="*/ 2688571 h 3960000"/>
              <a:gd name="connsiteX16" fmla="*/ 3144820 w 3960440"/>
              <a:gd name="connsiteY16" fmla="*/ 1595509 h 3960000"/>
              <a:gd name="connsiteX17" fmla="*/ 2134565 w 3960440"/>
              <a:gd name="connsiteY17" fmla="*/ 477605 h 3960000"/>
              <a:gd name="connsiteX18" fmla="*/ 1979373 w 3960440"/>
              <a:gd name="connsiteY18" fmla="*/ 472350 h 3960000"/>
              <a:gd name="connsiteX19" fmla="*/ 436907 w 3960440"/>
              <a:gd name="connsiteY19" fmla="*/ 0 h 3960000"/>
              <a:gd name="connsiteX20" fmla="*/ 3523533 w 3960440"/>
              <a:gd name="connsiteY20" fmla="*/ 0 h 3960000"/>
              <a:gd name="connsiteX21" fmla="*/ 3960440 w 3960440"/>
              <a:gd name="connsiteY21" fmla="*/ 436907 h 3960000"/>
              <a:gd name="connsiteX22" fmla="*/ 3960440 w 3960440"/>
              <a:gd name="connsiteY22" fmla="*/ 3523093 h 3960000"/>
              <a:gd name="connsiteX23" fmla="*/ 3523533 w 3960440"/>
              <a:gd name="connsiteY23" fmla="*/ 3960000 h 3960000"/>
              <a:gd name="connsiteX24" fmla="*/ 436907 w 3960440"/>
              <a:gd name="connsiteY24" fmla="*/ 3960000 h 3960000"/>
              <a:gd name="connsiteX25" fmla="*/ 0 w 3960440"/>
              <a:gd name="connsiteY25" fmla="*/ 3523093 h 3960000"/>
              <a:gd name="connsiteX26" fmla="*/ 0 w 3960440"/>
              <a:gd name="connsiteY26" fmla="*/ 436907 h 3960000"/>
              <a:gd name="connsiteX27" fmla="*/ 436907 w 3960440"/>
              <a:gd name="connsiteY27" fmla="*/ 0 h 3960000"/>
              <a:gd name="connsiteX0" fmla="*/ 1979373 w 3960440"/>
              <a:gd name="connsiteY0" fmla="*/ 472350 h 3960000"/>
              <a:gd name="connsiteX1" fmla="*/ 813783 w 3960440"/>
              <a:gd name="connsiteY1" fmla="*/ 1434034 h 3960000"/>
              <a:gd name="connsiteX2" fmla="*/ 1119009 w 3960440"/>
              <a:gd name="connsiteY2" fmla="*/ 2222584 h 3960000"/>
              <a:gd name="connsiteX3" fmla="*/ 1296382 w 3960440"/>
              <a:gd name="connsiteY3" fmla="*/ 1907811 h 3960000"/>
              <a:gd name="connsiteX4" fmla="*/ 1234998 w 3960440"/>
              <a:gd name="connsiteY4" fmla="*/ 1431771 h 3960000"/>
              <a:gd name="connsiteX5" fmla="*/ 2217373 w 3960440"/>
              <a:gd name="connsiteY5" fmla="*/ 838586 h 3960000"/>
              <a:gd name="connsiteX6" fmla="*/ 2730780 w 3960440"/>
              <a:gd name="connsiteY6" fmla="*/ 1554106 h 3960000"/>
              <a:gd name="connsiteX7" fmla="*/ 2424394 w 3960440"/>
              <a:gd name="connsiteY7" fmla="*/ 2278672 h 3960000"/>
              <a:gd name="connsiteX8" fmla="*/ 1910984 w 3960440"/>
              <a:gd name="connsiteY8" fmla="*/ 2071653 h 3960000"/>
              <a:gd name="connsiteX9" fmla="*/ 2072459 w 3960440"/>
              <a:gd name="connsiteY9" fmla="*/ 1512703 h 3960000"/>
              <a:gd name="connsiteX10" fmla="*/ 1873721 w 3960440"/>
              <a:gd name="connsiteY10" fmla="*/ 1156628 h 3960000"/>
              <a:gd name="connsiteX11" fmla="*/ 1525929 w 3960440"/>
              <a:gd name="connsiteY11" fmla="*/ 1392629 h 3960000"/>
              <a:gd name="connsiteX12" fmla="*/ 1521788 w 3960440"/>
              <a:gd name="connsiteY12" fmla="*/ 1897758 h 3960000"/>
              <a:gd name="connsiteX13" fmla="*/ 1339611 w 3960440"/>
              <a:gd name="connsiteY13" fmla="*/ 3487664 h 3960000"/>
              <a:gd name="connsiteX14" fmla="*/ 1803335 w 3960440"/>
              <a:gd name="connsiteY14" fmla="*/ 2485692 h 3960000"/>
              <a:gd name="connsiteX15" fmla="*/ 2283619 w 3960440"/>
              <a:gd name="connsiteY15" fmla="*/ 2688571 h 3960000"/>
              <a:gd name="connsiteX16" fmla="*/ 3144820 w 3960440"/>
              <a:gd name="connsiteY16" fmla="*/ 1595509 h 3960000"/>
              <a:gd name="connsiteX17" fmla="*/ 2134565 w 3960440"/>
              <a:gd name="connsiteY17" fmla="*/ 477605 h 3960000"/>
              <a:gd name="connsiteX18" fmla="*/ 1979373 w 3960440"/>
              <a:gd name="connsiteY18" fmla="*/ 472350 h 3960000"/>
              <a:gd name="connsiteX19" fmla="*/ 436907 w 3960440"/>
              <a:gd name="connsiteY19" fmla="*/ 0 h 3960000"/>
              <a:gd name="connsiteX20" fmla="*/ 3523533 w 3960440"/>
              <a:gd name="connsiteY20" fmla="*/ 0 h 3960000"/>
              <a:gd name="connsiteX21" fmla="*/ 3960440 w 3960440"/>
              <a:gd name="connsiteY21" fmla="*/ 436907 h 3960000"/>
              <a:gd name="connsiteX22" fmla="*/ 3960440 w 3960440"/>
              <a:gd name="connsiteY22" fmla="*/ 3523093 h 3960000"/>
              <a:gd name="connsiteX23" fmla="*/ 3523533 w 3960440"/>
              <a:gd name="connsiteY23" fmla="*/ 3960000 h 3960000"/>
              <a:gd name="connsiteX24" fmla="*/ 436907 w 3960440"/>
              <a:gd name="connsiteY24" fmla="*/ 3960000 h 3960000"/>
              <a:gd name="connsiteX25" fmla="*/ 0 w 3960440"/>
              <a:gd name="connsiteY25" fmla="*/ 3523093 h 3960000"/>
              <a:gd name="connsiteX26" fmla="*/ 0 w 3960440"/>
              <a:gd name="connsiteY26" fmla="*/ 436907 h 3960000"/>
              <a:gd name="connsiteX27" fmla="*/ 436907 w 3960440"/>
              <a:gd name="connsiteY27" fmla="*/ 0 h 3960000"/>
              <a:gd name="connsiteX0" fmla="*/ 1979373 w 3960440"/>
              <a:gd name="connsiteY0" fmla="*/ 472350 h 3960000"/>
              <a:gd name="connsiteX1" fmla="*/ 813783 w 3960440"/>
              <a:gd name="connsiteY1" fmla="*/ 1434034 h 3960000"/>
              <a:gd name="connsiteX2" fmla="*/ 1119009 w 3960440"/>
              <a:gd name="connsiteY2" fmla="*/ 2222584 h 3960000"/>
              <a:gd name="connsiteX3" fmla="*/ 1296382 w 3960440"/>
              <a:gd name="connsiteY3" fmla="*/ 1907811 h 3960000"/>
              <a:gd name="connsiteX4" fmla="*/ 1234998 w 3960440"/>
              <a:gd name="connsiteY4" fmla="*/ 1431771 h 3960000"/>
              <a:gd name="connsiteX5" fmla="*/ 2217373 w 3960440"/>
              <a:gd name="connsiteY5" fmla="*/ 838586 h 3960000"/>
              <a:gd name="connsiteX6" fmla="*/ 2730780 w 3960440"/>
              <a:gd name="connsiteY6" fmla="*/ 1554106 h 3960000"/>
              <a:gd name="connsiteX7" fmla="*/ 2424394 w 3960440"/>
              <a:gd name="connsiteY7" fmla="*/ 2278672 h 3960000"/>
              <a:gd name="connsiteX8" fmla="*/ 1910984 w 3960440"/>
              <a:gd name="connsiteY8" fmla="*/ 2071653 h 3960000"/>
              <a:gd name="connsiteX9" fmla="*/ 2072459 w 3960440"/>
              <a:gd name="connsiteY9" fmla="*/ 1512703 h 3960000"/>
              <a:gd name="connsiteX10" fmla="*/ 1915898 w 3960440"/>
              <a:gd name="connsiteY10" fmla="*/ 1219889 h 3960000"/>
              <a:gd name="connsiteX11" fmla="*/ 1525929 w 3960440"/>
              <a:gd name="connsiteY11" fmla="*/ 1392629 h 3960000"/>
              <a:gd name="connsiteX12" fmla="*/ 1521788 w 3960440"/>
              <a:gd name="connsiteY12" fmla="*/ 1897758 h 3960000"/>
              <a:gd name="connsiteX13" fmla="*/ 1339611 w 3960440"/>
              <a:gd name="connsiteY13" fmla="*/ 3487664 h 3960000"/>
              <a:gd name="connsiteX14" fmla="*/ 1803335 w 3960440"/>
              <a:gd name="connsiteY14" fmla="*/ 2485692 h 3960000"/>
              <a:gd name="connsiteX15" fmla="*/ 2283619 w 3960440"/>
              <a:gd name="connsiteY15" fmla="*/ 2688571 h 3960000"/>
              <a:gd name="connsiteX16" fmla="*/ 3144820 w 3960440"/>
              <a:gd name="connsiteY16" fmla="*/ 1595509 h 3960000"/>
              <a:gd name="connsiteX17" fmla="*/ 2134565 w 3960440"/>
              <a:gd name="connsiteY17" fmla="*/ 477605 h 3960000"/>
              <a:gd name="connsiteX18" fmla="*/ 1979373 w 3960440"/>
              <a:gd name="connsiteY18" fmla="*/ 472350 h 3960000"/>
              <a:gd name="connsiteX19" fmla="*/ 436907 w 3960440"/>
              <a:gd name="connsiteY19" fmla="*/ 0 h 3960000"/>
              <a:gd name="connsiteX20" fmla="*/ 3523533 w 3960440"/>
              <a:gd name="connsiteY20" fmla="*/ 0 h 3960000"/>
              <a:gd name="connsiteX21" fmla="*/ 3960440 w 3960440"/>
              <a:gd name="connsiteY21" fmla="*/ 436907 h 3960000"/>
              <a:gd name="connsiteX22" fmla="*/ 3960440 w 3960440"/>
              <a:gd name="connsiteY22" fmla="*/ 3523093 h 3960000"/>
              <a:gd name="connsiteX23" fmla="*/ 3523533 w 3960440"/>
              <a:gd name="connsiteY23" fmla="*/ 3960000 h 3960000"/>
              <a:gd name="connsiteX24" fmla="*/ 436907 w 3960440"/>
              <a:gd name="connsiteY24" fmla="*/ 3960000 h 3960000"/>
              <a:gd name="connsiteX25" fmla="*/ 0 w 3960440"/>
              <a:gd name="connsiteY25" fmla="*/ 3523093 h 3960000"/>
              <a:gd name="connsiteX26" fmla="*/ 0 w 3960440"/>
              <a:gd name="connsiteY26" fmla="*/ 436907 h 3960000"/>
              <a:gd name="connsiteX27" fmla="*/ 436907 w 3960440"/>
              <a:gd name="connsiteY27" fmla="*/ 0 h 3960000"/>
              <a:gd name="connsiteX0" fmla="*/ 1979373 w 3960440"/>
              <a:gd name="connsiteY0" fmla="*/ 472350 h 3960000"/>
              <a:gd name="connsiteX1" fmla="*/ 813783 w 3960440"/>
              <a:gd name="connsiteY1" fmla="*/ 1434034 h 3960000"/>
              <a:gd name="connsiteX2" fmla="*/ 1119009 w 3960440"/>
              <a:gd name="connsiteY2" fmla="*/ 2222584 h 3960000"/>
              <a:gd name="connsiteX3" fmla="*/ 1296382 w 3960440"/>
              <a:gd name="connsiteY3" fmla="*/ 1907811 h 3960000"/>
              <a:gd name="connsiteX4" fmla="*/ 1234998 w 3960440"/>
              <a:gd name="connsiteY4" fmla="*/ 1431771 h 3960000"/>
              <a:gd name="connsiteX5" fmla="*/ 2217373 w 3960440"/>
              <a:gd name="connsiteY5" fmla="*/ 838586 h 3960000"/>
              <a:gd name="connsiteX6" fmla="*/ 2730780 w 3960440"/>
              <a:gd name="connsiteY6" fmla="*/ 1554106 h 3960000"/>
              <a:gd name="connsiteX7" fmla="*/ 2424394 w 3960440"/>
              <a:gd name="connsiteY7" fmla="*/ 2278672 h 3960000"/>
              <a:gd name="connsiteX8" fmla="*/ 1910984 w 3960440"/>
              <a:gd name="connsiteY8" fmla="*/ 2071653 h 3960000"/>
              <a:gd name="connsiteX9" fmla="*/ 2072459 w 3960440"/>
              <a:gd name="connsiteY9" fmla="*/ 1512703 h 3960000"/>
              <a:gd name="connsiteX10" fmla="*/ 1915898 w 3960440"/>
              <a:gd name="connsiteY10" fmla="*/ 1219889 h 3960000"/>
              <a:gd name="connsiteX11" fmla="*/ 1589196 w 3960440"/>
              <a:gd name="connsiteY11" fmla="*/ 1434803 h 3960000"/>
              <a:gd name="connsiteX12" fmla="*/ 1521788 w 3960440"/>
              <a:gd name="connsiteY12" fmla="*/ 1897758 h 3960000"/>
              <a:gd name="connsiteX13" fmla="*/ 1339611 w 3960440"/>
              <a:gd name="connsiteY13" fmla="*/ 3487664 h 3960000"/>
              <a:gd name="connsiteX14" fmla="*/ 1803335 w 3960440"/>
              <a:gd name="connsiteY14" fmla="*/ 2485692 h 3960000"/>
              <a:gd name="connsiteX15" fmla="*/ 2283619 w 3960440"/>
              <a:gd name="connsiteY15" fmla="*/ 2688571 h 3960000"/>
              <a:gd name="connsiteX16" fmla="*/ 3144820 w 3960440"/>
              <a:gd name="connsiteY16" fmla="*/ 1595509 h 3960000"/>
              <a:gd name="connsiteX17" fmla="*/ 2134565 w 3960440"/>
              <a:gd name="connsiteY17" fmla="*/ 477605 h 3960000"/>
              <a:gd name="connsiteX18" fmla="*/ 1979373 w 3960440"/>
              <a:gd name="connsiteY18" fmla="*/ 472350 h 3960000"/>
              <a:gd name="connsiteX19" fmla="*/ 436907 w 3960440"/>
              <a:gd name="connsiteY19" fmla="*/ 0 h 3960000"/>
              <a:gd name="connsiteX20" fmla="*/ 3523533 w 3960440"/>
              <a:gd name="connsiteY20" fmla="*/ 0 h 3960000"/>
              <a:gd name="connsiteX21" fmla="*/ 3960440 w 3960440"/>
              <a:gd name="connsiteY21" fmla="*/ 436907 h 3960000"/>
              <a:gd name="connsiteX22" fmla="*/ 3960440 w 3960440"/>
              <a:gd name="connsiteY22" fmla="*/ 3523093 h 3960000"/>
              <a:gd name="connsiteX23" fmla="*/ 3523533 w 3960440"/>
              <a:gd name="connsiteY23" fmla="*/ 3960000 h 3960000"/>
              <a:gd name="connsiteX24" fmla="*/ 436907 w 3960440"/>
              <a:gd name="connsiteY24" fmla="*/ 3960000 h 3960000"/>
              <a:gd name="connsiteX25" fmla="*/ 0 w 3960440"/>
              <a:gd name="connsiteY25" fmla="*/ 3523093 h 3960000"/>
              <a:gd name="connsiteX26" fmla="*/ 0 w 3960440"/>
              <a:gd name="connsiteY26" fmla="*/ 436907 h 3960000"/>
              <a:gd name="connsiteX27" fmla="*/ 436907 w 3960440"/>
              <a:gd name="connsiteY27" fmla="*/ 0 h 3960000"/>
              <a:gd name="connsiteX0" fmla="*/ 1979373 w 3960440"/>
              <a:gd name="connsiteY0" fmla="*/ 472350 h 3960000"/>
              <a:gd name="connsiteX1" fmla="*/ 813783 w 3960440"/>
              <a:gd name="connsiteY1" fmla="*/ 1434034 h 3960000"/>
              <a:gd name="connsiteX2" fmla="*/ 1119009 w 3960440"/>
              <a:gd name="connsiteY2" fmla="*/ 2222584 h 3960000"/>
              <a:gd name="connsiteX3" fmla="*/ 1296382 w 3960440"/>
              <a:gd name="connsiteY3" fmla="*/ 1907811 h 3960000"/>
              <a:gd name="connsiteX4" fmla="*/ 1234998 w 3960440"/>
              <a:gd name="connsiteY4" fmla="*/ 1431771 h 3960000"/>
              <a:gd name="connsiteX5" fmla="*/ 2217373 w 3960440"/>
              <a:gd name="connsiteY5" fmla="*/ 838586 h 3960000"/>
              <a:gd name="connsiteX6" fmla="*/ 2730780 w 3960440"/>
              <a:gd name="connsiteY6" fmla="*/ 1554106 h 3960000"/>
              <a:gd name="connsiteX7" fmla="*/ 2424394 w 3960440"/>
              <a:gd name="connsiteY7" fmla="*/ 2278672 h 3960000"/>
              <a:gd name="connsiteX8" fmla="*/ 1910984 w 3960440"/>
              <a:gd name="connsiteY8" fmla="*/ 2071653 h 3960000"/>
              <a:gd name="connsiteX9" fmla="*/ 2072459 w 3960440"/>
              <a:gd name="connsiteY9" fmla="*/ 1512703 h 3960000"/>
              <a:gd name="connsiteX10" fmla="*/ 1915898 w 3960440"/>
              <a:gd name="connsiteY10" fmla="*/ 1219889 h 3960000"/>
              <a:gd name="connsiteX11" fmla="*/ 1589196 w 3960440"/>
              <a:gd name="connsiteY11" fmla="*/ 1434803 h 3960000"/>
              <a:gd name="connsiteX12" fmla="*/ 1574511 w 3960440"/>
              <a:gd name="connsiteY12" fmla="*/ 1939931 h 3960000"/>
              <a:gd name="connsiteX13" fmla="*/ 1339611 w 3960440"/>
              <a:gd name="connsiteY13" fmla="*/ 3487664 h 3960000"/>
              <a:gd name="connsiteX14" fmla="*/ 1803335 w 3960440"/>
              <a:gd name="connsiteY14" fmla="*/ 2485692 h 3960000"/>
              <a:gd name="connsiteX15" fmla="*/ 2283619 w 3960440"/>
              <a:gd name="connsiteY15" fmla="*/ 2688571 h 3960000"/>
              <a:gd name="connsiteX16" fmla="*/ 3144820 w 3960440"/>
              <a:gd name="connsiteY16" fmla="*/ 1595509 h 3960000"/>
              <a:gd name="connsiteX17" fmla="*/ 2134565 w 3960440"/>
              <a:gd name="connsiteY17" fmla="*/ 477605 h 3960000"/>
              <a:gd name="connsiteX18" fmla="*/ 1979373 w 3960440"/>
              <a:gd name="connsiteY18" fmla="*/ 472350 h 3960000"/>
              <a:gd name="connsiteX19" fmla="*/ 436907 w 3960440"/>
              <a:gd name="connsiteY19" fmla="*/ 0 h 3960000"/>
              <a:gd name="connsiteX20" fmla="*/ 3523533 w 3960440"/>
              <a:gd name="connsiteY20" fmla="*/ 0 h 3960000"/>
              <a:gd name="connsiteX21" fmla="*/ 3960440 w 3960440"/>
              <a:gd name="connsiteY21" fmla="*/ 436907 h 3960000"/>
              <a:gd name="connsiteX22" fmla="*/ 3960440 w 3960440"/>
              <a:gd name="connsiteY22" fmla="*/ 3523093 h 3960000"/>
              <a:gd name="connsiteX23" fmla="*/ 3523533 w 3960440"/>
              <a:gd name="connsiteY23" fmla="*/ 3960000 h 3960000"/>
              <a:gd name="connsiteX24" fmla="*/ 436907 w 3960440"/>
              <a:gd name="connsiteY24" fmla="*/ 3960000 h 3960000"/>
              <a:gd name="connsiteX25" fmla="*/ 0 w 3960440"/>
              <a:gd name="connsiteY25" fmla="*/ 3523093 h 3960000"/>
              <a:gd name="connsiteX26" fmla="*/ 0 w 3960440"/>
              <a:gd name="connsiteY26" fmla="*/ 436907 h 3960000"/>
              <a:gd name="connsiteX27" fmla="*/ 436907 w 3960440"/>
              <a:gd name="connsiteY27" fmla="*/ 0 h 3960000"/>
              <a:gd name="connsiteX0" fmla="*/ 1979373 w 3960440"/>
              <a:gd name="connsiteY0" fmla="*/ 472350 h 3960000"/>
              <a:gd name="connsiteX1" fmla="*/ 813783 w 3960440"/>
              <a:gd name="connsiteY1" fmla="*/ 1434034 h 3960000"/>
              <a:gd name="connsiteX2" fmla="*/ 1119009 w 3960440"/>
              <a:gd name="connsiteY2" fmla="*/ 2222584 h 3960000"/>
              <a:gd name="connsiteX3" fmla="*/ 1296382 w 3960440"/>
              <a:gd name="connsiteY3" fmla="*/ 1907811 h 3960000"/>
              <a:gd name="connsiteX4" fmla="*/ 1234998 w 3960440"/>
              <a:gd name="connsiteY4" fmla="*/ 1431771 h 3960000"/>
              <a:gd name="connsiteX5" fmla="*/ 2217373 w 3960440"/>
              <a:gd name="connsiteY5" fmla="*/ 838586 h 3960000"/>
              <a:gd name="connsiteX6" fmla="*/ 2730780 w 3960440"/>
              <a:gd name="connsiteY6" fmla="*/ 1554106 h 3960000"/>
              <a:gd name="connsiteX7" fmla="*/ 2424394 w 3960440"/>
              <a:gd name="connsiteY7" fmla="*/ 2278672 h 3960000"/>
              <a:gd name="connsiteX8" fmla="*/ 1910984 w 3960440"/>
              <a:gd name="connsiteY8" fmla="*/ 2071653 h 3960000"/>
              <a:gd name="connsiteX9" fmla="*/ 2072459 w 3960440"/>
              <a:gd name="connsiteY9" fmla="*/ 1512703 h 3960000"/>
              <a:gd name="connsiteX10" fmla="*/ 1915898 w 3960440"/>
              <a:gd name="connsiteY10" fmla="*/ 1219889 h 3960000"/>
              <a:gd name="connsiteX11" fmla="*/ 1589196 w 3960440"/>
              <a:gd name="connsiteY11" fmla="*/ 1434803 h 3960000"/>
              <a:gd name="connsiteX12" fmla="*/ 1574511 w 3960440"/>
              <a:gd name="connsiteY12" fmla="*/ 1939931 h 3960000"/>
              <a:gd name="connsiteX13" fmla="*/ 1339611 w 3960440"/>
              <a:gd name="connsiteY13" fmla="*/ 3487664 h 3960000"/>
              <a:gd name="connsiteX14" fmla="*/ 1866603 w 3960440"/>
              <a:gd name="connsiteY14" fmla="*/ 2506778 h 3960000"/>
              <a:gd name="connsiteX15" fmla="*/ 2283619 w 3960440"/>
              <a:gd name="connsiteY15" fmla="*/ 2688571 h 3960000"/>
              <a:gd name="connsiteX16" fmla="*/ 3144820 w 3960440"/>
              <a:gd name="connsiteY16" fmla="*/ 1595509 h 3960000"/>
              <a:gd name="connsiteX17" fmla="*/ 2134565 w 3960440"/>
              <a:gd name="connsiteY17" fmla="*/ 477605 h 3960000"/>
              <a:gd name="connsiteX18" fmla="*/ 1979373 w 3960440"/>
              <a:gd name="connsiteY18" fmla="*/ 472350 h 3960000"/>
              <a:gd name="connsiteX19" fmla="*/ 436907 w 3960440"/>
              <a:gd name="connsiteY19" fmla="*/ 0 h 3960000"/>
              <a:gd name="connsiteX20" fmla="*/ 3523533 w 3960440"/>
              <a:gd name="connsiteY20" fmla="*/ 0 h 3960000"/>
              <a:gd name="connsiteX21" fmla="*/ 3960440 w 3960440"/>
              <a:gd name="connsiteY21" fmla="*/ 436907 h 3960000"/>
              <a:gd name="connsiteX22" fmla="*/ 3960440 w 3960440"/>
              <a:gd name="connsiteY22" fmla="*/ 3523093 h 3960000"/>
              <a:gd name="connsiteX23" fmla="*/ 3523533 w 3960440"/>
              <a:gd name="connsiteY23" fmla="*/ 3960000 h 3960000"/>
              <a:gd name="connsiteX24" fmla="*/ 436907 w 3960440"/>
              <a:gd name="connsiteY24" fmla="*/ 3960000 h 3960000"/>
              <a:gd name="connsiteX25" fmla="*/ 0 w 3960440"/>
              <a:gd name="connsiteY25" fmla="*/ 3523093 h 3960000"/>
              <a:gd name="connsiteX26" fmla="*/ 0 w 3960440"/>
              <a:gd name="connsiteY26" fmla="*/ 436907 h 3960000"/>
              <a:gd name="connsiteX27" fmla="*/ 436907 w 3960440"/>
              <a:gd name="connsiteY27" fmla="*/ 0 h 3960000"/>
              <a:gd name="connsiteX0" fmla="*/ 1979373 w 3960440"/>
              <a:gd name="connsiteY0" fmla="*/ 472350 h 3960000"/>
              <a:gd name="connsiteX1" fmla="*/ 813783 w 3960440"/>
              <a:gd name="connsiteY1" fmla="*/ 1434034 h 3960000"/>
              <a:gd name="connsiteX2" fmla="*/ 1119009 w 3960440"/>
              <a:gd name="connsiteY2" fmla="*/ 2222584 h 3960000"/>
              <a:gd name="connsiteX3" fmla="*/ 1296382 w 3960440"/>
              <a:gd name="connsiteY3" fmla="*/ 1907811 h 3960000"/>
              <a:gd name="connsiteX4" fmla="*/ 1234998 w 3960440"/>
              <a:gd name="connsiteY4" fmla="*/ 1431771 h 3960000"/>
              <a:gd name="connsiteX5" fmla="*/ 2217373 w 3960440"/>
              <a:gd name="connsiteY5" fmla="*/ 838586 h 3960000"/>
              <a:gd name="connsiteX6" fmla="*/ 2730780 w 3960440"/>
              <a:gd name="connsiteY6" fmla="*/ 1554106 h 3960000"/>
              <a:gd name="connsiteX7" fmla="*/ 2424394 w 3960440"/>
              <a:gd name="connsiteY7" fmla="*/ 2278672 h 3960000"/>
              <a:gd name="connsiteX8" fmla="*/ 1995341 w 3960440"/>
              <a:gd name="connsiteY8" fmla="*/ 2082197 h 3960000"/>
              <a:gd name="connsiteX9" fmla="*/ 2072459 w 3960440"/>
              <a:gd name="connsiteY9" fmla="*/ 1512703 h 3960000"/>
              <a:gd name="connsiteX10" fmla="*/ 1915898 w 3960440"/>
              <a:gd name="connsiteY10" fmla="*/ 1219889 h 3960000"/>
              <a:gd name="connsiteX11" fmla="*/ 1589196 w 3960440"/>
              <a:gd name="connsiteY11" fmla="*/ 1434803 h 3960000"/>
              <a:gd name="connsiteX12" fmla="*/ 1574511 w 3960440"/>
              <a:gd name="connsiteY12" fmla="*/ 1939931 h 3960000"/>
              <a:gd name="connsiteX13" fmla="*/ 1339611 w 3960440"/>
              <a:gd name="connsiteY13" fmla="*/ 3487664 h 3960000"/>
              <a:gd name="connsiteX14" fmla="*/ 1866603 w 3960440"/>
              <a:gd name="connsiteY14" fmla="*/ 2506778 h 3960000"/>
              <a:gd name="connsiteX15" fmla="*/ 2283619 w 3960440"/>
              <a:gd name="connsiteY15" fmla="*/ 2688571 h 3960000"/>
              <a:gd name="connsiteX16" fmla="*/ 3144820 w 3960440"/>
              <a:gd name="connsiteY16" fmla="*/ 1595509 h 3960000"/>
              <a:gd name="connsiteX17" fmla="*/ 2134565 w 3960440"/>
              <a:gd name="connsiteY17" fmla="*/ 477605 h 3960000"/>
              <a:gd name="connsiteX18" fmla="*/ 1979373 w 3960440"/>
              <a:gd name="connsiteY18" fmla="*/ 472350 h 3960000"/>
              <a:gd name="connsiteX19" fmla="*/ 436907 w 3960440"/>
              <a:gd name="connsiteY19" fmla="*/ 0 h 3960000"/>
              <a:gd name="connsiteX20" fmla="*/ 3523533 w 3960440"/>
              <a:gd name="connsiteY20" fmla="*/ 0 h 3960000"/>
              <a:gd name="connsiteX21" fmla="*/ 3960440 w 3960440"/>
              <a:gd name="connsiteY21" fmla="*/ 436907 h 3960000"/>
              <a:gd name="connsiteX22" fmla="*/ 3960440 w 3960440"/>
              <a:gd name="connsiteY22" fmla="*/ 3523093 h 3960000"/>
              <a:gd name="connsiteX23" fmla="*/ 3523533 w 3960440"/>
              <a:gd name="connsiteY23" fmla="*/ 3960000 h 3960000"/>
              <a:gd name="connsiteX24" fmla="*/ 436907 w 3960440"/>
              <a:gd name="connsiteY24" fmla="*/ 3960000 h 3960000"/>
              <a:gd name="connsiteX25" fmla="*/ 0 w 3960440"/>
              <a:gd name="connsiteY25" fmla="*/ 3523093 h 3960000"/>
              <a:gd name="connsiteX26" fmla="*/ 0 w 3960440"/>
              <a:gd name="connsiteY26" fmla="*/ 436907 h 3960000"/>
              <a:gd name="connsiteX27" fmla="*/ 436907 w 3960440"/>
              <a:gd name="connsiteY27" fmla="*/ 0 h 3960000"/>
              <a:gd name="connsiteX0" fmla="*/ 1979373 w 3960440"/>
              <a:gd name="connsiteY0" fmla="*/ 472350 h 3960000"/>
              <a:gd name="connsiteX1" fmla="*/ 813783 w 3960440"/>
              <a:gd name="connsiteY1" fmla="*/ 1434034 h 3960000"/>
              <a:gd name="connsiteX2" fmla="*/ 1119009 w 3960440"/>
              <a:gd name="connsiteY2" fmla="*/ 2222584 h 3960000"/>
              <a:gd name="connsiteX3" fmla="*/ 1296382 w 3960440"/>
              <a:gd name="connsiteY3" fmla="*/ 1907811 h 3960000"/>
              <a:gd name="connsiteX4" fmla="*/ 1234998 w 3960440"/>
              <a:gd name="connsiteY4" fmla="*/ 1431771 h 3960000"/>
              <a:gd name="connsiteX5" fmla="*/ 2217373 w 3960440"/>
              <a:gd name="connsiteY5" fmla="*/ 838586 h 3960000"/>
              <a:gd name="connsiteX6" fmla="*/ 2730780 w 3960440"/>
              <a:gd name="connsiteY6" fmla="*/ 1554106 h 3960000"/>
              <a:gd name="connsiteX7" fmla="*/ 2424394 w 3960440"/>
              <a:gd name="connsiteY7" fmla="*/ 2278672 h 3960000"/>
              <a:gd name="connsiteX8" fmla="*/ 1995341 w 3960440"/>
              <a:gd name="connsiteY8" fmla="*/ 2082197 h 3960000"/>
              <a:gd name="connsiteX9" fmla="*/ 2135727 w 3960440"/>
              <a:gd name="connsiteY9" fmla="*/ 1554876 h 3960000"/>
              <a:gd name="connsiteX10" fmla="*/ 1915898 w 3960440"/>
              <a:gd name="connsiteY10" fmla="*/ 1219889 h 3960000"/>
              <a:gd name="connsiteX11" fmla="*/ 1589196 w 3960440"/>
              <a:gd name="connsiteY11" fmla="*/ 1434803 h 3960000"/>
              <a:gd name="connsiteX12" fmla="*/ 1574511 w 3960440"/>
              <a:gd name="connsiteY12" fmla="*/ 1939931 h 3960000"/>
              <a:gd name="connsiteX13" fmla="*/ 1339611 w 3960440"/>
              <a:gd name="connsiteY13" fmla="*/ 3487664 h 3960000"/>
              <a:gd name="connsiteX14" fmla="*/ 1866603 w 3960440"/>
              <a:gd name="connsiteY14" fmla="*/ 2506778 h 3960000"/>
              <a:gd name="connsiteX15" fmla="*/ 2283619 w 3960440"/>
              <a:gd name="connsiteY15" fmla="*/ 2688571 h 3960000"/>
              <a:gd name="connsiteX16" fmla="*/ 3144820 w 3960440"/>
              <a:gd name="connsiteY16" fmla="*/ 1595509 h 3960000"/>
              <a:gd name="connsiteX17" fmla="*/ 2134565 w 3960440"/>
              <a:gd name="connsiteY17" fmla="*/ 477605 h 3960000"/>
              <a:gd name="connsiteX18" fmla="*/ 1979373 w 3960440"/>
              <a:gd name="connsiteY18" fmla="*/ 472350 h 3960000"/>
              <a:gd name="connsiteX19" fmla="*/ 436907 w 3960440"/>
              <a:gd name="connsiteY19" fmla="*/ 0 h 3960000"/>
              <a:gd name="connsiteX20" fmla="*/ 3523533 w 3960440"/>
              <a:gd name="connsiteY20" fmla="*/ 0 h 3960000"/>
              <a:gd name="connsiteX21" fmla="*/ 3960440 w 3960440"/>
              <a:gd name="connsiteY21" fmla="*/ 436907 h 3960000"/>
              <a:gd name="connsiteX22" fmla="*/ 3960440 w 3960440"/>
              <a:gd name="connsiteY22" fmla="*/ 3523093 h 3960000"/>
              <a:gd name="connsiteX23" fmla="*/ 3523533 w 3960440"/>
              <a:gd name="connsiteY23" fmla="*/ 3960000 h 3960000"/>
              <a:gd name="connsiteX24" fmla="*/ 436907 w 3960440"/>
              <a:gd name="connsiteY24" fmla="*/ 3960000 h 3960000"/>
              <a:gd name="connsiteX25" fmla="*/ 0 w 3960440"/>
              <a:gd name="connsiteY25" fmla="*/ 3523093 h 3960000"/>
              <a:gd name="connsiteX26" fmla="*/ 0 w 3960440"/>
              <a:gd name="connsiteY26" fmla="*/ 436907 h 3960000"/>
              <a:gd name="connsiteX27" fmla="*/ 436907 w 3960440"/>
              <a:gd name="connsiteY27" fmla="*/ 0 h 3960000"/>
              <a:gd name="connsiteX0" fmla="*/ 1979373 w 3960440"/>
              <a:gd name="connsiteY0" fmla="*/ 472350 h 3960000"/>
              <a:gd name="connsiteX1" fmla="*/ 813783 w 3960440"/>
              <a:gd name="connsiteY1" fmla="*/ 1434034 h 3960000"/>
              <a:gd name="connsiteX2" fmla="*/ 1119009 w 3960440"/>
              <a:gd name="connsiteY2" fmla="*/ 2222584 h 3960000"/>
              <a:gd name="connsiteX3" fmla="*/ 1296382 w 3960440"/>
              <a:gd name="connsiteY3" fmla="*/ 1907811 h 3960000"/>
              <a:gd name="connsiteX4" fmla="*/ 1234998 w 3960440"/>
              <a:gd name="connsiteY4" fmla="*/ 1431771 h 3960000"/>
              <a:gd name="connsiteX5" fmla="*/ 2217373 w 3960440"/>
              <a:gd name="connsiteY5" fmla="*/ 891303 h 3960000"/>
              <a:gd name="connsiteX6" fmla="*/ 2730780 w 3960440"/>
              <a:gd name="connsiteY6" fmla="*/ 1554106 h 3960000"/>
              <a:gd name="connsiteX7" fmla="*/ 2424394 w 3960440"/>
              <a:gd name="connsiteY7" fmla="*/ 2278672 h 3960000"/>
              <a:gd name="connsiteX8" fmla="*/ 1995341 w 3960440"/>
              <a:gd name="connsiteY8" fmla="*/ 2082197 h 3960000"/>
              <a:gd name="connsiteX9" fmla="*/ 2135727 w 3960440"/>
              <a:gd name="connsiteY9" fmla="*/ 1554876 h 3960000"/>
              <a:gd name="connsiteX10" fmla="*/ 1915898 w 3960440"/>
              <a:gd name="connsiteY10" fmla="*/ 1219889 h 3960000"/>
              <a:gd name="connsiteX11" fmla="*/ 1589196 w 3960440"/>
              <a:gd name="connsiteY11" fmla="*/ 1434803 h 3960000"/>
              <a:gd name="connsiteX12" fmla="*/ 1574511 w 3960440"/>
              <a:gd name="connsiteY12" fmla="*/ 1939931 h 3960000"/>
              <a:gd name="connsiteX13" fmla="*/ 1339611 w 3960440"/>
              <a:gd name="connsiteY13" fmla="*/ 3487664 h 3960000"/>
              <a:gd name="connsiteX14" fmla="*/ 1866603 w 3960440"/>
              <a:gd name="connsiteY14" fmla="*/ 2506778 h 3960000"/>
              <a:gd name="connsiteX15" fmla="*/ 2283619 w 3960440"/>
              <a:gd name="connsiteY15" fmla="*/ 2688571 h 3960000"/>
              <a:gd name="connsiteX16" fmla="*/ 3144820 w 3960440"/>
              <a:gd name="connsiteY16" fmla="*/ 1595509 h 3960000"/>
              <a:gd name="connsiteX17" fmla="*/ 2134565 w 3960440"/>
              <a:gd name="connsiteY17" fmla="*/ 477605 h 3960000"/>
              <a:gd name="connsiteX18" fmla="*/ 1979373 w 3960440"/>
              <a:gd name="connsiteY18" fmla="*/ 472350 h 3960000"/>
              <a:gd name="connsiteX19" fmla="*/ 436907 w 3960440"/>
              <a:gd name="connsiteY19" fmla="*/ 0 h 3960000"/>
              <a:gd name="connsiteX20" fmla="*/ 3523533 w 3960440"/>
              <a:gd name="connsiteY20" fmla="*/ 0 h 3960000"/>
              <a:gd name="connsiteX21" fmla="*/ 3960440 w 3960440"/>
              <a:gd name="connsiteY21" fmla="*/ 436907 h 3960000"/>
              <a:gd name="connsiteX22" fmla="*/ 3960440 w 3960440"/>
              <a:gd name="connsiteY22" fmla="*/ 3523093 h 3960000"/>
              <a:gd name="connsiteX23" fmla="*/ 3523533 w 3960440"/>
              <a:gd name="connsiteY23" fmla="*/ 3960000 h 3960000"/>
              <a:gd name="connsiteX24" fmla="*/ 436907 w 3960440"/>
              <a:gd name="connsiteY24" fmla="*/ 3960000 h 3960000"/>
              <a:gd name="connsiteX25" fmla="*/ 0 w 3960440"/>
              <a:gd name="connsiteY25" fmla="*/ 3523093 h 3960000"/>
              <a:gd name="connsiteX26" fmla="*/ 0 w 3960440"/>
              <a:gd name="connsiteY26" fmla="*/ 436907 h 3960000"/>
              <a:gd name="connsiteX27" fmla="*/ 436907 w 3960440"/>
              <a:gd name="connsiteY27" fmla="*/ 0 h 3960000"/>
              <a:gd name="connsiteX0" fmla="*/ 1979373 w 3960440"/>
              <a:gd name="connsiteY0" fmla="*/ 472350 h 3960000"/>
              <a:gd name="connsiteX1" fmla="*/ 813783 w 3960440"/>
              <a:gd name="connsiteY1" fmla="*/ 1434034 h 3960000"/>
              <a:gd name="connsiteX2" fmla="*/ 1119009 w 3960440"/>
              <a:gd name="connsiteY2" fmla="*/ 2222584 h 3960000"/>
              <a:gd name="connsiteX3" fmla="*/ 1296382 w 3960440"/>
              <a:gd name="connsiteY3" fmla="*/ 1907811 h 3960000"/>
              <a:gd name="connsiteX4" fmla="*/ 1234998 w 3960440"/>
              <a:gd name="connsiteY4" fmla="*/ 1431771 h 3960000"/>
              <a:gd name="connsiteX5" fmla="*/ 2217373 w 3960440"/>
              <a:gd name="connsiteY5" fmla="*/ 891303 h 3960000"/>
              <a:gd name="connsiteX6" fmla="*/ 2783502 w 3960440"/>
              <a:gd name="connsiteY6" fmla="*/ 1606823 h 3960000"/>
              <a:gd name="connsiteX7" fmla="*/ 2424394 w 3960440"/>
              <a:gd name="connsiteY7" fmla="*/ 2278672 h 3960000"/>
              <a:gd name="connsiteX8" fmla="*/ 1995341 w 3960440"/>
              <a:gd name="connsiteY8" fmla="*/ 2082197 h 3960000"/>
              <a:gd name="connsiteX9" fmla="*/ 2135727 w 3960440"/>
              <a:gd name="connsiteY9" fmla="*/ 1554876 h 3960000"/>
              <a:gd name="connsiteX10" fmla="*/ 1915898 w 3960440"/>
              <a:gd name="connsiteY10" fmla="*/ 1219889 h 3960000"/>
              <a:gd name="connsiteX11" fmla="*/ 1589196 w 3960440"/>
              <a:gd name="connsiteY11" fmla="*/ 1434803 h 3960000"/>
              <a:gd name="connsiteX12" fmla="*/ 1574511 w 3960440"/>
              <a:gd name="connsiteY12" fmla="*/ 1939931 h 3960000"/>
              <a:gd name="connsiteX13" fmla="*/ 1339611 w 3960440"/>
              <a:gd name="connsiteY13" fmla="*/ 3487664 h 3960000"/>
              <a:gd name="connsiteX14" fmla="*/ 1866603 w 3960440"/>
              <a:gd name="connsiteY14" fmla="*/ 2506778 h 3960000"/>
              <a:gd name="connsiteX15" fmla="*/ 2283619 w 3960440"/>
              <a:gd name="connsiteY15" fmla="*/ 2688571 h 3960000"/>
              <a:gd name="connsiteX16" fmla="*/ 3144820 w 3960440"/>
              <a:gd name="connsiteY16" fmla="*/ 1595509 h 3960000"/>
              <a:gd name="connsiteX17" fmla="*/ 2134565 w 3960440"/>
              <a:gd name="connsiteY17" fmla="*/ 477605 h 3960000"/>
              <a:gd name="connsiteX18" fmla="*/ 1979373 w 3960440"/>
              <a:gd name="connsiteY18" fmla="*/ 472350 h 3960000"/>
              <a:gd name="connsiteX19" fmla="*/ 436907 w 3960440"/>
              <a:gd name="connsiteY19" fmla="*/ 0 h 3960000"/>
              <a:gd name="connsiteX20" fmla="*/ 3523533 w 3960440"/>
              <a:gd name="connsiteY20" fmla="*/ 0 h 3960000"/>
              <a:gd name="connsiteX21" fmla="*/ 3960440 w 3960440"/>
              <a:gd name="connsiteY21" fmla="*/ 436907 h 3960000"/>
              <a:gd name="connsiteX22" fmla="*/ 3960440 w 3960440"/>
              <a:gd name="connsiteY22" fmla="*/ 3523093 h 3960000"/>
              <a:gd name="connsiteX23" fmla="*/ 3523533 w 3960440"/>
              <a:gd name="connsiteY23" fmla="*/ 3960000 h 3960000"/>
              <a:gd name="connsiteX24" fmla="*/ 436907 w 3960440"/>
              <a:gd name="connsiteY24" fmla="*/ 3960000 h 3960000"/>
              <a:gd name="connsiteX25" fmla="*/ 0 w 3960440"/>
              <a:gd name="connsiteY25" fmla="*/ 3523093 h 3960000"/>
              <a:gd name="connsiteX26" fmla="*/ 0 w 3960440"/>
              <a:gd name="connsiteY26" fmla="*/ 436907 h 3960000"/>
              <a:gd name="connsiteX27" fmla="*/ 436907 w 3960440"/>
              <a:gd name="connsiteY27" fmla="*/ 0 h 3960000"/>
              <a:gd name="connsiteX0" fmla="*/ 1979373 w 3960440"/>
              <a:gd name="connsiteY0" fmla="*/ 472350 h 3960000"/>
              <a:gd name="connsiteX1" fmla="*/ 813783 w 3960440"/>
              <a:gd name="connsiteY1" fmla="*/ 1434034 h 3960000"/>
              <a:gd name="connsiteX2" fmla="*/ 1119009 w 3960440"/>
              <a:gd name="connsiteY2" fmla="*/ 2222584 h 3960000"/>
              <a:gd name="connsiteX3" fmla="*/ 1296382 w 3960440"/>
              <a:gd name="connsiteY3" fmla="*/ 1907811 h 3960000"/>
              <a:gd name="connsiteX4" fmla="*/ 1234998 w 3960440"/>
              <a:gd name="connsiteY4" fmla="*/ 1431771 h 3960000"/>
              <a:gd name="connsiteX5" fmla="*/ 2217373 w 3960440"/>
              <a:gd name="connsiteY5" fmla="*/ 891303 h 3960000"/>
              <a:gd name="connsiteX6" fmla="*/ 2783502 w 3960440"/>
              <a:gd name="connsiteY6" fmla="*/ 1606823 h 3960000"/>
              <a:gd name="connsiteX7" fmla="*/ 2456028 w 3960440"/>
              <a:gd name="connsiteY7" fmla="*/ 2225955 h 3960000"/>
              <a:gd name="connsiteX8" fmla="*/ 1995341 w 3960440"/>
              <a:gd name="connsiteY8" fmla="*/ 2082197 h 3960000"/>
              <a:gd name="connsiteX9" fmla="*/ 2135727 w 3960440"/>
              <a:gd name="connsiteY9" fmla="*/ 1554876 h 3960000"/>
              <a:gd name="connsiteX10" fmla="*/ 1915898 w 3960440"/>
              <a:gd name="connsiteY10" fmla="*/ 1219889 h 3960000"/>
              <a:gd name="connsiteX11" fmla="*/ 1589196 w 3960440"/>
              <a:gd name="connsiteY11" fmla="*/ 1434803 h 3960000"/>
              <a:gd name="connsiteX12" fmla="*/ 1574511 w 3960440"/>
              <a:gd name="connsiteY12" fmla="*/ 1939931 h 3960000"/>
              <a:gd name="connsiteX13" fmla="*/ 1339611 w 3960440"/>
              <a:gd name="connsiteY13" fmla="*/ 3487664 h 3960000"/>
              <a:gd name="connsiteX14" fmla="*/ 1866603 w 3960440"/>
              <a:gd name="connsiteY14" fmla="*/ 2506778 h 3960000"/>
              <a:gd name="connsiteX15" fmla="*/ 2283619 w 3960440"/>
              <a:gd name="connsiteY15" fmla="*/ 2688571 h 3960000"/>
              <a:gd name="connsiteX16" fmla="*/ 3144820 w 3960440"/>
              <a:gd name="connsiteY16" fmla="*/ 1595509 h 3960000"/>
              <a:gd name="connsiteX17" fmla="*/ 2134565 w 3960440"/>
              <a:gd name="connsiteY17" fmla="*/ 477605 h 3960000"/>
              <a:gd name="connsiteX18" fmla="*/ 1979373 w 3960440"/>
              <a:gd name="connsiteY18" fmla="*/ 472350 h 3960000"/>
              <a:gd name="connsiteX19" fmla="*/ 436907 w 3960440"/>
              <a:gd name="connsiteY19" fmla="*/ 0 h 3960000"/>
              <a:gd name="connsiteX20" fmla="*/ 3523533 w 3960440"/>
              <a:gd name="connsiteY20" fmla="*/ 0 h 3960000"/>
              <a:gd name="connsiteX21" fmla="*/ 3960440 w 3960440"/>
              <a:gd name="connsiteY21" fmla="*/ 436907 h 3960000"/>
              <a:gd name="connsiteX22" fmla="*/ 3960440 w 3960440"/>
              <a:gd name="connsiteY22" fmla="*/ 3523093 h 3960000"/>
              <a:gd name="connsiteX23" fmla="*/ 3523533 w 3960440"/>
              <a:gd name="connsiteY23" fmla="*/ 3960000 h 3960000"/>
              <a:gd name="connsiteX24" fmla="*/ 436907 w 3960440"/>
              <a:gd name="connsiteY24" fmla="*/ 3960000 h 3960000"/>
              <a:gd name="connsiteX25" fmla="*/ 0 w 3960440"/>
              <a:gd name="connsiteY25" fmla="*/ 3523093 h 3960000"/>
              <a:gd name="connsiteX26" fmla="*/ 0 w 3960440"/>
              <a:gd name="connsiteY26" fmla="*/ 436907 h 3960000"/>
              <a:gd name="connsiteX27" fmla="*/ 436907 w 3960440"/>
              <a:gd name="connsiteY27" fmla="*/ 0 h 3960000"/>
              <a:gd name="connsiteX0" fmla="*/ 1979373 w 3960440"/>
              <a:gd name="connsiteY0" fmla="*/ 472350 h 3960000"/>
              <a:gd name="connsiteX1" fmla="*/ 813783 w 3960440"/>
              <a:gd name="connsiteY1" fmla="*/ 1434034 h 3960000"/>
              <a:gd name="connsiteX2" fmla="*/ 1119009 w 3960440"/>
              <a:gd name="connsiteY2" fmla="*/ 2222584 h 3960000"/>
              <a:gd name="connsiteX3" fmla="*/ 1296382 w 3960440"/>
              <a:gd name="connsiteY3" fmla="*/ 1907811 h 3960000"/>
              <a:gd name="connsiteX4" fmla="*/ 1234998 w 3960440"/>
              <a:gd name="connsiteY4" fmla="*/ 1431771 h 3960000"/>
              <a:gd name="connsiteX5" fmla="*/ 2217373 w 3960440"/>
              <a:gd name="connsiteY5" fmla="*/ 891303 h 3960000"/>
              <a:gd name="connsiteX6" fmla="*/ 2783502 w 3960440"/>
              <a:gd name="connsiteY6" fmla="*/ 1606823 h 3960000"/>
              <a:gd name="connsiteX7" fmla="*/ 2456028 w 3960440"/>
              <a:gd name="connsiteY7" fmla="*/ 2225955 h 3960000"/>
              <a:gd name="connsiteX8" fmla="*/ 2026974 w 3960440"/>
              <a:gd name="connsiteY8" fmla="*/ 2018938 h 3960000"/>
              <a:gd name="connsiteX9" fmla="*/ 2135727 w 3960440"/>
              <a:gd name="connsiteY9" fmla="*/ 1554876 h 3960000"/>
              <a:gd name="connsiteX10" fmla="*/ 1915898 w 3960440"/>
              <a:gd name="connsiteY10" fmla="*/ 1219889 h 3960000"/>
              <a:gd name="connsiteX11" fmla="*/ 1589196 w 3960440"/>
              <a:gd name="connsiteY11" fmla="*/ 1434803 h 3960000"/>
              <a:gd name="connsiteX12" fmla="*/ 1574511 w 3960440"/>
              <a:gd name="connsiteY12" fmla="*/ 1939931 h 3960000"/>
              <a:gd name="connsiteX13" fmla="*/ 1339611 w 3960440"/>
              <a:gd name="connsiteY13" fmla="*/ 3487664 h 3960000"/>
              <a:gd name="connsiteX14" fmla="*/ 1866603 w 3960440"/>
              <a:gd name="connsiteY14" fmla="*/ 2506778 h 3960000"/>
              <a:gd name="connsiteX15" fmla="*/ 2283619 w 3960440"/>
              <a:gd name="connsiteY15" fmla="*/ 2688571 h 3960000"/>
              <a:gd name="connsiteX16" fmla="*/ 3144820 w 3960440"/>
              <a:gd name="connsiteY16" fmla="*/ 1595509 h 3960000"/>
              <a:gd name="connsiteX17" fmla="*/ 2134565 w 3960440"/>
              <a:gd name="connsiteY17" fmla="*/ 477605 h 3960000"/>
              <a:gd name="connsiteX18" fmla="*/ 1979373 w 3960440"/>
              <a:gd name="connsiteY18" fmla="*/ 472350 h 3960000"/>
              <a:gd name="connsiteX19" fmla="*/ 436907 w 3960440"/>
              <a:gd name="connsiteY19" fmla="*/ 0 h 3960000"/>
              <a:gd name="connsiteX20" fmla="*/ 3523533 w 3960440"/>
              <a:gd name="connsiteY20" fmla="*/ 0 h 3960000"/>
              <a:gd name="connsiteX21" fmla="*/ 3960440 w 3960440"/>
              <a:gd name="connsiteY21" fmla="*/ 436907 h 3960000"/>
              <a:gd name="connsiteX22" fmla="*/ 3960440 w 3960440"/>
              <a:gd name="connsiteY22" fmla="*/ 3523093 h 3960000"/>
              <a:gd name="connsiteX23" fmla="*/ 3523533 w 3960440"/>
              <a:gd name="connsiteY23" fmla="*/ 3960000 h 3960000"/>
              <a:gd name="connsiteX24" fmla="*/ 436907 w 3960440"/>
              <a:gd name="connsiteY24" fmla="*/ 3960000 h 3960000"/>
              <a:gd name="connsiteX25" fmla="*/ 0 w 3960440"/>
              <a:gd name="connsiteY25" fmla="*/ 3523093 h 3960000"/>
              <a:gd name="connsiteX26" fmla="*/ 0 w 3960440"/>
              <a:gd name="connsiteY26" fmla="*/ 436907 h 3960000"/>
              <a:gd name="connsiteX27" fmla="*/ 436907 w 3960440"/>
              <a:gd name="connsiteY27" fmla="*/ 0 h 3960000"/>
              <a:gd name="connsiteX0" fmla="*/ 1979373 w 3960440"/>
              <a:gd name="connsiteY0" fmla="*/ 472350 h 3960000"/>
              <a:gd name="connsiteX1" fmla="*/ 813783 w 3960440"/>
              <a:gd name="connsiteY1" fmla="*/ 1434034 h 3960000"/>
              <a:gd name="connsiteX2" fmla="*/ 1119009 w 3960440"/>
              <a:gd name="connsiteY2" fmla="*/ 2222584 h 3960000"/>
              <a:gd name="connsiteX3" fmla="*/ 1296382 w 3960440"/>
              <a:gd name="connsiteY3" fmla="*/ 1907811 h 3960000"/>
              <a:gd name="connsiteX4" fmla="*/ 1234998 w 3960440"/>
              <a:gd name="connsiteY4" fmla="*/ 1431771 h 3960000"/>
              <a:gd name="connsiteX5" fmla="*/ 2217373 w 3960440"/>
              <a:gd name="connsiteY5" fmla="*/ 891303 h 3960000"/>
              <a:gd name="connsiteX6" fmla="*/ 2783502 w 3960440"/>
              <a:gd name="connsiteY6" fmla="*/ 1606823 h 3960000"/>
              <a:gd name="connsiteX7" fmla="*/ 2456028 w 3960440"/>
              <a:gd name="connsiteY7" fmla="*/ 2225955 h 3960000"/>
              <a:gd name="connsiteX8" fmla="*/ 2026974 w 3960440"/>
              <a:gd name="connsiteY8" fmla="*/ 2018938 h 3960000"/>
              <a:gd name="connsiteX9" fmla="*/ 2135727 w 3960440"/>
              <a:gd name="connsiteY9" fmla="*/ 1554876 h 3960000"/>
              <a:gd name="connsiteX10" fmla="*/ 1915898 w 3960440"/>
              <a:gd name="connsiteY10" fmla="*/ 1219889 h 3960000"/>
              <a:gd name="connsiteX11" fmla="*/ 1589196 w 3960440"/>
              <a:gd name="connsiteY11" fmla="*/ 1434803 h 3960000"/>
              <a:gd name="connsiteX12" fmla="*/ 1574511 w 3960440"/>
              <a:gd name="connsiteY12" fmla="*/ 1939931 h 3960000"/>
              <a:gd name="connsiteX13" fmla="*/ 1339611 w 3960440"/>
              <a:gd name="connsiteY13" fmla="*/ 3487664 h 3960000"/>
              <a:gd name="connsiteX14" fmla="*/ 1887692 w 3960440"/>
              <a:gd name="connsiteY14" fmla="*/ 2422431 h 3960000"/>
              <a:gd name="connsiteX15" fmla="*/ 2283619 w 3960440"/>
              <a:gd name="connsiteY15" fmla="*/ 2688571 h 3960000"/>
              <a:gd name="connsiteX16" fmla="*/ 3144820 w 3960440"/>
              <a:gd name="connsiteY16" fmla="*/ 1595509 h 3960000"/>
              <a:gd name="connsiteX17" fmla="*/ 2134565 w 3960440"/>
              <a:gd name="connsiteY17" fmla="*/ 477605 h 3960000"/>
              <a:gd name="connsiteX18" fmla="*/ 1979373 w 3960440"/>
              <a:gd name="connsiteY18" fmla="*/ 472350 h 3960000"/>
              <a:gd name="connsiteX19" fmla="*/ 436907 w 3960440"/>
              <a:gd name="connsiteY19" fmla="*/ 0 h 3960000"/>
              <a:gd name="connsiteX20" fmla="*/ 3523533 w 3960440"/>
              <a:gd name="connsiteY20" fmla="*/ 0 h 3960000"/>
              <a:gd name="connsiteX21" fmla="*/ 3960440 w 3960440"/>
              <a:gd name="connsiteY21" fmla="*/ 436907 h 3960000"/>
              <a:gd name="connsiteX22" fmla="*/ 3960440 w 3960440"/>
              <a:gd name="connsiteY22" fmla="*/ 3523093 h 3960000"/>
              <a:gd name="connsiteX23" fmla="*/ 3523533 w 3960440"/>
              <a:gd name="connsiteY23" fmla="*/ 3960000 h 3960000"/>
              <a:gd name="connsiteX24" fmla="*/ 436907 w 3960440"/>
              <a:gd name="connsiteY24" fmla="*/ 3960000 h 3960000"/>
              <a:gd name="connsiteX25" fmla="*/ 0 w 3960440"/>
              <a:gd name="connsiteY25" fmla="*/ 3523093 h 3960000"/>
              <a:gd name="connsiteX26" fmla="*/ 0 w 3960440"/>
              <a:gd name="connsiteY26" fmla="*/ 436907 h 3960000"/>
              <a:gd name="connsiteX27" fmla="*/ 436907 w 3960440"/>
              <a:gd name="connsiteY27" fmla="*/ 0 h 3960000"/>
              <a:gd name="connsiteX0" fmla="*/ 1979373 w 3960440"/>
              <a:gd name="connsiteY0" fmla="*/ 472350 h 3960000"/>
              <a:gd name="connsiteX1" fmla="*/ 813783 w 3960440"/>
              <a:gd name="connsiteY1" fmla="*/ 1434034 h 3960000"/>
              <a:gd name="connsiteX2" fmla="*/ 1119009 w 3960440"/>
              <a:gd name="connsiteY2" fmla="*/ 2222584 h 3960000"/>
              <a:gd name="connsiteX3" fmla="*/ 1296382 w 3960440"/>
              <a:gd name="connsiteY3" fmla="*/ 1907811 h 3960000"/>
              <a:gd name="connsiteX4" fmla="*/ 1234998 w 3960440"/>
              <a:gd name="connsiteY4" fmla="*/ 1431771 h 3960000"/>
              <a:gd name="connsiteX5" fmla="*/ 2217373 w 3960440"/>
              <a:gd name="connsiteY5" fmla="*/ 891303 h 3960000"/>
              <a:gd name="connsiteX6" fmla="*/ 2783502 w 3960440"/>
              <a:gd name="connsiteY6" fmla="*/ 1606823 h 3960000"/>
              <a:gd name="connsiteX7" fmla="*/ 2456028 w 3960440"/>
              <a:gd name="connsiteY7" fmla="*/ 2225955 h 3960000"/>
              <a:gd name="connsiteX8" fmla="*/ 2026974 w 3960440"/>
              <a:gd name="connsiteY8" fmla="*/ 2018938 h 3960000"/>
              <a:gd name="connsiteX9" fmla="*/ 2135727 w 3960440"/>
              <a:gd name="connsiteY9" fmla="*/ 1554876 h 3960000"/>
              <a:gd name="connsiteX10" fmla="*/ 1915898 w 3960440"/>
              <a:gd name="connsiteY10" fmla="*/ 1219889 h 3960000"/>
              <a:gd name="connsiteX11" fmla="*/ 1589196 w 3960440"/>
              <a:gd name="connsiteY11" fmla="*/ 1434803 h 3960000"/>
              <a:gd name="connsiteX12" fmla="*/ 1574511 w 3960440"/>
              <a:gd name="connsiteY12" fmla="*/ 1939931 h 3960000"/>
              <a:gd name="connsiteX13" fmla="*/ 1339611 w 3960440"/>
              <a:gd name="connsiteY13" fmla="*/ 3487664 h 3960000"/>
              <a:gd name="connsiteX14" fmla="*/ 1887692 w 3960440"/>
              <a:gd name="connsiteY14" fmla="*/ 2422431 h 3960000"/>
              <a:gd name="connsiteX15" fmla="*/ 2336342 w 3960440"/>
              <a:gd name="connsiteY15" fmla="*/ 2720202 h 3960000"/>
              <a:gd name="connsiteX16" fmla="*/ 3144820 w 3960440"/>
              <a:gd name="connsiteY16" fmla="*/ 1595509 h 3960000"/>
              <a:gd name="connsiteX17" fmla="*/ 2134565 w 3960440"/>
              <a:gd name="connsiteY17" fmla="*/ 477605 h 3960000"/>
              <a:gd name="connsiteX18" fmla="*/ 1979373 w 3960440"/>
              <a:gd name="connsiteY18" fmla="*/ 472350 h 3960000"/>
              <a:gd name="connsiteX19" fmla="*/ 436907 w 3960440"/>
              <a:gd name="connsiteY19" fmla="*/ 0 h 3960000"/>
              <a:gd name="connsiteX20" fmla="*/ 3523533 w 3960440"/>
              <a:gd name="connsiteY20" fmla="*/ 0 h 3960000"/>
              <a:gd name="connsiteX21" fmla="*/ 3960440 w 3960440"/>
              <a:gd name="connsiteY21" fmla="*/ 436907 h 3960000"/>
              <a:gd name="connsiteX22" fmla="*/ 3960440 w 3960440"/>
              <a:gd name="connsiteY22" fmla="*/ 3523093 h 3960000"/>
              <a:gd name="connsiteX23" fmla="*/ 3523533 w 3960440"/>
              <a:gd name="connsiteY23" fmla="*/ 3960000 h 3960000"/>
              <a:gd name="connsiteX24" fmla="*/ 436907 w 3960440"/>
              <a:gd name="connsiteY24" fmla="*/ 3960000 h 3960000"/>
              <a:gd name="connsiteX25" fmla="*/ 0 w 3960440"/>
              <a:gd name="connsiteY25" fmla="*/ 3523093 h 3960000"/>
              <a:gd name="connsiteX26" fmla="*/ 0 w 3960440"/>
              <a:gd name="connsiteY26" fmla="*/ 436907 h 3960000"/>
              <a:gd name="connsiteX27" fmla="*/ 436907 w 3960440"/>
              <a:gd name="connsiteY27" fmla="*/ 0 h 3960000"/>
              <a:gd name="connsiteX0" fmla="*/ 1979373 w 3960440"/>
              <a:gd name="connsiteY0" fmla="*/ 472350 h 3960000"/>
              <a:gd name="connsiteX1" fmla="*/ 813783 w 3960440"/>
              <a:gd name="connsiteY1" fmla="*/ 1434034 h 3960000"/>
              <a:gd name="connsiteX2" fmla="*/ 1119009 w 3960440"/>
              <a:gd name="connsiteY2" fmla="*/ 2222584 h 3960000"/>
              <a:gd name="connsiteX3" fmla="*/ 1296382 w 3960440"/>
              <a:gd name="connsiteY3" fmla="*/ 1907811 h 3960000"/>
              <a:gd name="connsiteX4" fmla="*/ 1234998 w 3960440"/>
              <a:gd name="connsiteY4" fmla="*/ 1431771 h 3960000"/>
              <a:gd name="connsiteX5" fmla="*/ 2217373 w 3960440"/>
              <a:gd name="connsiteY5" fmla="*/ 891303 h 3960000"/>
              <a:gd name="connsiteX6" fmla="*/ 2783502 w 3960440"/>
              <a:gd name="connsiteY6" fmla="*/ 1606823 h 3960000"/>
              <a:gd name="connsiteX7" fmla="*/ 2456028 w 3960440"/>
              <a:gd name="connsiteY7" fmla="*/ 2225955 h 3960000"/>
              <a:gd name="connsiteX8" fmla="*/ 2026974 w 3960440"/>
              <a:gd name="connsiteY8" fmla="*/ 2018938 h 3960000"/>
              <a:gd name="connsiteX9" fmla="*/ 2135727 w 3960440"/>
              <a:gd name="connsiteY9" fmla="*/ 1554876 h 3960000"/>
              <a:gd name="connsiteX10" fmla="*/ 1915898 w 3960440"/>
              <a:gd name="connsiteY10" fmla="*/ 1219889 h 3960000"/>
              <a:gd name="connsiteX11" fmla="*/ 1589196 w 3960440"/>
              <a:gd name="connsiteY11" fmla="*/ 1434803 h 3960000"/>
              <a:gd name="connsiteX12" fmla="*/ 1574511 w 3960440"/>
              <a:gd name="connsiteY12" fmla="*/ 1939931 h 3960000"/>
              <a:gd name="connsiteX13" fmla="*/ 1339611 w 3960440"/>
              <a:gd name="connsiteY13" fmla="*/ 3487664 h 3960000"/>
              <a:gd name="connsiteX14" fmla="*/ 1887692 w 3960440"/>
              <a:gd name="connsiteY14" fmla="*/ 2422431 h 3960000"/>
              <a:gd name="connsiteX15" fmla="*/ 2336342 w 3960440"/>
              <a:gd name="connsiteY15" fmla="*/ 2720202 h 3960000"/>
              <a:gd name="connsiteX16" fmla="*/ 3176454 w 3960440"/>
              <a:gd name="connsiteY16" fmla="*/ 1627140 h 3960000"/>
              <a:gd name="connsiteX17" fmla="*/ 2134565 w 3960440"/>
              <a:gd name="connsiteY17" fmla="*/ 477605 h 3960000"/>
              <a:gd name="connsiteX18" fmla="*/ 1979373 w 3960440"/>
              <a:gd name="connsiteY18" fmla="*/ 472350 h 3960000"/>
              <a:gd name="connsiteX19" fmla="*/ 436907 w 3960440"/>
              <a:gd name="connsiteY19" fmla="*/ 0 h 3960000"/>
              <a:gd name="connsiteX20" fmla="*/ 3523533 w 3960440"/>
              <a:gd name="connsiteY20" fmla="*/ 0 h 3960000"/>
              <a:gd name="connsiteX21" fmla="*/ 3960440 w 3960440"/>
              <a:gd name="connsiteY21" fmla="*/ 436907 h 3960000"/>
              <a:gd name="connsiteX22" fmla="*/ 3960440 w 3960440"/>
              <a:gd name="connsiteY22" fmla="*/ 3523093 h 3960000"/>
              <a:gd name="connsiteX23" fmla="*/ 3523533 w 3960440"/>
              <a:gd name="connsiteY23" fmla="*/ 3960000 h 3960000"/>
              <a:gd name="connsiteX24" fmla="*/ 436907 w 3960440"/>
              <a:gd name="connsiteY24" fmla="*/ 3960000 h 3960000"/>
              <a:gd name="connsiteX25" fmla="*/ 0 w 3960440"/>
              <a:gd name="connsiteY25" fmla="*/ 3523093 h 3960000"/>
              <a:gd name="connsiteX26" fmla="*/ 0 w 3960440"/>
              <a:gd name="connsiteY26" fmla="*/ 436907 h 3960000"/>
              <a:gd name="connsiteX27" fmla="*/ 436907 w 3960440"/>
              <a:gd name="connsiteY27" fmla="*/ 0 h 3960000"/>
              <a:gd name="connsiteX0" fmla="*/ 1979373 w 3960440"/>
              <a:gd name="connsiteY0" fmla="*/ 472350 h 3960000"/>
              <a:gd name="connsiteX1" fmla="*/ 813783 w 3960440"/>
              <a:gd name="connsiteY1" fmla="*/ 1434034 h 3960000"/>
              <a:gd name="connsiteX2" fmla="*/ 1119009 w 3960440"/>
              <a:gd name="connsiteY2" fmla="*/ 2222584 h 3960000"/>
              <a:gd name="connsiteX3" fmla="*/ 1296382 w 3960440"/>
              <a:gd name="connsiteY3" fmla="*/ 1907811 h 3960000"/>
              <a:gd name="connsiteX4" fmla="*/ 1234998 w 3960440"/>
              <a:gd name="connsiteY4" fmla="*/ 1431771 h 3960000"/>
              <a:gd name="connsiteX5" fmla="*/ 2217373 w 3960440"/>
              <a:gd name="connsiteY5" fmla="*/ 891303 h 3960000"/>
              <a:gd name="connsiteX6" fmla="*/ 2783502 w 3960440"/>
              <a:gd name="connsiteY6" fmla="*/ 1606823 h 3960000"/>
              <a:gd name="connsiteX7" fmla="*/ 2456028 w 3960440"/>
              <a:gd name="connsiteY7" fmla="*/ 2225955 h 3960000"/>
              <a:gd name="connsiteX8" fmla="*/ 2026974 w 3960440"/>
              <a:gd name="connsiteY8" fmla="*/ 2018938 h 3960000"/>
              <a:gd name="connsiteX9" fmla="*/ 2135727 w 3960440"/>
              <a:gd name="connsiteY9" fmla="*/ 1554876 h 3960000"/>
              <a:gd name="connsiteX10" fmla="*/ 1915898 w 3960440"/>
              <a:gd name="connsiteY10" fmla="*/ 1219889 h 3960000"/>
              <a:gd name="connsiteX11" fmla="*/ 1589196 w 3960440"/>
              <a:gd name="connsiteY11" fmla="*/ 1434803 h 3960000"/>
              <a:gd name="connsiteX12" fmla="*/ 1574511 w 3960440"/>
              <a:gd name="connsiteY12" fmla="*/ 1939931 h 3960000"/>
              <a:gd name="connsiteX13" fmla="*/ 1339611 w 3960440"/>
              <a:gd name="connsiteY13" fmla="*/ 3487664 h 3960000"/>
              <a:gd name="connsiteX14" fmla="*/ 1887692 w 3960440"/>
              <a:gd name="connsiteY14" fmla="*/ 2422431 h 3960000"/>
              <a:gd name="connsiteX15" fmla="*/ 2336342 w 3960440"/>
              <a:gd name="connsiteY15" fmla="*/ 2720202 h 3960000"/>
              <a:gd name="connsiteX16" fmla="*/ 3176454 w 3960440"/>
              <a:gd name="connsiteY16" fmla="*/ 1627140 h 3960000"/>
              <a:gd name="connsiteX17" fmla="*/ 2134565 w 3960440"/>
              <a:gd name="connsiteY17" fmla="*/ 477605 h 3960000"/>
              <a:gd name="connsiteX18" fmla="*/ 1979373 w 3960440"/>
              <a:gd name="connsiteY18" fmla="*/ 472350 h 3960000"/>
              <a:gd name="connsiteX19" fmla="*/ 436907 w 3960440"/>
              <a:gd name="connsiteY19" fmla="*/ 0 h 3960000"/>
              <a:gd name="connsiteX20" fmla="*/ 3523533 w 3960440"/>
              <a:gd name="connsiteY20" fmla="*/ 0 h 3960000"/>
              <a:gd name="connsiteX21" fmla="*/ 3960440 w 3960440"/>
              <a:gd name="connsiteY21" fmla="*/ 436907 h 3960000"/>
              <a:gd name="connsiteX22" fmla="*/ 3960440 w 3960440"/>
              <a:gd name="connsiteY22" fmla="*/ 3523093 h 3960000"/>
              <a:gd name="connsiteX23" fmla="*/ 3523533 w 3960440"/>
              <a:gd name="connsiteY23" fmla="*/ 3960000 h 3960000"/>
              <a:gd name="connsiteX24" fmla="*/ 436907 w 3960440"/>
              <a:gd name="connsiteY24" fmla="*/ 3960000 h 3960000"/>
              <a:gd name="connsiteX25" fmla="*/ 0 w 3960440"/>
              <a:gd name="connsiteY25" fmla="*/ 3523093 h 3960000"/>
              <a:gd name="connsiteX26" fmla="*/ 0 w 3960440"/>
              <a:gd name="connsiteY26" fmla="*/ 436907 h 3960000"/>
              <a:gd name="connsiteX27" fmla="*/ 436907 w 3960440"/>
              <a:gd name="connsiteY27" fmla="*/ 0 h 3960000"/>
              <a:gd name="connsiteX0" fmla="*/ 1979373 w 3960440"/>
              <a:gd name="connsiteY0" fmla="*/ 472350 h 3960000"/>
              <a:gd name="connsiteX1" fmla="*/ 813783 w 3960440"/>
              <a:gd name="connsiteY1" fmla="*/ 1434034 h 3960000"/>
              <a:gd name="connsiteX2" fmla="*/ 1119009 w 3960440"/>
              <a:gd name="connsiteY2" fmla="*/ 2222584 h 3960000"/>
              <a:gd name="connsiteX3" fmla="*/ 1296382 w 3960440"/>
              <a:gd name="connsiteY3" fmla="*/ 1907811 h 3960000"/>
              <a:gd name="connsiteX4" fmla="*/ 1234998 w 3960440"/>
              <a:gd name="connsiteY4" fmla="*/ 1431771 h 3960000"/>
              <a:gd name="connsiteX5" fmla="*/ 2217373 w 3960440"/>
              <a:gd name="connsiteY5" fmla="*/ 891303 h 3960000"/>
              <a:gd name="connsiteX6" fmla="*/ 2783502 w 3960440"/>
              <a:gd name="connsiteY6" fmla="*/ 1606823 h 3960000"/>
              <a:gd name="connsiteX7" fmla="*/ 2456028 w 3960440"/>
              <a:gd name="connsiteY7" fmla="*/ 2225955 h 3960000"/>
              <a:gd name="connsiteX8" fmla="*/ 2026974 w 3960440"/>
              <a:gd name="connsiteY8" fmla="*/ 2018938 h 3960000"/>
              <a:gd name="connsiteX9" fmla="*/ 2135727 w 3960440"/>
              <a:gd name="connsiteY9" fmla="*/ 1554876 h 3960000"/>
              <a:gd name="connsiteX10" fmla="*/ 1915898 w 3960440"/>
              <a:gd name="connsiteY10" fmla="*/ 1219889 h 3960000"/>
              <a:gd name="connsiteX11" fmla="*/ 1589196 w 3960440"/>
              <a:gd name="connsiteY11" fmla="*/ 1434803 h 3960000"/>
              <a:gd name="connsiteX12" fmla="*/ 1574511 w 3960440"/>
              <a:gd name="connsiteY12" fmla="*/ 1939931 h 3960000"/>
              <a:gd name="connsiteX13" fmla="*/ 1339611 w 3960440"/>
              <a:gd name="connsiteY13" fmla="*/ 3487664 h 3960000"/>
              <a:gd name="connsiteX14" fmla="*/ 1887692 w 3960440"/>
              <a:gd name="connsiteY14" fmla="*/ 2422431 h 3960000"/>
              <a:gd name="connsiteX15" fmla="*/ 2336342 w 3960440"/>
              <a:gd name="connsiteY15" fmla="*/ 2720202 h 3960000"/>
              <a:gd name="connsiteX16" fmla="*/ 3176454 w 3960440"/>
              <a:gd name="connsiteY16" fmla="*/ 1627140 h 3960000"/>
              <a:gd name="connsiteX17" fmla="*/ 2134565 w 3960440"/>
              <a:gd name="connsiteY17" fmla="*/ 477605 h 3960000"/>
              <a:gd name="connsiteX18" fmla="*/ 1979373 w 3960440"/>
              <a:gd name="connsiteY18" fmla="*/ 472350 h 3960000"/>
              <a:gd name="connsiteX19" fmla="*/ 436907 w 3960440"/>
              <a:gd name="connsiteY19" fmla="*/ 0 h 3960000"/>
              <a:gd name="connsiteX20" fmla="*/ 3523533 w 3960440"/>
              <a:gd name="connsiteY20" fmla="*/ 0 h 3960000"/>
              <a:gd name="connsiteX21" fmla="*/ 3960440 w 3960440"/>
              <a:gd name="connsiteY21" fmla="*/ 436907 h 3960000"/>
              <a:gd name="connsiteX22" fmla="*/ 3960440 w 3960440"/>
              <a:gd name="connsiteY22" fmla="*/ 3523093 h 3960000"/>
              <a:gd name="connsiteX23" fmla="*/ 3523533 w 3960440"/>
              <a:gd name="connsiteY23" fmla="*/ 3960000 h 3960000"/>
              <a:gd name="connsiteX24" fmla="*/ 436907 w 3960440"/>
              <a:gd name="connsiteY24" fmla="*/ 3960000 h 3960000"/>
              <a:gd name="connsiteX25" fmla="*/ 0 w 3960440"/>
              <a:gd name="connsiteY25" fmla="*/ 3523093 h 3960000"/>
              <a:gd name="connsiteX26" fmla="*/ 0 w 3960440"/>
              <a:gd name="connsiteY26" fmla="*/ 436907 h 3960000"/>
              <a:gd name="connsiteX27" fmla="*/ 436907 w 3960440"/>
              <a:gd name="connsiteY27" fmla="*/ 0 h 3960000"/>
              <a:gd name="connsiteX0" fmla="*/ 1979373 w 3960440"/>
              <a:gd name="connsiteY0" fmla="*/ 472350 h 3960000"/>
              <a:gd name="connsiteX1" fmla="*/ 813783 w 3960440"/>
              <a:gd name="connsiteY1" fmla="*/ 1434034 h 3960000"/>
              <a:gd name="connsiteX2" fmla="*/ 1119009 w 3960440"/>
              <a:gd name="connsiteY2" fmla="*/ 2222584 h 3960000"/>
              <a:gd name="connsiteX3" fmla="*/ 1296382 w 3960440"/>
              <a:gd name="connsiteY3" fmla="*/ 1907811 h 3960000"/>
              <a:gd name="connsiteX4" fmla="*/ 1234998 w 3960440"/>
              <a:gd name="connsiteY4" fmla="*/ 1431771 h 3960000"/>
              <a:gd name="connsiteX5" fmla="*/ 2217373 w 3960440"/>
              <a:gd name="connsiteY5" fmla="*/ 891303 h 3960000"/>
              <a:gd name="connsiteX6" fmla="*/ 2783502 w 3960440"/>
              <a:gd name="connsiteY6" fmla="*/ 1606823 h 3960000"/>
              <a:gd name="connsiteX7" fmla="*/ 2456028 w 3960440"/>
              <a:gd name="connsiteY7" fmla="*/ 2225955 h 3960000"/>
              <a:gd name="connsiteX8" fmla="*/ 2026974 w 3960440"/>
              <a:gd name="connsiteY8" fmla="*/ 2018938 h 3960000"/>
              <a:gd name="connsiteX9" fmla="*/ 2135727 w 3960440"/>
              <a:gd name="connsiteY9" fmla="*/ 1554876 h 3960000"/>
              <a:gd name="connsiteX10" fmla="*/ 1915898 w 3960440"/>
              <a:gd name="connsiteY10" fmla="*/ 1219889 h 3960000"/>
              <a:gd name="connsiteX11" fmla="*/ 1589196 w 3960440"/>
              <a:gd name="connsiteY11" fmla="*/ 1434803 h 3960000"/>
              <a:gd name="connsiteX12" fmla="*/ 1574511 w 3960440"/>
              <a:gd name="connsiteY12" fmla="*/ 1939931 h 3960000"/>
              <a:gd name="connsiteX13" fmla="*/ 1339611 w 3960440"/>
              <a:gd name="connsiteY13" fmla="*/ 3487664 h 3960000"/>
              <a:gd name="connsiteX14" fmla="*/ 1887692 w 3960440"/>
              <a:gd name="connsiteY14" fmla="*/ 2422431 h 3960000"/>
              <a:gd name="connsiteX15" fmla="*/ 2336342 w 3960440"/>
              <a:gd name="connsiteY15" fmla="*/ 2720202 h 3960000"/>
              <a:gd name="connsiteX16" fmla="*/ 3176454 w 3960440"/>
              <a:gd name="connsiteY16" fmla="*/ 1627140 h 3960000"/>
              <a:gd name="connsiteX17" fmla="*/ 2134565 w 3960440"/>
              <a:gd name="connsiteY17" fmla="*/ 477605 h 3960000"/>
              <a:gd name="connsiteX18" fmla="*/ 1979373 w 3960440"/>
              <a:gd name="connsiteY18" fmla="*/ 472350 h 3960000"/>
              <a:gd name="connsiteX19" fmla="*/ 436907 w 3960440"/>
              <a:gd name="connsiteY19" fmla="*/ 0 h 3960000"/>
              <a:gd name="connsiteX20" fmla="*/ 3523533 w 3960440"/>
              <a:gd name="connsiteY20" fmla="*/ 0 h 3960000"/>
              <a:gd name="connsiteX21" fmla="*/ 3960440 w 3960440"/>
              <a:gd name="connsiteY21" fmla="*/ 436907 h 3960000"/>
              <a:gd name="connsiteX22" fmla="*/ 3960440 w 3960440"/>
              <a:gd name="connsiteY22" fmla="*/ 3523093 h 3960000"/>
              <a:gd name="connsiteX23" fmla="*/ 3523533 w 3960440"/>
              <a:gd name="connsiteY23" fmla="*/ 3960000 h 3960000"/>
              <a:gd name="connsiteX24" fmla="*/ 436907 w 3960440"/>
              <a:gd name="connsiteY24" fmla="*/ 3960000 h 3960000"/>
              <a:gd name="connsiteX25" fmla="*/ 0 w 3960440"/>
              <a:gd name="connsiteY25" fmla="*/ 3523093 h 3960000"/>
              <a:gd name="connsiteX26" fmla="*/ 0 w 3960440"/>
              <a:gd name="connsiteY26" fmla="*/ 436907 h 3960000"/>
              <a:gd name="connsiteX27" fmla="*/ 436907 w 3960440"/>
              <a:gd name="connsiteY27" fmla="*/ 0 h 3960000"/>
              <a:gd name="connsiteX0" fmla="*/ 1979373 w 3960440"/>
              <a:gd name="connsiteY0" fmla="*/ 472350 h 3960000"/>
              <a:gd name="connsiteX1" fmla="*/ 813783 w 3960440"/>
              <a:gd name="connsiteY1" fmla="*/ 1434034 h 3960000"/>
              <a:gd name="connsiteX2" fmla="*/ 1119009 w 3960440"/>
              <a:gd name="connsiteY2" fmla="*/ 2222584 h 3960000"/>
              <a:gd name="connsiteX3" fmla="*/ 1296382 w 3960440"/>
              <a:gd name="connsiteY3" fmla="*/ 1907811 h 3960000"/>
              <a:gd name="connsiteX4" fmla="*/ 1234998 w 3960440"/>
              <a:gd name="connsiteY4" fmla="*/ 1431771 h 3960000"/>
              <a:gd name="connsiteX5" fmla="*/ 2217373 w 3960440"/>
              <a:gd name="connsiteY5" fmla="*/ 891303 h 3960000"/>
              <a:gd name="connsiteX6" fmla="*/ 2783502 w 3960440"/>
              <a:gd name="connsiteY6" fmla="*/ 1606823 h 3960000"/>
              <a:gd name="connsiteX7" fmla="*/ 2456028 w 3960440"/>
              <a:gd name="connsiteY7" fmla="*/ 2225955 h 3960000"/>
              <a:gd name="connsiteX8" fmla="*/ 2026974 w 3960440"/>
              <a:gd name="connsiteY8" fmla="*/ 2018938 h 3960000"/>
              <a:gd name="connsiteX9" fmla="*/ 2135727 w 3960440"/>
              <a:gd name="connsiteY9" fmla="*/ 1554876 h 3960000"/>
              <a:gd name="connsiteX10" fmla="*/ 1915898 w 3960440"/>
              <a:gd name="connsiteY10" fmla="*/ 1219889 h 3960000"/>
              <a:gd name="connsiteX11" fmla="*/ 1589196 w 3960440"/>
              <a:gd name="connsiteY11" fmla="*/ 1434803 h 3960000"/>
              <a:gd name="connsiteX12" fmla="*/ 1574511 w 3960440"/>
              <a:gd name="connsiteY12" fmla="*/ 1939931 h 3960000"/>
              <a:gd name="connsiteX13" fmla="*/ 1339611 w 3960440"/>
              <a:gd name="connsiteY13" fmla="*/ 3487664 h 3960000"/>
              <a:gd name="connsiteX14" fmla="*/ 1887692 w 3960440"/>
              <a:gd name="connsiteY14" fmla="*/ 2422431 h 3960000"/>
              <a:gd name="connsiteX15" fmla="*/ 2336342 w 3960440"/>
              <a:gd name="connsiteY15" fmla="*/ 2720202 h 3960000"/>
              <a:gd name="connsiteX16" fmla="*/ 3176454 w 3960440"/>
              <a:gd name="connsiteY16" fmla="*/ 1627140 h 3960000"/>
              <a:gd name="connsiteX17" fmla="*/ 1979373 w 3960440"/>
              <a:gd name="connsiteY17" fmla="*/ 472350 h 3960000"/>
              <a:gd name="connsiteX18" fmla="*/ 436907 w 3960440"/>
              <a:gd name="connsiteY18" fmla="*/ 0 h 3960000"/>
              <a:gd name="connsiteX19" fmla="*/ 3523533 w 3960440"/>
              <a:gd name="connsiteY19" fmla="*/ 0 h 3960000"/>
              <a:gd name="connsiteX20" fmla="*/ 3960440 w 3960440"/>
              <a:gd name="connsiteY20" fmla="*/ 436907 h 3960000"/>
              <a:gd name="connsiteX21" fmla="*/ 3960440 w 3960440"/>
              <a:gd name="connsiteY21" fmla="*/ 3523093 h 3960000"/>
              <a:gd name="connsiteX22" fmla="*/ 3523533 w 3960440"/>
              <a:gd name="connsiteY22" fmla="*/ 3960000 h 3960000"/>
              <a:gd name="connsiteX23" fmla="*/ 436907 w 3960440"/>
              <a:gd name="connsiteY23" fmla="*/ 3960000 h 3960000"/>
              <a:gd name="connsiteX24" fmla="*/ 0 w 3960440"/>
              <a:gd name="connsiteY24" fmla="*/ 3523093 h 3960000"/>
              <a:gd name="connsiteX25" fmla="*/ 0 w 3960440"/>
              <a:gd name="connsiteY25" fmla="*/ 436907 h 3960000"/>
              <a:gd name="connsiteX26" fmla="*/ 436907 w 3960440"/>
              <a:gd name="connsiteY26" fmla="*/ 0 h 3960000"/>
              <a:gd name="connsiteX0" fmla="*/ 1979373 w 3960440"/>
              <a:gd name="connsiteY0" fmla="*/ 472350 h 3960000"/>
              <a:gd name="connsiteX1" fmla="*/ 813783 w 3960440"/>
              <a:gd name="connsiteY1" fmla="*/ 1434034 h 3960000"/>
              <a:gd name="connsiteX2" fmla="*/ 1119009 w 3960440"/>
              <a:gd name="connsiteY2" fmla="*/ 2222584 h 3960000"/>
              <a:gd name="connsiteX3" fmla="*/ 1296382 w 3960440"/>
              <a:gd name="connsiteY3" fmla="*/ 1907811 h 3960000"/>
              <a:gd name="connsiteX4" fmla="*/ 1234998 w 3960440"/>
              <a:gd name="connsiteY4" fmla="*/ 1431771 h 3960000"/>
              <a:gd name="connsiteX5" fmla="*/ 2217373 w 3960440"/>
              <a:gd name="connsiteY5" fmla="*/ 891303 h 3960000"/>
              <a:gd name="connsiteX6" fmla="*/ 2783502 w 3960440"/>
              <a:gd name="connsiteY6" fmla="*/ 1606823 h 3960000"/>
              <a:gd name="connsiteX7" fmla="*/ 2456028 w 3960440"/>
              <a:gd name="connsiteY7" fmla="*/ 2225955 h 3960000"/>
              <a:gd name="connsiteX8" fmla="*/ 2026974 w 3960440"/>
              <a:gd name="connsiteY8" fmla="*/ 2018938 h 3960000"/>
              <a:gd name="connsiteX9" fmla="*/ 2135727 w 3960440"/>
              <a:gd name="connsiteY9" fmla="*/ 1554876 h 3960000"/>
              <a:gd name="connsiteX10" fmla="*/ 1915898 w 3960440"/>
              <a:gd name="connsiteY10" fmla="*/ 1219889 h 3960000"/>
              <a:gd name="connsiteX11" fmla="*/ 1589196 w 3960440"/>
              <a:gd name="connsiteY11" fmla="*/ 1434803 h 3960000"/>
              <a:gd name="connsiteX12" fmla="*/ 1574511 w 3960440"/>
              <a:gd name="connsiteY12" fmla="*/ 1939931 h 3960000"/>
              <a:gd name="connsiteX13" fmla="*/ 1339611 w 3960440"/>
              <a:gd name="connsiteY13" fmla="*/ 3487664 h 3960000"/>
              <a:gd name="connsiteX14" fmla="*/ 1887692 w 3960440"/>
              <a:gd name="connsiteY14" fmla="*/ 2422431 h 3960000"/>
              <a:gd name="connsiteX15" fmla="*/ 2336342 w 3960440"/>
              <a:gd name="connsiteY15" fmla="*/ 2720202 h 3960000"/>
              <a:gd name="connsiteX16" fmla="*/ 3176454 w 3960440"/>
              <a:gd name="connsiteY16" fmla="*/ 1627140 h 3960000"/>
              <a:gd name="connsiteX17" fmla="*/ 1979373 w 3960440"/>
              <a:gd name="connsiteY17" fmla="*/ 472350 h 3960000"/>
              <a:gd name="connsiteX18" fmla="*/ 436907 w 3960440"/>
              <a:gd name="connsiteY18" fmla="*/ 0 h 3960000"/>
              <a:gd name="connsiteX19" fmla="*/ 3523533 w 3960440"/>
              <a:gd name="connsiteY19" fmla="*/ 0 h 3960000"/>
              <a:gd name="connsiteX20" fmla="*/ 3960440 w 3960440"/>
              <a:gd name="connsiteY20" fmla="*/ 436907 h 3960000"/>
              <a:gd name="connsiteX21" fmla="*/ 3960440 w 3960440"/>
              <a:gd name="connsiteY21" fmla="*/ 3523093 h 3960000"/>
              <a:gd name="connsiteX22" fmla="*/ 3523533 w 3960440"/>
              <a:gd name="connsiteY22" fmla="*/ 3960000 h 3960000"/>
              <a:gd name="connsiteX23" fmla="*/ 436907 w 3960440"/>
              <a:gd name="connsiteY23" fmla="*/ 3960000 h 3960000"/>
              <a:gd name="connsiteX24" fmla="*/ 0 w 3960440"/>
              <a:gd name="connsiteY24" fmla="*/ 3523093 h 3960000"/>
              <a:gd name="connsiteX25" fmla="*/ 0 w 3960440"/>
              <a:gd name="connsiteY25" fmla="*/ 436907 h 3960000"/>
              <a:gd name="connsiteX26" fmla="*/ 436907 w 3960440"/>
              <a:gd name="connsiteY26" fmla="*/ 0 h 3960000"/>
              <a:gd name="connsiteX0" fmla="*/ 1979373 w 3960440"/>
              <a:gd name="connsiteY0" fmla="*/ 472350 h 3960000"/>
              <a:gd name="connsiteX1" fmla="*/ 813783 w 3960440"/>
              <a:gd name="connsiteY1" fmla="*/ 1434034 h 3960000"/>
              <a:gd name="connsiteX2" fmla="*/ 1119009 w 3960440"/>
              <a:gd name="connsiteY2" fmla="*/ 2222584 h 3960000"/>
              <a:gd name="connsiteX3" fmla="*/ 1296382 w 3960440"/>
              <a:gd name="connsiteY3" fmla="*/ 1907811 h 3960000"/>
              <a:gd name="connsiteX4" fmla="*/ 1234998 w 3960440"/>
              <a:gd name="connsiteY4" fmla="*/ 1431771 h 3960000"/>
              <a:gd name="connsiteX5" fmla="*/ 2217373 w 3960440"/>
              <a:gd name="connsiteY5" fmla="*/ 891303 h 3960000"/>
              <a:gd name="connsiteX6" fmla="*/ 2783502 w 3960440"/>
              <a:gd name="connsiteY6" fmla="*/ 1606823 h 3960000"/>
              <a:gd name="connsiteX7" fmla="*/ 2456028 w 3960440"/>
              <a:gd name="connsiteY7" fmla="*/ 2225955 h 3960000"/>
              <a:gd name="connsiteX8" fmla="*/ 2026974 w 3960440"/>
              <a:gd name="connsiteY8" fmla="*/ 2018938 h 3960000"/>
              <a:gd name="connsiteX9" fmla="*/ 2135727 w 3960440"/>
              <a:gd name="connsiteY9" fmla="*/ 1554876 h 3960000"/>
              <a:gd name="connsiteX10" fmla="*/ 1915898 w 3960440"/>
              <a:gd name="connsiteY10" fmla="*/ 1219889 h 3960000"/>
              <a:gd name="connsiteX11" fmla="*/ 1589196 w 3960440"/>
              <a:gd name="connsiteY11" fmla="*/ 1434803 h 3960000"/>
              <a:gd name="connsiteX12" fmla="*/ 1574511 w 3960440"/>
              <a:gd name="connsiteY12" fmla="*/ 1939931 h 3960000"/>
              <a:gd name="connsiteX13" fmla="*/ 1339611 w 3960440"/>
              <a:gd name="connsiteY13" fmla="*/ 3487664 h 3960000"/>
              <a:gd name="connsiteX14" fmla="*/ 1887692 w 3960440"/>
              <a:gd name="connsiteY14" fmla="*/ 2422431 h 3960000"/>
              <a:gd name="connsiteX15" fmla="*/ 2336342 w 3960440"/>
              <a:gd name="connsiteY15" fmla="*/ 2720202 h 3960000"/>
              <a:gd name="connsiteX16" fmla="*/ 3176454 w 3960440"/>
              <a:gd name="connsiteY16" fmla="*/ 1627140 h 3960000"/>
              <a:gd name="connsiteX17" fmla="*/ 1979373 w 3960440"/>
              <a:gd name="connsiteY17" fmla="*/ 472350 h 3960000"/>
              <a:gd name="connsiteX18" fmla="*/ 436907 w 3960440"/>
              <a:gd name="connsiteY18" fmla="*/ 0 h 3960000"/>
              <a:gd name="connsiteX19" fmla="*/ 3523533 w 3960440"/>
              <a:gd name="connsiteY19" fmla="*/ 0 h 3960000"/>
              <a:gd name="connsiteX20" fmla="*/ 3960440 w 3960440"/>
              <a:gd name="connsiteY20" fmla="*/ 436907 h 3960000"/>
              <a:gd name="connsiteX21" fmla="*/ 3960440 w 3960440"/>
              <a:gd name="connsiteY21" fmla="*/ 3523093 h 3960000"/>
              <a:gd name="connsiteX22" fmla="*/ 3523533 w 3960440"/>
              <a:gd name="connsiteY22" fmla="*/ 3960000 h 3960000"/>
              <a:gd name="connsiteX23" fmla="*/ 436907 w 3960440"/>
              <a:gd name="connsiteY23" fmla="*/ 3960000 h 3960000"/>
              <a:gd name="connsiteX24" fmla="*/ 0 w 3960440"/>
              <a:gd name="connsiteY24" fmla="*/ 3523093 h 3960000"/>
              <a:gd name="connsiteX25" fmla="*/ 0 w 3960440"/>
              <a:gd name="connsiteY25" fmla="*/ 436907 h 3960000"/>
              <a:gd name="connsiteX26" fmla="*/ 436907 w 3960440"/>
              <a:gd name="connsiteY26" fmla="*/ 0 h 3960000"/>
              <a:gd name="connsiteX0" fmla="*/ 1979373 w 3960440"/>
              <a:gd name="connsiteY0" fmla="*/ 472350 h 3960000"/>
              <a:gd name="connsiteX1" fmla="*/ 813783 w 3960440"/>
              <a:gd name="connsiteY1" fmla="*/ 1434034 h 3960000"/>
              <a:gd name="connsiteX2" fmla="*/ 1119009 w 3960440"/>
              <a:gd name="connsiteY2" fmla="*/ 2222584 h 3960000"/>
              <a:gd name="connsiteX3" fmla="*/ 1328015 w 3960440"/>
              <a:gd name="connsiteY3" fmla="*/ 1812920 h 3960000"/>
              <a:gd name="connsiteX4" fmla="*/ 1234998 w 3960440"/>
              <a:gd name="connsiteY4" fmla="*/ 1431771 h 3960000"/>
              <a:gd name="connsiteX5" fmla="*/ 2217373 w 3960440"/>
              <a:gd name="connsiteY5" fmla="*/ 891303 h 3960000"/>
              <a:gd name="connsiteX6" fmla="*/ 2783502 w 3960440"/>
              <a:gd name="connsiteY6" fmla="*/ 1606823 h 3960000"/>
              <a:gd name="connsiteX7" fmla="*/ 2456028 w 3960440"/>
              <a:gd name="connsiteY7" fmla="*/ 2225955 h 3960000"/>
              <a:gd name="connsiteX8" fmla="*/ 2026974 w 3960440"/>
              <a:gd name="connsiteY8" fmla="*/ 2018938 h 3960000"/>
              <a:gd name="connsiteX9" fmla="*/ 2135727 w 3960440"/>
              <a:gd name="connsiteY9" fmla="*/ 1554876 h 3960000"/>
              <a:gd name="connsiteX10" fmla="*/ 1915898 w 3960440"/>
              <a:gd name="connsiteY10" fmla="*/ 1219889 h 3960000"/>
              <a:gd name="connsiteX11" fmla="*/ 1589196 w 3960440"/>
              <a:gd name="connsiteY11" fmla="*/ 1434803 h 3960000"/>
              <a:gd name="connsiteX12" fmla="*/ 1574511 w 3960440"/>
              <a:gd name="connsiteY12" fmla="*/ 1939931 h 3960000"/>
              <a:gd name="connsiteX13" fmla="*/ 1339611 w 3960440"/>
              <a:gd name="connsiteY13" fmla="*/ 3487664 h 3960000"/>
              <a:gd name="connsiteX14" fmla="*/ 1887692 w 3960440"/>
              <a:gd name="connsiteY14" fmla="*/ 2422431 h 3960000"/>
              <a:gd name="connsiteX15" fmla="*/ 2336342 w 3960440"/>
              <a:gd name="connsiteY15" fmla="*/ 2720202 h 3960000"/>
              <a:gd name="connsiteX16" fmla="*/ 3176454 w 3960440"/>
              <a:gd name="connsiteY16" fmla="*/ 1627140 h 3960000"/>
              <a:gd name="connsiteX17" fmla="*/ 1979373 w 3960440"/>
              <a:gd name="connsiteY17" fmla="*/ 472350 h 3960000"/>
              <a:gd name="connsiteX18" fmla="*/ 436907 w 3960440"/>
              <a:gd name="connsiteY18" fmla="*/ 0 h 3960000"/>
              <a:gd name="connsiteX19" fmla="*/ 3523533 w 3960440"/>
              <a:gd name="connsiteY19" fmla="*/ 0 h 3960000"/>
              <a:gd name="connsiteX20" fmla="*/ 3960440 w 3960440"/>
              <a:gd name="connsiteY20" fmla="*/ 436907 h 3960000"/>
              <a:gd name="connsiteX21" fmla="*/ 3960440 w 3960440"/>
              <a:gd name="connsiteY21" fmla="*/ 3523093 h 3960000"/>
              <a:gd name="connsiteX22" fmla="*/ 3523533 w 3960440"/>
              <a:gd name="connsiteY22" fmla="*/ 3960000 h 3960000"/>
              <a:gd name="connsiteX23" fmla="*/ 436907 w 3960440"/>
              <a:gd name="connsiteY23" fmla="*/ 3960000 h 3960000"/>
              <a:gd name="connsiteX24" fmla="*/ 0 w 3960440"/>
              <a:gd name="connsiteY24" fmla="*/ 3523093 h 3960000"/>
              <a:gd name="connsiteX25" fmla="*/ 0 w 3960440"/>
              <a:gd name="connsiteY25" fmla="*/ 436907 h 3960000"/>
              <a:gd name="connsiteX26" fmla="*/ 436907 w 3960440"/>
              <a:gd name="connsiteY26" fmla="*/ 0 h 3960000"/>
              <a:gd name="connsiteX0" fmla="*/ 1979373 w 3960440"/>
              <a:gd name="connsiteY0" fmla="*/ 472350 h 3960000"/>
              <a:gd name="connsiteX1" fmla="*/ 813783 w 3960440"/>
              <a:gd name="connsiteY1" fmla="*/ 1434034 h 3960000"/>
              <a:gd name="connsiteX2" fmla="*/ 1119009 w 3960440"/>
              <a:gd name="connsiteY2" fmla="*/ 2222584 h 3960000"/>
              <a:gd name="connsiteX3" fmla="*/ 1328015 w 3960440"/>
              <a:gd name="connsiteY3" fmla="*/ 1812920 h 3960000"/>
              <a:gd name="connsiteX4" fmla="*/ 1234998 w 3960440"/>
              <a:gd name="connsiteY4" fmla="*/ 1431771 h 3960000"/>
              <a:gd name="connsiteX5" fmla="*/ 2217373 w 3960440"/>
              <a:gd name="connsiteY5" fmla="*/ 891303 h 3960000"/>
              <a:gd name="connsiteX6" fmla="*/ 2783502 w 3960440"/>
              <a:gd name="connsiteY6" fmla="*/ 1606823 h 3960000"/>
              <a:gd name="connsiteX7" fmla="*/ 2456028 w 3960440"/>
              <a:gd name="connsiteY7" fmla="*/ 2225955 h 3960000"/>
              <a:gd name="connsiteX8" fmla="*/ 2026974 w 3960440"/>
              <a:gd name="connsiteY8" fmla="*/ 2018938 h 3960000"/>
              <a:gd name="connsiteX9" fmla="*/ 2135727 w 3960440"/>
              <a:gd name="connsiteY9" fmla="*/ 1554876 h 3960000"/>
              <a:gd name="connsiteX10" fmla="*/ 1915898 w 3960440"/>
              <a:gd name="connsiteY10" fmla="*/ 1219889 h 3960000"/>
              <a:gd name="connsiteX11" fmla="*/ 1589196 w 3960440"/>
              <a:gd name="connsiteY11" fmla="*/ 1434803 h 3960000"/>
              <a:gd name="connsiteX12" fmla="*/ 1574511 w 3960440"/>
              <a:gd name="connsiteY12" fmla="*/ 1939931 h 3960000"/>
              <a:gd name="connsiteX13" fmla="*/ 1339611 w 3960440"/>
              <a:gd name="connsiteY13" fmla="*/ 3487664 h 3960000"/>
              <a:gd name="connsiteX14" fmla="*/ 1887692 w 3960440"/>
              <a:gd name="connsiteY14" fmla="*/ 2422431 h 3960000"/>
              <a:gd name="connsiteX15" fmla="*/ 2336342 w 3960440"/>
              <a:gd name="connsiteY15" fmla="*/ 2720202 h 3960000"/>
              <a:gd name="connsiteX16" fmla="*/ 3176454 w 3960440"/>
              <a:gd name="connsiteY16" fmla="*/ 1627140 h 3960000"/>
              <a:gd name="connsiteX17" fmla="*/ 1979373 w 3960440"/>
              <a:gd name="connsiteY17" fmla="*/ 472350 h 3960000"/>
              <a:gd name="connsiteX18" fmla="*/ 436907 w 3960440"/>
              <a:gd name="connsiteY18" fmla="*/ 0 h 3960000"/>
              <a:gd name="connsiteX19" fmla="*/ 3523533 w 3960440"/>
              <a:gd name="connsiteY19" fmla="*/ 0 h 3960000"/>
              <a:gd name="connsiteX20" fmla="*/ 3960440 w 3960440"/>
              <a:gd name="connsiteY20" fmla="*/ 436907 h 3960000"/>
              <a:gd name="connsiteX21" fmla="*/ 3960440 w 3960440"/>
              <a:gd name="connsiteY21" fmla="*/ 3523093 h 3960000"/>
              <a:gd name="connsiteX22" fmla="*/ 3523533 w 3960440"/>
              <a:gd name="connsiteY22" fmla="*/ 3960000 h 3960000"/>
              <a:gd name="connsiteX23" fmla="*/ 436907 w 3960440"/>
              <a:gd name="connsiteY23" fmla="*/ 3960000 h 3960000"/>
              <a:gd name="connsiteX24" fmla="*/ 0 w 3960440"/>
              <a:gd name="connsiteY24" fmla="*/ 3523093 h 3960000"/>
              <a:gd name="connsiteX25" fmla="*/ 0 w 3960440"/>
              <a:gd name="connsiteY25" fmla="*/ 436907 h 3960000"/>
              <a:gd name="connsiteX26" fmla="*/ 436907 w 3960440"/>
              <a:gd name="connsiteY26" fmla="*/ 0 h 39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3960440" h="3960000">
                <a:moveTo>
                  <a:pt x="1979373" y="472350"/>
                </a:moveTo>
                <a:cubicBezTo>
                  <a:pt x="1228307" y="485871"/>
                  <a:pt x="850011" y="1078219"/>
                  <a:pt x="813783" y="1434034"/>
                </a:cubicBezTo>
                <a:cubicBezTo>
                  <a:pt x="787561" y="1781828"/>
                  <a:pt x="889690" y="2005359"/>
                  <a:pt x="1119009" y="2222584"/>
                </a:cubicBezTo>
                <a:cubicBezTo>
                  <a:pt x="1178964" y="2123026"/>
                  <a:pt x="1260199" y="1908547"/>
                  <a:pt x="1328015" y="1812920"/>
                </a:cubicBezTo>
                <a:cubicBezTo>
                  <a:pt x="1222115" y="1647651"/>
                  <a:pt x="1255483" y="1756375"/>
                  <a:pt x="1234998" y="1431771"/>
                </a:cubicBezTo>
                <a:cubicBezTo>
                  <a:pt x="1331609" y="922504"/>
                  <a:pt x="1719145" y="812633"/>
                  <a:pt x="2217373" y="891303"/>
                </a:cubicBezTo>
                <a:cubicBezTo>
                  <a:pt x="2693518" y="1016895"/>
                  <a:pt x="2787642" y="1344599"/>
                  <a:pt x="2783502" y="1606823"/>
                </a:cubicBezTo>
                <a:cubicBezTo>
                  <a:pt x="2771081" y="1743454"/>
                  <a:pt x="2679609" y="2064482"/>
                  <a:pt x="2456028" y="2225955"/>
                </a:cubicBezTo>
                <a:cubicBezTo>
                  <a:pt x="2192422" y="2399851"/>
                  <a:pt x="2004893" y="2209395"/>
                  <a:pt x="2026974" y="2018938"/>
                </a:cubicBezTo>
                <a:cubicBezTo>
                  <a:pt x="2072519" y="1810540"/>
                  <a:pt x="2086043" y="1754994"/>
                  <a:pt x="2135727" y="1554876"/>
                </a:cubicBezTo>
                <a:cubicBezTo>
                  <a:pt x="2195073" y="1382360"/>
                  <a:pt x="2084273" y="1259912"/>
                  <a:pt x="1915898" y="1219889"/>
                </a:cubicBezTo>
                <a:cubicBezTo>
                  <a:pt x="1750283" y="1186766"/>
                  <a:pt x="1626460" y="1331294"/>
                  <a:pt x="1589196" y="1434803"/>
                </a:cubicBezTo>
                <a:cubicBezTo>
                  <a:pt x="1499489" y="1732912"/>
                  <a:pt x="1614533" y="1824000"/>
                  <a:pt x="1574511" y="1939931"/>
                </a:cubicBezTo>
                <a:cubicBezTo>
                  <a:pt x="1332991" y="2671400"/>
                  <a:pt x="1220920" y="3468343"/>
                  <a:pt x="1339611" y="3487664"/>
                </a:cubicBezTo>
                <a:cubicBezTo>
                  <a:pt x="1434840" y="3497327"/>
                  <a:pt x="1730357" y="3129057"/>
                  <a:pt x="1887692" y="2422431"/>
                </a:cubicBezTo>
                <a:cubicBezTo>
                  <a:pt x="1985681" y="2531460"/>
                  <a:pt x="2093439" y="2747804"/>
                  <a:pt x="2336342" y="2720202"/>
                </a:cubicBezTo>
                <a:cubicBezTo>
                  <a:pt x="2693796" y="2666377"/>
                  <a:pt x="3092265" y="2401394"/>
                  <a:pt x="3176454" y="1627140"/>
                </a:cubicBezTo>
                <a:cubicBezTo>
                  <a:pt x="3254038" y="999456"/>
                  <a:pt x="2816023" y="430731"/>
                  <a:pt x="1979373" y="472350"/>
                </a:cubicBezTo>
                <a:close/>
                <a:moveTo>
                  <a:pt x="436907" y="0"/>
                </a:moveTo>
                <a:lnTo>
                  <a:pt x="3523533" y="0"/>
                </a:lnTo>
                <a:cubicBezTo>
                  <a:pt x="3764830" y="0"/>
                  <a:pt x="3960440" y="195610"/>
                  <a:pt x="3960440" y="436907"/>
                </a:cubicBezTo>
                <a:lnTo>
                  <a:pt x="3960440" y="3523093"/>
                </a:lnTo>
                <a:cubicBezTo>
                  <a:pt x="3960440" y="3764390"/>
                  <a:pt x="3764830" y="3960000"/>
                  <a:pt x="3523533" y="3960000"/>
                </a:cubicBezTo>
                <a:lnTo>
                  <a:pt x="436907" y="3960000"/>
                </a:lnTo>
                <a:cubicBezTo>
                  <a:pt x="195610" y="3960000"/>
                  <a:pt x="0" y="3764390"/>
                  <a:pt x="0" y="3523093"/>
                </a:cubicBezTo>
                <a:lnTo>
                  <a:pt x="0" y="436907"/>
                </a:lnTo>
                <a:cubicBezTo>
                  <a:pt x="0" y="195610"/>
                  <a:pt x="195610" y="0"/>
                  <a:pt x="436907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98" name="Rounded Rectangle 8">
            <a:extLst>
              <a:ext uri="{FF2B5EF4-FFF2-40B4-BE49-F238E27FC236}">
                <a16:creationId xmlns:a16="http://schemas.microsoft.com/office/drawing/2014/main" id="{CF999092-51D0-4040-A441-EE93FB3BE0AB}"/>
              </a:ext>
            </a:extLst>
          </p:cNvPr>
          <p:cNvSpPr/>
          <p:nvPr/>
        </p:nvSpPr>
        <p:spPr>
          <a:xfrm>
            <a:off x="4436267" y="5634756"/>
            <a:ext cx="519323" cy="519265"/>
          </a:xfrm>
          <a:custGeom>
            <a:avLst/>
            <a:gdLst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688485 w 3888432"/>
              <a:gd name="connsiteY5" fmla="*/ 147563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36833 w 3888432"/>
              <a:gd name="connsiteY11" fmla="*/ 2084121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2688485 w 3888432"/>
              <a:gd name="connsiteY17" fmla="*/ 1475633 h 3960440"/>
              <a:gd name="connsiteX18" fmla="*/ 878058 w 3888432"/>
              <a:gd name="connsiteY18" fmla="*/ 648072 h 3960440"/>
              <a:gd name="connsiteX19" fmla="*/ 554477 w 3888432"/>
              <a:gd name="connsiteY19" fmla="*/ 971653 h 3960440"/>
              <a:gd name="connsiteX20" fmla="*/ 878058 w 3888432"/>
              <a:gd name="connsiteY20" fmla="*/ 1295234 h 3960440"/>
              <a:gd name="connsiteX21" fmla="*/ 1201639 w 3888432"/>
              <a:gd name="connsiteY21" fmla="*/ 971653 h 3960440"/>
              <a:gd name="connsiteX22" fmla="*/ 878058 w 3888432"/>
              <a:gd name="connsiteY22" fmla="*/ 648072 h 3960440"/>
              <a:gd name="connsiteX23" fmla="*/ 333511 w 3888432"/>
              <a:gd name="connsiteY23" fmla="*/ 0 h 3960440"/>
              <a:gd name="connsiteX24" fmla="*/ 3554921 w 3888432"/>
              <a:gd name="connsiteY24" fmla="*/ 0 h 3960440"/>
              <a:gd name="connsiteX25" fmla="*/ 3888432 w 3888432"/>
              <a:gd name="connsiteY25" fmla="*/ 333511 h 3960440"/>
              <a:gd name="connsiteX26" fmla="*/ 3888432 w 3888432"/>
              <a:gd name="connsiteY26" fmla="*/ 3626929 h 3960440"/>
              <a:gd name="connsiteX27" fmla="*/ 3554921 w 3888432"/>
              <a:gd name="connsiteY27" fmla="*/ 3960440 h 3960440"/>
              <a:gd name="connsiteX28" fmla="*/ 333511 w 3888432"/>
              <a:gd name="connsiteY28" fmla="*/ 3960440 h 3960440"/>
              <a:gd name="connsiteX29" fmla="*/ 0 w 3888432"/>
              <a:gd name="connsiteY29" fmla="*/ 3626929 h 3960440"/>
              <a:gd name="connsiteX30" fmla="*/ 0 w 3888432"/>
              <a:gd name="connsiteY30" fmla="*/ 333511 h 3960440"/>
              <a:gd name="connsiteX31" fmla="*/ 333511 w 3888432"/>
              <a:gd name="connsiteY31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36833 w 3888432"/>
              <a:gd name="connsiteY11" fmla="*/ 2084121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36833 w 3888432"/>
              <a:gd name="connsiteY11" fmla="*/ 2084121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36833 w 3888432"/>
              <a:gd name="connsiteY11" fmla="*/ 2084121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36833 w 3888432"/>
              <a:gd name="connsiteY11" fmla="*/ 2084121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36833 w 3888432"/>
              <a:gd name="connsiteY11" fmla="*/ 2084121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47184 w 3888432"/>
              <a:gd name="connsiteY11" fmla="*/ 2155564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47184 w 3888432"/>
              <a:gd name="connsiteY11" fmla="*/ 2155564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  <a:gd name="connsiteX0" fmla="*/ 554477 w 3888432"/>
              <a:gd name="connsiteY0" fmla="*/ 1512168 h 3960440"/>
              <a:gd name="connsiteX1" fmla="*/ 554477 w 3888432"/>
              <a:gd name="connsiteY1" fmla="*/ 3312368 h 3960440"/>
              <a:gd name="connsiteX2" fmla="*/ 1201638 w 3888432"/>
              <a:gd name="connsiteY2" fmla="*/ 3312368 h 3960440"/>
              <a:gd name="connsiteX3" fmla="*/ 1201638 w 3888432"/>
              <a:gd name="connsiteY3" fmla="*/ 1512168 h 3960440"/>
              <a:gd name="connsiteX4" fmla="*/ 554477 w 3888432"/>
              <a:gd name="connsiteY4" fmla="*/ 1512168 h 3960440"/>
              <a:gd name="connsiteX5" fmla="*/ 2840340 w 3888432"/>
              <a:gd name="connsiteY5" fmla="*/ 1479943 h 3960440"/>
              <a:gd name="connsiteX6" fmla="*/ 2136833 w 3888432"/>
              <a:gd name="connsiteY6" fmla="*/ 1785510 h 3960440"/>
              <a:gd name="connsiteX7" fmla="*/ 2136833 w 3888432"/>
              <a:gd name="connsiteY7" fmla="*/ 1510185 h 3960440"/>
              <a:gd name="connsiteX8" fmla="*/ 1489672 w 3888432"/>
              <a:gd name="connsiteY8" fmla="*/ 1510185 h 3960440"/>
              <a:gd name="connsiteX9" fmla="*/ 1489672 w 3888432"/>
              <a:gd name="connsiteY9" fmla="*/ 3310385 h 3960440"/>
              <a:gd name="connsiteX10" fmla="*/ 2136833 w 3888432"/>
              <a:gd name="connsiteY10" fmla="*/ 3310385 h 3960440"/>
              <a:gd name="connsiteX11" fmla="*/ 2147184 w 3888432"/>
              <a:gd name="connsiteY11" fmla="*/ 2155564 h 3960440"/>
              <a:gd name="connsiteX12" fmla="*/ 2673919 w 3888432"/>
              <a:gd name="connsiteY12" fmla="*/ 2138897 h 3960440"/>
              <a:gd name="connsiteX13" fmla="*/ 2679688 w 3888432"/>
              <a:gd name="connsiteY13" fmla="*/ 3312366 h 3960440"/>
              <a:gd name="connsiteX14" fmla="*/ 3326849 w 3888432"/>
              <a:gd name="connsiteY14" fmla="*/ 3312366 h 3960440"/>
              <a:gd name="connsiteX15" fmla="*/ 3333768 w 3888432"/>
              <a:gd name="connsiteY15" fmla="*/ 2128613 h 3960440"/>
              <a:gd name="connsiteX16" fmla="*/ 2840340 w 3888432"/>
              <a:gd name="connsiteY16" fmla="*/ 1479943 h 3960440"/>
              <a:gd name="connsiteX17" fmla="*/ 878058 w 3888432"/>
              <a:gd name="connsiteY17" fmla="*/ 648072 h 3960440"/>
              <a:gd name="connsiteX18" fmla="*/ 554477 w 3888432"/>
              <a:gd name="connsiteY18" fmla="*/ 971653 h 3960440"/>
              <a:gd name="connsiteX19" fmla="*/ 878058 w 3888432"/>
              <a:gd name="connsiteY19" fmla="*/ 1295234 h 3960440"/>
              <a:gd name="connsiteX20" fmla="*/ 1201639 w 3888432"/>
              <a:gd name="connsiteY20" fmla="*/ 971653 h 3960440"/>
              <a:gd name="connsiteX21" fmla="*/ 878058 w 3888432"/>
              <a:gd name="connsiteY21" fmla="*/ 648072 h 3960440"/>
              <a:gd name="connsiteX22" fmla="*/ 333511 w 3888432"/>
              <a:gd name="connsiteY22" fmla="*/ 0 h 3960440"/>
              <a:gd name="connsiteX23" fmla="*/ 3554921 w 3888432"/>
              <a:gd name="connsiteY23" fmla="*/ 0 h 3960440"/>
              <a:gd name="connsiteX24" fmla="*/ 3888432 w 3888432"/>
              <a:gd name="connsiteY24" fmla="*/ 333511 h 3960440"/>
              <a:gd name="connsiteX25" fmla="*/ 3888432 w 3888432"/>
              <a:gd name="connsiteY25" fmla="*/ 3626929 h 3960440"/>
              <a:gd name="connsiteX26" fmla="*/ 3554921 w 3888432"/>
              <a:gd name="connsiteY26" fmla="*/ 3960440 h 3960440"/>
              <a:gd name="connsiteX27" fmla="*/ 333511 w 3888432"/>
              <a:gd name="connsiteY27" fmla="*/ 3960440 h 3960440"/>
              <a:gd name="connsiteX28" fmla="*/ 0 w 3888432"/>
              <a:gd name="connsiteY28" fmla="*/ 3626929 h 3960440"/>
              <a:gd name="connsiteX29" fmla="*/ 0 w 3888432"/>
              <a:gd name="connsiteY29" fmla="*/ 333511 h 3960440"/>
              <a:gd name="connsiteX30" fmla="*/ 333511 w 3888432"/>
              <a:gd name="connsiteY30" fmla="*/ 0 h 3960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3888432" h="3960440">
                <a:moveTo>
                  <a:pt x="554477" y="1512168"/>
                </a:moveTo>
                <a:lnTo>
                  <a:pt x="554477" y="3312368"/>
                </a:lnTo>
                <a:lnTo>
                  <a:pt x="1201638" y="3312368"/>
                </a:lnTo>
                <a:lnTo>
                  <a:pt x="1201638" y="1512168"/>
                </a:lnTo>
                <a:lnTo>
                  <a:pt x="554477" y="1512168"/>
                </a:lnTo>
                <a:close/>
                <a:moveTo>
                  <a:pt x="2840340" y="1479943"/>
                </a:moveTo>
                <a:cubicBezTo>
                  <a:pt x="2293254" y="1484797"/>
                  <a:pt x="2254084" y="1780470"/>
                  <a:pt x="2136833" y="1785510"/>
                </a:cubicBezTo>
                <a:lnTo>
                  <a:pt x="2136833" y="1510185"/>
                </a:lnTo>
                <a:lnTo>
                  <a:pt x="1489672" y="1510185"/>
                </a:lnTo>
                <a:lnTo>
                  <a:pt x="1489672" y="3310385"/>
                </a:lnTo>
                <a:lnTo>
                  <a:pt x="2136833" y="3310385"/>
                </a:lnTo>
                <a:cubicBezTo>
                  <a:pt x="2140283" y="2925445"/>
                  <a:pt x="2133383" y="2560917"/>
                  <a:pt x="2147184" y="2155564"/>
                </a:cubicBezTo>
                <a:cubicBezTo>
                  <a:pt x="2187272" y="1842063"/>
                  <a:pt x="2668986" y="1938990"/>
                  <a:pt x="2673919" y="2138897"/>
                </a:cubicBezTo>
                <a:lnTo>
                  <a:pt x="2679688" y="3312366"/>
                </a:lnTo>
                <a:lnTo>
                  <a:pt x="3326849" y="3312366"/>
                </a:lnTo>
                <a:cubicBezTo>
                  <a:pt x="3329155" y="2917782"/>
                  <a:pt x="3331462" y="2523197"/>
                  <a:pt x="3333768" y="2128613"/>
                </a:cubicBezTo>
                <a:cubicBezTo>
                  <a:pt x="3339026" y="1942962"/>
                  <a:pt x="3184753" y="1475890"/>
                  <a:pt x="2840340" y="1479943"/>
                </a:cubicBezTo>
                <a:close/>
                <a:moveTo>
                  <a:pt x="878058" y="648072"/>
                </a:moveTo>
                <a:cubicBezTo>
                  <a:pt x="699349" y="648072"/>
                  <a:pt x="554477" y="792944"/>
                  <a:pt x="554477" y="971653"/>
                </a:cubicBezTo>
                <a:cubicBezTo>
                  <a:pt x="554477" y="1150362"/>
                  <a:pt x="699349" y="1295234"/>
                  <a:pt x="878058" y="1295234"/>
                </a:cubicBezTo>
                <a:cubicBezTo>
                  <a:pt x="1056767" y="1295234"/>
                  <a:pt x="1201639" y="1150362"/>
                  <a:pt x="1201639" y="971653"/>
                </a:cubicBezTo>
                <a:cubicBezTo>
                  <a:pt x="1201639" y="792944"/>
                  <a:pt x="1056767" y="648072"/>
                  <a:pt x="878058" y="648072"/>
                </a:cubicBezTo>
                <a:close/>
                <a:moveTo>
                  <a:pt x="333511" y="0"/>
                </a:moveTo>
                <a:lnTo>
                  <a:pt x="3554921" y="0"/>
                </a:lnTo>
                <a:cubicBezTo>
                  <a:pt x="3739114" y="0"/>
                  <a:pt x="3888432" y="149318"/>
                  <a:pt x="3888432" y="333511"/>
                </a:cubicBezTo>
                <a:lnTo>
                  <a:pt x="3888432" y="3626929"/>
                </a:lnTo>
                <a:cubicBezTo>
                  <a:pt x="3888432" y="3811122"/>
                  <a:pt x="3739114" y="3960440"/>
                  <a:pt x="3554921" y="3960440"/>
                </a:cubicBezTo>
                <a:lnTo>
                  <a:pt x="333511" y="3960440"/>
                </a:lnTo>
                <a:cubicBezTo>
                  <a:pt x="149318" y="3960440"/>
                  <a:pt x="0" y="3811122"/>
                  <a:pt x="0" y="3626929"/>
                </a:cubicBezTo>
                <a:lnTo>
                  <a:pt x="0" y="333511"/>
                </a:lnTo>
                <a:cubicBezTo>
                  <a:pt x="0" y="149318"/>
                  <a:pt x="149318" y="0"/>
                  <a:pt x="333511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99" name="Rounded Rectangle 2">
            <a:extLst>
              <a:ext uri="{FF2B5EF4-FFF2-40B4-BE49-F238E27FC236}">
                <a16:creationId xmlns:a16="http://schemas.microsoft.com/office/drawing/2014/main" id="{5394194E-40CF-4800-82F4-DA12261F9012}"/>
              </a:ext>
            </a:extLst>
          </p:cNvPr>
          <p:cNvSpPr/>
          <p:nvPr/>
        </p:nvSpPr>
        <p:spPr>
          <a:xfrm>
            <a:off x="6971252" y="5634756"/>
            <a:ext cx="519265" cy="519265"/>
          </a:xfrm>
          <a:custGeom>
            <a:avLst/>
            <a:gdLst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55131 w 3960000"/>
              <a:gd name="connsiteY2" fmla="*/ 1419362 h 3960000"/>
              <a:gd name="connsiteX3" fmla="*/ 3160999 w 3960000"/>
              <a:gd name="connsiteY3" fmla="*/ 1374274 h 3960000"/>
              <a:gd name="connsiteX4" fmla="*/ 2538382 w 3960000"/>
              <a:gd name="connsiteY4" fmla="*/ 802616 h 3960000"/>
              <a:gd name="connsiteX5" fmla="*/ 1921633 w 3960000"/>
              <a:gd name="connsiteY5" fmla="*/ 1419365 h 3960000"/>
              <a:gd name="connsiteX6" fmla="*/ 1942445 w 3960000"/>
              <a:gd name="connsiteY6" fmla="*/ 1570340 h 3960000"/>
              <a:gd name="connsiteX7" fmla="*/ 752016 w 3960000"/>
              <a:gd name="connsiteY7" fmla="*/ 931012 h 3960000"/>
              <a:gd name="connsiteX8" fmla="*/ 934030 w 3960000"/>
              <a:gd name="connsiteY8" fmla="*/ 1745738 h 3960000"/>
              <a:gd name="connsiteX9" fmla="*/ 665343 w 3960000"/>
              <a:gd name="connsiteY9" fmla="*/ 1650397 h 3960000"/>
              <a:gd name="connsiteX10" fmla="*/ 1111709 w 3960000"/>
              <a:gd name="connsiteY10" fmla="*/ 2257108 h 3960000"/>
              <a:gd name="connsiteX11" fmla="*/ 856023 w 3960000"/>
              <a:gd name="connsiteY11" fmla="*/ 2244108 h 3960000"/>
              <a:gd name="connsiteX12" fmla="*/ 1402064 w 3960000"/>
              <a:gd name="connsiteY12" fmla="*/ 2660137 h 3960000"/>
              <a:gd name="connsiteX13" fmla="*/ 552668 w 3960000"/>
              <a:gd name="connsiteY13" fmla="*/ 2902822 h 3960000"/>
              <a:gd name="connsiteX14" fmla="*/ 1978439 w 3960000"/>
              <a:gd name="connsiteY14" fmla="*/ 3093502 h 3960000"/>
              <a:gd name="connsiteX15" fmla="*/ 3053184 w 3960000"/>
              <a:gd name="connsiteY15" fmla="*/ 2031759 h 3960000"/>
              <a:gd name="connsiteX16" fmla="*/ 3155131 w 3960000"/>
              <a:gd name="connsiteY16" fmla="*/ 1419365 h 3960000"/>
              <a:gd name="connsiteX17" fmla="*/ 3207849 w 3960000"/>
              <a:gd name="connsiteY17" fmla="*/ 1493166 h 3960000"/>
              <a:gd name="connsiteX18" fmla="*/ 3407333 w 3960000"/>
              <a:gd name="connsiteY18" fmla="*/ 1117847 h 3960000"/>
              <a:gd name="connsiteX19" fmla="*/ 3108461 w 3960000"/>
              <a:gd name="connsiteY19" fmla="*/ 1185086 h 3960000"/>
              <a:gd name="connsiteX20" fmla="*/ 3334650 w 3960000"/>
              <a:gd name="connsiteY20" fmla="*/ 883134 h 3960000"/>
              <a:gd name="connsiteX21" fmla="*/ 2995677 w 3960000"/>
              <a:gd name="connsiteY21" fmla="*/ 1008938 h 3960000"/>
              <a:gd name="connsiteX22" fmla="*/ 2538382 w 3960000"/>
              <a:gd name="connsiteY22" fmla="*/ 802616 h 3960000"/>
              <a:gd name="connsiteX23" fmla="*/ 308009 w 3960000"/>
              <a:gd name="connsiteY23" fmla="*/ 0 h 3960000"/>
              <a:gd name="connsiteX24" fmla="*/ 3651991 w 3960000"/>
              <a:gd name="connsiteY24" fmla="*/ 0 h 3960000"/>
              <a:gd name="connsiteX25" fmla="*/ 3960000 w 3960000"/>
              <a:gd name="connsiteY25" fmla="*/ 308009 h 3960000"/>
              <a:gd name="connsiteX26" fmla="*/ 3960000 w 3960000"/>
              <a:gd name="connsiteY26" fmla="*/ 3651991 h 3960000"/>
              <a:gd name="connsiteX27" fmla="*/ 3651991 w 3960000"/>
              <a:gd name="connsiteY27" fmla="*/ 3960000 h 3960000"/>
              <a:gd name="connsiteX28" fmla="*/ 308009 w 3960000"/>
              <a:gd name="connsiteY28" fmla="*/ 3960000 h 3960000"/>
              <a:gd name="connsiteX29" fmla="*/ 0 w 3960000"/>
              <a:gd name="connsiteY29" fmla="*/ 3651991 h 3960000"/>
              <a:gd name="connsiteX30" fmla="*/ 0 w 3960000"/>
              <a:gd name="connsiteY30" fmla="*/ 308009 h 3960000"/>
              <a:gd name="connsiteX31" fmla="*/ 308009 w 3960000"/>
              <a:gd name="connsiteY31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55131 w 3960000"/>
              <a:gd name="connsiteY2" fmla="*/ 1419362 h 3960000"/>
              <a:gd name="connsiteX3" fmla="*/ 3160999 w 3960000"/>
              <a:gd name="connsiteY3" fmla="*/ 1374274 h 3960000"/>
              <a:gd name="connsiteX4" fmla="*/ 2538382 w 3960000"/>
              <a:gd name="connsiteY4" fmla="*/ 802616 h 3960000"/>
              <a:gd name="connsiteX5" fmla="*/ 1921633 w 3960000"/>
              <a:gd name="connsiteY5" fmla="*/ 1419365 h 3960000"/>
              <a:gd name="connsiteX6" fmla="*/ 1942445 w 3960000"/>
              <a:gd name="connsiteY6" fmla="*/ 1570340 h 3960000"/>
              <a:gd name="connsiteX7" fmla="*/ 752016 w 3960000"/>
              <a:gd name="connsiteY7" fmla="*/ 931012 h 3960000"/>
              <a:gd name="connsiteX8" fmla="*/ 934030 w 3960000"/>
              <a:gd name="connsiteY8" fmla="*/ 1745738 h 3960000"/>
              <a:gd name="connsiteX9" fmla="*/ 665343 w 3960000"/>
              <a:gd name="connsiteY9" fmla="*/ 1650397 h 3960000"/>
              <a:gd name="connsiteX10" fmla="*/ 1111709 w 3960000"/>
              <a:gd name="connsiteY10" fmla="*/ 2257108 h 3960000"/>
              <a:gd name="connsiteX11" fmla="*/ 856023 w 3960000"/>
              <a:gd name="connsiteY11" fmla="*/ 2244108 h 3960000"/>
              <a:gd name="connsiteX12" fmla="*/ 1402064 w 3960000"/>
              <a:gd name="connsiteY12" fmla="*/ 2660137 h 3960000"/>
              <a:gd name="connsiteX13" fmla="*/ 552668 w 3960000"/>
              <a:gd name="connsiteY13" fmla="*/ 2902822 h 3960000"/>
              <a:gd name="connsiteX14" fmla="*/ 1978439 w 3960000"/>
              <a:gd name="connsiteY14" fmla="*/ 3093502 h 3960000"/>
              <a:gd name="connsiteX15" fmla="*/ 3053184 w 3960000"/>
              <a:gd name="connsiteY15" fmla="*/ 2031759 h 3960000"/>
              <a:gd name="connsiteX16" fmla="*/ 3207849 w 3960000"/>
              <a:gd name="connsiteY16" fmla="*/ 1493166 h 3960000"/>
              <a:gd name="connsiteX17" fmla="*/ 3407333 w 3960000"/>
              <a:gd name="connsiteY17" fmla="*/ 1117847 h 3960000"/>
              <a:gd name="connsiteX18" fmla="*/ 3108461 w 3960000"/>
              <a:gd name="connsiteY18" fmla="*/ 1185086 h 3960000"/>
              <a:gd name="connsiteX19" fmla="*/ 3334650 w 3960000"/>
              <a:gd name="connsiteY19" fmla="*/ 883134 h 3960000"/>
              <a:gd name="connsiteX20" fmla="*/ 2995677 w 3960000"/>
              <a:gd name="connsiteY20" fmla="*/ 1008938 h 3960000"/>
              <a:gd name="connsiteX21" fmla="*/ 2538382 w 3960000"/>
              <a:gd name="connsiteY21" fmla="*/ 802616 h 3960000"/>
              <a:gd name="connsiteX22" fmla="*/ 308009 w 3960000"/>
              <a:gd name="connsiteY22" fmla="*/ 0 h 3960000"/>
              <a:gd name="connsiteX23" fmla="*/ 3651991 w 3960000"/>
              <a:gd name="connsiteY23" fmla="*/ 0 h 3960000"/>
              <a:gd name="connsiteX24" fmla="*/ 3960000 w 3960000"/>
              <a:gd name="connsiteY24" fmla="*/ 308009 h 3960000"/>
              <a:gd name="connsiteX25" fmla="*/ 3960000 w 3960000"/>
              <a:gd name="connsiteY25" fmla="*/ 3651991 h 3960000"/>
              <a:gd name="connsiteX26" fmla="*/ 3651991 w 3960000"/>
              <a:gd name="connsiteY26" fmla="*/ 3960000 h 3960000"/>
              <a:gd name="connsiteX27" fmla="*/ 308009 w 3960000"/>
              <a:gd name="connsiteY27" fmla="*/ 3960000 h 3960000"/>
              <a:gd name="connsiteX28" fmla="*/ 0 w 3960000"/>
              <a:gd name="connsiteY28" fmla="*/ 3651991 h 3960000"/>
              <a:gd name="connsiteX29" fmla="*/ 0 w 3960000"/>
              <a:gd name="connsiteY29" fmla="*/ 308009 h 3960000"/>
              <a:gd name="connsiteX30" fmla="*/ 308009 w 3960000"/>
              <a:gd name="connsiteY30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538382 w 3960000"/>
              <a:gd name="connsiteY3" fmla="*/ 802616 h 3960000"/>
              <a:gd name="connsiteX4" fmla="*/ 1921633 w 3960000"/>
              <a:gd name="connsiteY4" fmla="*/ 141936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07333 w 3960000"/>
              <a:gd name="connsiteY16" fmla="*/ 1117847 h 3960000"/>
              <a:gd name="connsiteX17" fmla="*/ 3108461 w 3960000"/>
              <a:gd name="connsiteY17" fmla="*/ 1185086 h 3960000"/>
              <a:gd name="connsiteX18" fmla="*/ 3334650 w 3960000"/>
              <a:gd name="connsiteY18" fmla="*/ 883134 h 3960000"/>
              <a:gd name="connsiteX19" fmla="*/ 2995677 w 3960000"/>
              <a:gd name="connsiteY19" fmla="*/ 1008938 h 3960000"/>
              <a:gd name="connsiteX20" fmla="*/ 2538382 w 3960000"/>
              <a:gd name="connsiteY20" fmla="*/ 80261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538382 w 3960000"/>
              <a:gd name="connsiteY3" fmla="*/ 802616 h 3960000"/>
              <a:gd name="connsiteX4" fmla="*/ 1921633 w 3960000"/>
              <a:gd name="connsiteY4" fmla="*/ 141936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07333 w 3960000"/>
              <a:gd name="connsiteY16" fmla="*/ 1117847 h 3960000"/>
              <a:gd name="connsiteX17" fmla="*/ 3140091 w 3960000"/>
              <a:gd name="connsiteY17" fmla="*/ 1227260 h 3960000"/>
              <a:gd name="connsiteX18" fmla="*/ 3334650 w 3960000"/>
              <a:gd name="connsiteY18" fmla="*/ 883134 h 3960000"/>
              <a:gd name="connsiteX19" fmla="*/ 2995677 w 3960000"/>
              <a:gd name="connsiteY19" fmla="*/ 1008938 h 3960000"/>
              <a:gd name="connsiteX20" fmla="*/ 2538382 w 3960000"/>
              <a:gd name="connsiteY20" fmla="*/ 80261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538382 w 3960000"/>
              <a:gd name="connsiteY3" fmla="*/ 802616 h 3960000"/>
              <a:gd name="connsiteX4" fmla="*/ 1921633 w 3960000"/>
              <a:gd name="connsiteY4" fmla="*/ 141936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34650 w 3960000"/>
              <a:gd name="connsiteY18" fmla="*/ 883134 h 3960000"/>
              <a:gd name="connsiteX19" fmla="*/ 2995677 w 3960000"/>
              <a:gd name="connsiteY19" fmla="*/ 1008938 h 3960000"/>
              <a:gd name="connsiteX20" fmla="*/ 2538382 w 3960000"/>
              <a:gd name="connsiteY20" fmla="*/ 80261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538382 w 3960000"/>
              <a:gd name="connsiteY3" fmla="*/ 802616 h 3960000"/>
              <a:gd name="connsiteX4" fmla="*/ 1921633 w 3960000"/>
              <a:gd name="connsiteY4" fmla="*/ 141936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538382 w 3960000"/>
              <a:gd name="connsiteY20" fmla="*/ 80261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538382 w 3960000"/>
              <a:gd name="connsiteY3" fmla="*/ 80261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538382 w 3960000"/>
              <a:gd name="connsiteY20" fmla="*/ 80261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752016 w 3960000"/>
              <a:gd name="connsiteY6" fmla="*/ 931012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34030 w 3960000"/>
              <a:gd name="connsiteY7" fmla="*/ 1745738 h 3960000"/>
              <a:gd name="connsiteX8" fmla="*/ 665343 w 3960000"/>
              <a:gd name="connsiteY8" fmla="*/ 1650397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34030 w 3960000"/>
              <a:gd name="connsiteY7" fmla="*/ 1745738 h 3960000"/>
              <a:gd name="connsiteX8" fmla="*/ 644257 w 3960000"/>
              <a:gd name="connsiteY8" fmla="*/ 1555506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644257 w 3960000"/>
              <a:gd name="connsiteY8" fmla="*/ 1555506 h 3960000"/>
              <a:gd name="connsiteX9" fmla="*/ 1111709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644257 w 3960000"/>
              <a:gd name="connsiteY8" fmla="*/ 1555506 h 3960000"/>
              <a:gd name="connsiteX9" fmla="*/ 1196057 w 3960000"/>
              <a:gd name="connsiteY9" fmla="*/ 2257108 h 3960000"/>
              <a:gd name="connsiteX10" fmla="*/ 856023 w 3960000"/>
              <a:gd name="connsiteY10" fmla="*/ 2244108 h 3960000"/>
              <a:gd name="connsiteX11" fmla="*/ 1402064 w 3960000"/>
              <a:gd name="connsiteY11" fmla="*/ 2660137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644257 w 3960000"/>
              <a:gd name="connsiteY8" fmla="*/ 1555506 h 3960000"/>
              <a:gd name="connsiteX9" fmla="*/ 1196057 w 3960000"/>
              <a:gd name="connsiteY9" fmla="*/ 2257108 h 3960000"/>
              <a:gd name="connsiteX10" fmla="*/ 856023 w 3960000"/>
              <a:gd name="connsiteY10" fmla="*/ 2244108 h 3960000"/>
              <a:gd name="connsiteX11" fmla="*/ 1486410 w 3960000"/>
              <a:gd name="connsiteY11" fmla="*/ 2607420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644257 w 3960000"/>
              <a:gd name="connsiteY8" fmla="*/ 1555506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570453 w 3960000"/>
              <a:gd name="connsiteY8" fmla="*/ 1629310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552668 w 3960000"/>
              <a:gd name="connsiteY12" fmla="*/ 2902822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570453 w 3960000"/>
              <a:gd name="connsiteY8" fmla="*/ 1629310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489408 w 3960000"/>
              <a:gd name="connsiteY12" fmla="*/ 2829018 h 3960000"/>
              <a:gd name="connsiteX13" fmla="*/ 1978439 w 3960000"/>
              <a:gd name="connsiteY13" fmla="*/ 3093502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570453 w 3960000"/>
              <a:gd name="connsiteY8" fmla="*/ 1629310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489408 w 3960000"/>
              <a:gd name="connsiteY12" fmla="*/ 2829018 h 3960000"/>
              <a:gd name="connsiteX13" fmla="*/ 2062787 w 3960000"/>
              <a:gd name="connsiteY13" fmla="*/ 3146219 h 3960000"/>
              <a:gd name="connsiteX14" fmla="*/ 3053184 w 3960000"/>
              <a:gd name="connsiteY14" fmla="*/ 2031759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570453 w 3960000"/>
              <a:gd name="connsiteY8" fmla="*/ 1629310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489408 w 3960000"/>
              <a:gd name="connsiteY12" fmla="*/ 2829018 h 3960000"/>
              <a:gd name="connsiteX13" fmla="*/ 2062787 w 3960000"/>
              <a:gd name="connsiteY13" fmla="*/ 3146219 h 3960000"/>
              <a:gd name="connsiteX14" fmla="*/ 3074271 w 3960000"/>
              <a:gd name="connsiteY14" fmla="*/ 2105563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570453 w 3960000"/>
              <a:gd name="connsiteY8" fmla="*/ 1629310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489408 w 3960000"/>
              <a:gd name="connsiteY12" fmla="*/ 2829018 h 3960000"/>
              <a:gd name="connsiteX13" fmla="*/ 2062787 w 3960000"/>
              <a:gd name="connsiteY13" fmla="*/ 3146219 h 3960000"/>
              <a:gd name="connsiteX14" fmla="*/ 3074271 w 3960000"/>
              <a:gd name="connsiteY14" fmla="*/ 2105563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  <a:gd name="connsiteX0" fmla="*/ 3160999 w 3960000"/>
              <a:gd name="connsiteY0" fmla="*/ 1374274 h 3960000"/>
              <a:gd name="connsiteX1" fmla="*/ 3155132 w 3960000"/>
              <a:gd name="connsiteY1" fmla="*/ 1419362 h 3960000"/>
              <a:gd name="connsiteX2" fmla="*/ 3160999 w 3960000"/>
              <a:gd name="connsiteY2" fmla="*/ 1374274 h 3960000"/>
              <a:gd name="connsiteX3" fmla="*/ 2496208 w 3960000"/>
              <a:gd name="connsiteY3" fmla="*/ 770986 h 3960000"/>
              <a:gd name="connsiteX4" fmla="*/ 1921633 w 3960000"/>
              <a:gd name="connsiteY4" fmla="*/ 1292845 h 3960000"/>
              <a:gd name="connsiteX5" fmla="*/ 1942445 w 3960000"/>
              <a:gd name="connsiteY5" fmla="*/ 1570340 h 3960000"/>
              <a:gd name="connsiteX6" fmla="*/ 815277 w 3960000"/>
              <a:gd name="connsiteY6" fmla="*/ 836121 h 3960000"/>
              <a:gd name="connsiteX7" fmla="*/ 965659 w 3960000"/>
              <a:gd name="connsiteY7" fmla="*/ 1735195 h 3960000"/>
              <a:gd name="connsiteX8" fmla="*/ 570453 w 3960000"/>
              <a:gd name="connsiteY8" fmla="*/ 1629310 h 3960000"/>
              <a:gd name="connsiteX9" fmla="*/ 1196057 w 3960000"/>
              <a:gd name="connsiteY9" fmla="*/ 2257108 h 3960000"/>
              <a:gd name="connsiteX10" fmla="*/ 813848 w 3960000"/>
              <a:gd name="connsiteY10" fmla="*/ 2296824 h 3960000"/>
              <a:gd name="connsiteX11" fmla="*/ 1486410 w 3960000"/>
              <a:gd name="connsiteY11" fmla="*/ 2607420 h 3960000"/>
              <a:gd name="connsiteX12" fmla="*/ 489408 w 3960000"/>
              <a:gd name="connsiteY12" fmla="*/ 2829018 h 3960000"/>
              <a:gd name="connsiteX13" fmla="*/ 2062787 w 3960000"/>
              <a:gd name="connsiteY13" fmla="*/ 3146219 h 3960000"/>
              <a:gd name="connsiteX14" fmla="*/ 3074271 w 3960000"/>
              <a:gd name="connsiteY14" fmla="*/ 2105563 h 3960000"/>
              <a:gd name="connsiteX15" fmla="*/ 3207849 w 3960000"/>
              <a:gd name="connsiteY15" fmla="*/ 1493166 h 3960000"/>
              <a:gd name="connsiteX16" fmla="*/ 3449507 w 3960000"/>
              <a:gd name="connsiteY16" fmla="*/ 1170564 h 3960000"/>
              <a:gd name="connsiteX17" fmla="*/ 3140091 w 3960000"/>
              <a:gd name="connsiteY17" fmla="*/ 1227260 h 3960000"/>
              <a:gd name="connsiteX18" fmla="*/ 3324107 w 3960000"/>
              <a:gd name="connsiteY18" fmla="*/ 851504 h 3960000"/>
              <a:gd name="connsiteX19" fmla="*/ 2995677 w 3960000"/>
              <a:gd name="connsiteY19" fmla="*/ 1008938 h 3960000"/>
              <a:gd name="connsiteX20" fmla="*/ 2496208 w 3960000"/>
              <a:gd name="connsiteY20" fmla="*/ 770986 h 3960000"/>
              <a:gd name="connsiteX21" fmla="*/ 308009 w 3960000"/>
              <a:gd name="connsiteY21" fmla="*/ 0 h 3960000"/>
              <a:gd name="connsiteX22" fmla="*/ 3651991 w 3960000"/>
              <a:gd name="connsiteY22" fmla="*/ 0 h 3960000"/>
              <a:gd name="connsiteX23" fmla="*/ 3960000 w 3960000"/>
              <a:gd name="connsiteY23" fmla="*/ 308009 h 3960000"/>
              <a:gd name="connsiteX24" fmla="*/ 3960000 w 3960000"/>
              <a:gd name="connsiteY24" fmla="*/ 3651991 h 3960000"/>
              <a:gd name="connsiteX25" fmla="*/ 3651991 w 3960000"/>
              <a:gd name="connsiteY25" fmla="*/ 3960000 h 3960000"/>
              <a:gd name="connsiteX26" fmla="*/ 308009 w 3960000"/>
              <a:gd name="connsiteY26" fmla="*/ 3960000 h 3960000"/>
              <a:gd name="connsiteX27" fmla="*/ 0 w 3960000"/>
              <a:gd name="connsiteY27" fmla="*/ 3651991 h 3960000"/>
              <a:gd name="connsiteX28" fmla="*/ 0 w 3960000"/>
              <a:gd name="connsiteY28" fmla="*/ 308009 h 3960000"/>
              <a:gd name="connsiteX29" fmla="*/ 308009 w 3960000"/>
              <a:gd name="connsiteY29" fmla="*/ 0 h 39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3960000" h="3960000">
                <a:moveTo>
                  <a:pt x="3160999" y="1374274"/>
                </a:moveTo>
                <a:lnTo>
                  <a:pt x="3155132" y="1419362"/>
                </a:lnTo>
                <a:lnTo>
                  <a:pt x="3160999" y="1374274"/>
                </a:lnTo>
                <a:close/>
                <a:moveTo>
                  <a:pt x="2496208" y="770986"/>
                </a:moveTo>
                <a:cubicBezTo>
                  <a:pt x="2113414" y="770986"/>
                  <a:pt x="1929581" y="1106902"/>
                  <a:pt x="1921633" y="1292845"/>
                </a:cubicBezTo>
                <a:cubicBezTo>
                  <a:pt x="1914712" y="1454769"/>
                  <a:pt x="1928136" y="1522392"/>
                  <a:pt x="1942445" y="1570340"/>
                </a:cubicBezTo>
                <a:cubicBezTo>
                  <a:pt x="1547199" y="1510736"/>
                  <a:pt x="1237189" y="1330681"/>
                  <a:pt x="815277" y="836121"/>
                </a:cubicBezTo>
                <a:cubicBezTo>
                  <a:pt x="618819" y="1229038"/>
                  <a:pt x="733086" y="1558961"/>
                  <a:pt x="965659" y="1735195"/>
                </a:cubicBezTo>
                <a:cubicBezTo>
                  <a:pt x="864541" y="1716416"/>
                  <a:pt x="662904" y="1695759"/>
                  <a:pt x="570453" y="1629310"/>
                </a:cubicBezTo>
                <a:cubicBezTo>
                  <a:pt x="597898" y="2016450"/>
                  <a:pt x="990931" y="2177657"/>
                  <a:pt x="1196057" y="2257108"/>
                </a:cubicBezTo>
                <a:cubicBezTo>
                  <a:pt x="1113718" y="2275887"/>
                  <a:pt x="943857" y="2321380"/>
                  <a:pt x="813848" y="2296824"/>
                </a:cubicBezTo>
                <a:cubicBezTo>
                  <a:pt x="926523" y="2634848"/>
                  <a:pt x="1326064" y="2611755"/>
                  <a:pt x="1486410" y="2607420"/>
                </a:cubicBezTo>
                <a:cubicBezTo>
                  <a:pt x="1297174" y="2749708"/>
                  <a:pt x="1000058" y="2795794"/>
                  <a:pt x="489408" y="2829018"/>
                </a:cubicBezTo>
                <a:cubicBezTo>
                  <a:pt x="914827" y="3139596"/>
                  <a:pt x="1734874" y="3242281"/>
                  <a:pt x="2062787" y="3146219"/>
                </a:cubicBezTo>
                <a:cubicBezTo>
                  <a:pt x="2763394" y="2903535"/>
                  <a:pt x="2915370" y="2621267"/>
                  <a:pt x="3074271" y="2105563"/>
                </a:cubicBezTo>
                <a:cubicBezTo>
                  <a:pt x="3173740" y="1733406"/>
                  <a:pt x="3145310" y="1648999"/>
                  <a:pt x="3207849" y="1493166"/>
                </a:cubicBezTo>
                <a:cubicBezTo>
                  <a:pt x="3270388" y="1337333"/>
                  <a:pt x="3414210" y="1276468"/>
                  <a:pt x="3449507" y="1170564"/>
                </a:cubicBezTo>
                <a:cubicBezTo>
                  <a:pt x="3349883" y="1192977"/>
                  <a:pt x="3252716" y="1239516"/>
                  <a:pt x="3140091" y="1227260"/>
                </a:cubicBezTo>
                <a:cubicBezTo>
                  <a:pt x="3219995" y="1183499"/>
                  <a:pt x="3274317" y="996523"/>
                  <a:pt x="3324107" y="851504"/>
                </a:cubicBezTo>
                <a:cubicBezTo>
                  <a:pt x="3215037" y="921165"/>
                  <a:pt x="3152155" y="998691"/>
                  <a:pt x="2995677" y="1008938"/>
                </a:cubicBezTo>
                <a:cubicBezTo>
                  <a:pt x="2884471" y="881691"/>
                  <a:pt x="2678487" y="770986"/>
                  <a:pt x="2496208" y="770986"/>
                </a:cubicBezTo>
                <a:close/>
                <a:moveTo>
                  <a:pt x="308009" y="0"/>
                </a:moveTo>
                <a:lnTo>
                  <a:pt x="3651991" y="0"/>
                </a:lnTo>
                <a:cubicBezTo>
                  <a:pt x="3822100" y="0"/>
                  <a:pt x="3960000" y="137900"/>
                  <a:pt x="3960000" y="308009"/>
                </a:cubicBezTo>
                <a:lnTo>
                  <a:pt x="3960000" y="3651991"/>
                </a:lnTo>
                <a:cubicBezTo>
                  <a:pt x="3960000" y="3822100"/>
                  <a:pt x="3822100" y="3960000"/>
                  <a:pt x="3651991" y="3960000"/>
                </a:cubicBezTo>
                <a:lnTo>
                  <a:pt x="308009" y="3960000"/>
                </a:lnTo>
                <a:cubicBezTo>
                  <a:pt x="137900" y="3960000"/>
                  <a:pt x="0" y="3822100"/>
                  <a:pt x="0" y="3651991"/>
                </a:cubicBezTo>
                <a:lnTo>
                  <a:pt x="0" y="308009"/>
                </a:lnTo>
                <a:cubicBezTo>
                  <a:pt x="0" y="137900"/>
                  <a:pt x="137900" y="0"/>
                  <a:pt x="308009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100" name="Rounded Rectangle 3">
            <a:extLst>
              <a:ext uri="{FF2B5EF4-FFF2-40B4-BE49-F238E27FC236}">
                <a16:creationId xmlns:a16="http://schemas.microsoft.com/office/drawing/2014/main" id="{C2FE4DD9-BD0F-42FA-8558-1E2788EACC02}"/>
              </a:ext>
            </a:extLst>
          </p:cNvPr>
          <p:cNvSpPr>
            <a:spLocks noChangeAspect="1"/>
          </p:cNvSpPr>
          <p:nvPr/>
        </p:nvSpPr>
        <p:spPr>
          <a:xfrm>
            <a:off x="6121262" y="5634756"/>
            <a:ext cx="519265" cy="519265"/>
          </a:xfrm>
          <a:custGeom>
            <a:avLst/>
            <a:gdLst>
              <a:gd name="connsiteX0" fmla="*/ 2841893 w 3960000"/>
              <a:gd name="connsiteY0" fmla="*/ 181064 h 3960000"/>
              <a:gd name="connsiteX1" fmla="*/ 2105790 w 3960000"/>
              <a:gd name="connsiteY1" fmla="*/ 859562 h 3960000"/>
              <a:gd name="connsiteX2" fmla="*/ 2106860 w 3960000"/>
              <a:gd name="connsiteY2" fmla="*/ 863292 h 3960000"/>
              <a:gd name="connsiteX3" fmla="*/ 2106860 w 3960000"/>
              <a:gd name="connsiteY3" fmla="*/ 1248172 h 3960000"/>
              <a:gd name="connsiteX4" fmla="*/ 1691968 w 3960000"/>
              <a:gd name="connsiteY4" fmla="*/ 1248172 h 3960000"/>
              <a:gd name="connsiteX5" fmla="*/ 1691968 w 3960000"/>
              <a:gd name="connsiteY5" fmla="*/ 1824236 h 3960000"/>
              <a:gd name="connsiteX6" fmla="*/ 2106860 w 3960000"/>
              <a:gd name="connsiteY6" fmla="*/ 1824236 h 3960000"/>
              <a:gd name="connsiteX7" fmla="*/ 2106860 w 3960000"/>
              <a:gd name="connsiteY7" fmla="*/ 3779396 h 3960000"/>
              <a:gd name="connsiteX8" fmla="*/ 2754932 w 3960000"/>
              <a:gd name="connsiteY8" fmla="*/ 3779396 h 3960000"/>
              <a:gd name="connsiteX9" fmla="*/ 2754932 w 3960000"/>
              <a:gd name="connsiteY9" fmla="*/ 1824236 h 3960000"/>
              <a:gd name="connsiteX10" fmla="*/ 3305869 w 3960000"/>
              <a:gd name="connsiteY10" fmla="*/ 1813665 h 3960000"/>
              <a:gd name="connsiteX11" fmla="*/ 3348152 w 3960000"/>
              <a:gd name="connsiteY11" fmla="*/ 1248172 h 3960000"/>
              <a:gd name="connsiteX12" fmla="*/ 2754932 w 3960000"/>
              <a:gd name="connsiteY12" fmla="*/ 1248172 h 3960000"/>
              <a:gd name="connsiteX13" fmla="*/ 2754932 w 3960000"/>
              <a:gd name="connsiteY13" fmla="*/ 907124 h 3960000"/>
              <a:gd name="connsiteX14" fmla="*/ 3369037 w 3960000"/>
              <a:gd name="connsiteY14" fmla="*/ 759137 h 3960000"/>
              <a:gd name="connsiteX15" fmla="*/ 3432095 w 3960000"/>
              <a:gd name="connsiteY15" fmla="*/ 238945 h 3960000"/>
              <a:gd name="connsiteX16" fmla="*/ 2841893 w 3960000"/>
              <a:gd name="connsiteY16" fmla="*/ 181064 h 3960000"/>
              <a:gd name="connsiteX17" fmla="*/ 308009 w 3960000"/>
              <a:gd name="connsiteY17" fmla="*/ 0 h 3960000"/>
              <a:gd name="connsiteX18" fmla="*/ 3651991 w 3960000"/>
              <a:gd name="connsiteY18" fmla="*/ 0 h 3960000"/>
              <a:gd name="connsiteX19" fmla="*/ 3960000 w 3960000"/>
              <a:gd name="connsiteY19" fmla="*/ 308009 h 3960000"/>
              <a:gd name="connsiteX20" fmla="*/ 3960000 w 3960000"/>
              <a:gd name="connsiteY20" fmla="*/ 3651991 h 3960000"/>
              <a:gd name="connsiteX21" fmla="*/ 3651991 w 3960000"/>
              <a:gd name="connsiteY21" fmla="*/ 3960000 h 3960000"/>
              <a:gd name="connsiteX22" fmla="*/ 308009 w 3960000"/>
              <a:gd name="connsiteY22" fmla="*/ 3960000 h 3960000"/>
              <a:gd name="connsiteX23" fmla="*/ 0 w 3960000"/>
              <a:gd name="connsiteY23" fmla="*/ 3651991 h 3960000"/>
              <a:gd name="connsiteX24" fmla="*/ 0 w 3960000"/>
              <a:gd name="connsiteY24" fmla="*/ 308009 h 3960000"/>
              <a:gd name="connsiteX25" fmla="*/ 308009 w 3960000"/>
              <a:gd name="connsiteY25" fmla="*/ 0 h 3960000"/>
              <a:gd name="connsiteX0" fmla="*/ 2841893 w 3960000"/>
              <a:gd name="connsiteY0" fmla="*/ 181064 h 3960000"/>
              <a:gd name="connsiteX1" fmla="*/ 2105790 w 3960000"/>
              <a:gd name="connsiteY1" fmla="*/ 859562 h 3960000"/>
              <a:gd name="connsiteX2" fmla="*/ 2106860 w 3960000"/>
              <a:gd name="connsiteY2" fmla="*/ 863292 h 3960000"/>
              <a:gd name="connsiteX3" fmla="*/ 2106860 w 3960000"/>
              <a:gd name="connsiteY3" fmla="*/ 1248172 h 3960000"/>
              <a:gd name="connsiteX4" fmla="*/ 1691968 w 3960000"/>
              <a:gd name="connsiteY4" fmla="*/ 1248172 h 3960000"/>
              <a:gd name="connsiteX5" fmla="*/ 1691968 w 3960000"/>
              <a:gd name="connsiteY5" fmla="*/ 1824236 h 3960000"/>
              <a:gd name="connsiteX6" fmla="*/ 2106860 w 3960000"/>
              <a:gd name="connsiteY6" fmla="*/ 1824236 h 3960000"/>
              <a:gd name="connsiteX7" fmla="*/ 2106860 w 3960000"/>
              <a:gd name="connsiteY7" fmla="*/ 3779396 h 3960000"/>
              <a:gd name="connsiteX8" fmla="*/ 2754932 w 3960000"/>
              <a:gd name="connsiteY8" fmla="*/ 3779396 h 3960000"/>
              <a:gd name="connsiteX9" fmla="*/ 2754932 w 3960000"/>
              <a:gd name="connsiteY9" fmla="*/ 1824236 h 3960000"/>
              <a:gd name="connsiteX10" fmla="*/ 3305869 w 3960000"/>
              <a:gd name="connsiteY10" fmla="*/ 1813665 h 3960000"/>
              <a:gd name="connsiteX11" fmla="*/ 3348152 w 3960000"/>
              <a:gd name="connsiteY11" fmla="*/ 1248172 h 3960000"/>
              <a:gd name="connsiteX12" fmla="*/ 2754932 w 3960000"/>
              <a:gd name="connsiteY12" fmla="*/ 1248172 h 3960000"/>
              <a:gd name="connsiteX13" fmla="*/ 2754932 w 3960000"/>
              <a:gd name="connsiteY13" fmla="*/ 907124 h 3960000"/>
              <a:gd name="connsiteX14" fmla="*/ 3369037 w 3960000"/>
              <a:gd name="connsiteY14" fmla="*/ 704441 h 3960000"/>
              <a:gd name="connsiteX15" fmla="*/ 3432095 w 3960000"/>
              <a:gd name="connsiteY15" fmla="*/ 238945 h 3960000"/>
              <a:gd name="connsiteX16" fmla="*/ 2841893 w 3960000"/>
              <a:gd name="connsiteY16" fmla="*/ 181064 h 3960000"/>
              <a:gd name="connsiteX17" fmla="*/ 308009 w 3960000"/>
              <a:gd name="connsiteY17" fmla="*/ 0 h 3960000"/>
              <a:gd name="connsiteX18" fmla="*/ 3651991 w 3960000"/>
              <a:gd name="connsiteY18" fmla="*/ 0 h 3960000"/>
              <a:gd name="connsiteX19" fmla="*/ 3960000 w 3960000"/>
              <a:gd name="connsiteY19" fmla="*/ 308009 h 3960000"/>
              <a:gd name="connsiteX20" fmla="*/ 3960000 w 3960000"/>
              <a:gd name="connsiteY20" fmla="*/ 3651991 h 3960000"/>
              <a:gd name="connsiteX21" fmla="*/ 3651991 w 3960000"/>
              <a:gd name="connsiteY21" fmla="*/ 3960000 h 3960000"/>
              <a:gd name="connsiteX22" fmla="*/ 308009 w 3960000"/>
              <a:gd name="connsiteY22" fmla="*/ 3960000 h 3960000"/>
              <a:gd name="connsiteX23" fmla="*/ 0 w 3960000"/>
              <a:gd name="connsiteY23" fmla="*/ 3651991 h 3960000"/>
              <a:gd name="connsiteX24" fmla="*/ 0 w 3960000"/>
              <a:gd name="connsiteY24" fmla="*/ 308009 h 3960000"/>
              <a:gd name="connsiteX25" fmla="*/ 308009 w 3960000"/>
              <a:gd name="connsiteY25" fmla="*/ 0 h 3960000"/>
              <a:gd name="connsiteX0" fmla="*/ 2841893 w 3960000"/>
              <a:gd name="connsiteY0" fmla="*/ 181064 h 3960000"/>
              <a:gd name="connsiteX1" fmla="*/ 2105790 w 3960000"/>
              <a:gd name="connsiteY1" fmla="*/ 859562 h 3960000"/>
              <a:gd name="connsiteX2" fmla="*/ 2106860 w 3960000"/>
              <a:gd name="connsiteY2" fmla="*/ 863292 h 3960000"/>
              <a:gd name="connsiteX3" fmla="*/ 2106860 w 3960000"/>
              <a:gd name="connsiteY3" fmla="*/ 1248172 h 3960000"/>
              <a:gd name="connsiteX4" fmla="*/ 1691968 w 3960000"/>
              <a:gd name="connsiteY4" fmla="*/ 1248172 h 3960000"/>
              <a:gd name="connsiteX5" fmla="*/ 1691968 w 3960000"/>
              <a:gd name="connsiteY5" fmla="*/ 1824236 h 3960000"/>
              <a:gd name="connsiteX6" fmla="*/ 2106860 w 3960000"/>
              <a:gd name="connsiteY6" fmla="*/ 1824236 h 3960000"/>
              <a:gd name="connsiteX7" fmla="*/ 2106860 w 3960000"/>
              <a:gd name="connsiteY7" fmla="*/ 3779396 h 3960000"/>
              <a:gd name="connsiteX8" fmla="*/ 2754932 w 3960000"/>
              <a:gd name="connsiteY8" fmla="*/ 3779396 h 3960000"/>
              <a:gd name="connsiteX9" fmla="*/ 2754932 w 3960000"/>
              <a:gd name="connsiteY9" fmla="*/ 1824236 h 3960000"/>
              <a:gd name="connsiteX10" fmla="*/ 3305869 w 3960000"/>
              <a:gd name="connsiteY10" fmla="*/ 1813665 h 3960000"/>
              <a:gd name="connsiteX11" fmla="*/ 3348152 w 3960000"/>
              <a:gd name="connsiteY11" fmla="*/ 1248172 h 3960000"/>
              <a:gd name="connsiteX12" fmla="*/ 2754932 w 3960000"/>
              <a:gd name="connsiteY12" fmla="*/ 1248172 h 3960000"/>
              <a:gd name="connsiteX13" fmla="*/ 2754932 w 3960000"/>
              <a:gd name="connsiteY13" fmla="*/ 907124 h 3960000"/>
              <a:gd name="connsiteX14" fmla="*/ 3369037 w 3960000"/>
              <a:gd name="connsiteY14" fmla="*/ 704441 h 3960000"/>
              <a:gd name="connsiteX15" fmla="*/ 3432095 w 3960000"/>
              <a:gd name="connsiteY15" fmla="*/ 238945 h 3960000"/>
              <a:gd name="connsiteX16" fmla="*/ 2841893 w 3960000"/>
              <a:gd name="connsiteY16" fmla="*/ 181064 h 3960000"/>
              <a:gd name="connsiteX17" fmla="*/ 308009 w 3960000"/>
              <a:gd name="connsiteY17" fmla="*/ 0 h 3960000"/>
              <a:gd name="connsiteX18" fmla="*/ 3651991 w 3960000"/>
              <a:gd name="connsiteY18" fmla="*/ 0 h 3960000"/>
              <a:gd name="connsiteX19" fmla="*/ 3960000 w 3960000"/>
              <a:gd name="connsiteY19" fmla="*/ 308009 h 3960000"/>
              <a:gd name="connsiteX20" fmla="*/ 3960000 w 3960000"/>
              <a:gd name="connsiteY20" fmla="*/ 3651991 h 3960000"/>
              <a:gd name="connsiteX21" fmla="*/ 3651991 w 3960000"/>
              <a:gd name="connsiteY21" fmla="*/ 3960000 h 3960000"/>
              <a:gd name="connsiteX22" fmla="*/ 308009 w 3960000"/>
              <a:gd name="connsiteY22" fmla="*/ 3960000 h 3960000"/>
              <a:gd name="connsiteX23" fmla="*/ 0 w 3960000"/>
              <a:gd name="connsiteY23" fmla="*/ 3651991 h 3960000"/>
              <a:gd name="connsiteX24" fmla="*/ 0 w 3960000"/>
              <a:gd name="connsiteY24" fmla="*/ 308009 h 3960000"/>
              <a:gd name="connsiteX25" fmla="*/ 308009 w 3960000"/>
              <a:gd name="connsiteY25" fmla="*/ 0 h 3960000"/>
              <a:gd name="connsiteX0" fmla="*/ 2841893 w 3960000"/>
              <a:gd name="connsiteY0" fmla="*/ 181064 h 3960000"/>
              <a:gd name="connsiteX1" fmla="*/ 2105790 w 3960000"/>
              <a:gd name="connsiteY1" fmla="*/ 859562 h 3960000"/>
              <a:gd name="connsiteX2" fmla="*/ 2106860 w 3960000"/>
              <a:gd name="connsiteY2" fmla="*/ 863292 h 3960000"/>
              <a:gd name="connsiteX3" fmla="*/ 2106860 w 3960000"/>
              <a:gd name="connsiteY3" fmla="*/ 1248172 h 3960000"/>
              <a:gd name="connsiteX4" fmla="*/ 1691968 w 3960000"/>
              <a:gd name="connsiteY4" fmla="*/ 1248172 h 3960000"/>
              <a:gd name="connsiteX5" fmla="*/ 1691968 w 3960000"/>
              <a:gd name="connsiteY5" fmla="*/ 1824236 h 3960000"/>
              <a:gd name="connsiteX6" fmla="*/ 2106860 w 3960000"/>
              <a:gd name="connsiteY6" fmla="*/ 1824236 h 3960000"/>
              <a:gd name="connsiteX7" fmla="*/ 2106860 w 3960000"/>
              <a:gd name="connsiteY7" fmla="*/ 3779396 h 3960000"/>
              <a:gd name="connsiteX8" fmla="*/ 2754932 w 3960000"/>
              <a:gd name="connsiteY8" fmla="*/ 3779396 h 3960000"/>
              <a:gd name="connsiteX9" fmla="*/ 2754932 w 3960000"/>
              <a:gd name="connsiteY9" fmla="*/ 1824236 h 3960000"/>
              <a:gd name="connsiteX10" fmla="*/ 3305869 w 3960000"/>
              <a:gd name="connsiteY10" fmla="*/ 1813665 h 3960000"/>
              <a:gd name="connsiteX11" fmla="*/ 3348152 w 3960000"/>
              <a:gd name="connsiteY11" fmla="*/ 1248172 h 3960000"/>
              <a:gd name="connsiteX12" fmla="*/ 2754932 w 3960000"/>
              <a:gd name="connsiteY12" fmla="*/ 1248172 h 3960000"/>
              <a:gd name="connsiteX13" fmla="*/ 2754932 w 3960000"/>
              <a:gd name="connsiteY13" fmla="*/ 907124 h 3960000"/>
              <a:gd name="connsiteX14" fmla="*/ 3369037 w 3960000"/>
              <a:gd name="connsiteY14" fmla="*/ 704441 h 3960000"/>
              <a:gd name="connsiteX15" fmla="*/ 3410216 w 3960000"/>
              <a:gd name="connsiteY15" fmla="*/ 195189 h 3960000"/>
              <a:gd name="connsiteX16" fmla="*/ 2841893 w 3960000"/>
              <a:gd name="connsiteY16" fmla="*/ 181064 h 3960000"/>
              <a:gd name="connsiteX17" fmla="*/ 308009 w 3960000"/>
              <a:gd name="connsiteY17" fmla="*/ 0 h 3960000"/>
              <a:gd name="connsiteX18" fmla="*/ 3651991 w 3960000"/>
              <a:gd name="connsiteY18" fmla="*/ 0 h 3960000"/>
              <a:gd name="connsiteX19" fmla="*/ 3960000 w 3960000"/>
              <a:gd name="connsiteY19" fmla="*/ 308009 h 3960000"/>
              <a:gd name="connsiteX20" fmla="*/ 3960000 w 3960000"/>
              <a:gd name="connsiteY20" fmla="*/ 3651991 h 3960000"/>
              <a:gd name="connsiteX21" fmla="*/ 3651991 w 3960000"/>
              <a:gd name="connsiteY21" fmla="*/ 3960000 h 3960000"/>
              <a:gd name="connsiteX22" fmla="*/ 308009 w 3960000"/>
              <a:gd name="connsiteY22" fmla="*/ 3960000 h 3960000"/>
              <a:gd name="connsiteX23" fmla="*/ 0 w 3960000"/>
              <a:gd name="connsiteY23" fmla="*/ 3651991 h 3960000"/>
              <a:gd name="connsiteX24" fmla="*/ 0 w 3960000"/>
              <a:gd name="connsiteY24" fmla="*/ 308009 h 3960000"/>
              <a:gd name="connsiteX25" fmla="*/ 308009 w 3960000"/>
              <a:gd name="connsiteY25" fmla="*/ 0 h 3960000"/>
              <a:gd name="connsiteX0" fmla="*/ 2841893 w 3960000"/>
              <a:gd name="connsiteY0" fmla="*/ 181064 h 3960000"/>
              <a:gd name="connsiteX1" fmla="*/ 2105790 w 3960000"/>
              <a:gd name="connsiteY1" fmla="*/ 859562 h 3960000"/>
              <a:gd name="connsiteX2" fmla="*/ 2106860 w 3960000"/>
              <a:gd name="connsiteY2" fmla="*/ 863292 h 3960000"/>
              <a:gd name="connsiteX3" fmla="*/ 2106860 w 3960000"/>
              <a:gd name="connsiteY3" fmla="*/ 1248172 h 3960000"/>
              <a:gd name="connsiteX4" fmla="*/ 1691968 w 3960000"/>
              <a:gd name="connsiteY4" fmla="*/ 1248172 h 3960000"/>
              <a:gd name="connsiteX5" fmla="*/ 1691968 w 3960000"/>
              <a:gd name="connsiteY5" fmla="*/ 1824236 h 3960000"/>
              <a:gd name="connsiteX6" fmla="*/ 2106860 w 3960000"/>
              <a:gd name="connsiteY6" fmla="*/ 1824236 h 3960000"/>
              <a:gd name="connsiteX7" fmla="*/ 2106860 w 3960000"/>
              <a:gd name="connsiteY7" fmla="*/ 3779396 h 3960000"/>
              <a:gd name="connsiteX8" fmla="*/ 2754932 w 3960000"/>
              <a:gd name="connsiteY8" fmla="*/ 3779396 h 3960000"/>
              <a:gd name="connsiteX9" fmla="*/ 2754932 w 3960000"/>
              <a:gd name="connsiteY9" fmla="*/ 1824236 h 3960000"/>
              <a:gd name="connsiteX10" fmla="*/ 3305869 w 3960000"/>
              <a:gd name="connsiteY10" fmla="*/ 1813665 h 3960000"/>
              <a:gd name="connsiteX11" fmla="*/ 3348152 w 3960000"/>
              <a:gd name="connsiteY11" fmla="*/ 1248172 h 3960000"/>
              <a:gd name="connsiteX12" fmla="*/ 2754932 w 3960000"/>
              <a:gd name="connsiteY12" fmla="*/ 1248172 h 3960000"/>
              <a:gd name="connsiteX13" fmla="*/ 2754932 w 3960000"/>
              <a:gd name="connsiteY13" fmla="*/ 907124 h 3960000"/>
              <a:gd name="connsiteX14" fmla="*/ 3369037 w 3960000"/>
              <a:gd name="connsiteY14" fmla="*/ 704441 h 3960000"/>
              <a:gd name="connsiteX15" fmla="*/ 3410216 w 3960000"/>
              <a:gd name="connsiteY15" fmla="*/ 195189 h 3960000"/>
              <a:gd name="connsiteX16" fmla="*/ 2841893 w 3960000"/>
              <a:gd name="connsiteY16" fmla="*/ 181064 h 3960000"/>
              <a:gd name="connsiteX17" fmla="*/ 308009 w 3960000"/>
              <a:gd name="connsiteY17" fmla="*/ 0 h 3960000"/>
              <a:gd name="connsiteX18" fmla="*/ 3651991 w 3960000"/>
              <a:gd name="connsiteY18" fmla="*/ 0 h 3960000"/>
              <a:gd name="connsiteX19" fmla="*/ 3960000 w 3960000"/>
              <a:gd name="connsiteY19" fmla="*/ 308009 h 3960000"/>
              <a:gd name="connsiteX20" fmla="*/ 3960000 w 3960000"/>
              <a:gd name="connsiteY20" fmla="*/ 3651991 h 3960000"/>
              <a:gd name="connsiteX21" fmla="*/ 3651991 w 3960000"/>
              <a:gd name="connsiteY21" fmla="*/ 3960000 h 3960000"/>
              <a:gd name="connsiteX22" fmla="*/ 308009 w 3960000"/>
              <a:gd name="connsiteY22" fmla="*/ 3960000 h 3960000"/>
              <a:gd name="connsiteX23" fmla="*/ 0 w 3960000"/>
              <a:gd name="connsiteY23" fmla="*/ 3651991 h 3960000"/>
              <a:gd name="connsiteX24" fmla="*/ 0 w 3960000"/>
              <a:gd name="connsiteY24" fmla="*/ 308009 h 3960000"/>
              <a:gd name="connsiteX25" fmla="*/ 308009 w 3960000"/>
              <a:gd name="connsiteY25" fmla="*/ 0 h 3960000"/>
              <a:gd name="connsiteX0" fmla="*/ 2841893 w 3960000"/>
              <a:gd name="connsiteY0" fmla="*/ 181064 h 3960000"/>
              <a:gd name="connsiteX1" fmla="*/ 2105790 w 3960000"/>
              <a:gd name="connsiteY1" fmla="*/ 859562 h 3960000"/>
              <a:gd name="connsiteX2" fmla="*/ 2106860 w 3960000"/>
              <a:gd name="connsiteY2" fmla="*/ 863292 h 3960000"/>
              <a:gd name="connsiteX3" fmla="*/ 2106860 w 3960000"/>
              <a:gd name="connsiteY3" fmla="*/ 1248172 h 3960000"/>
              <a:gd name="connsiteX4" fmla="*/ 1691968 w 3960000"/>
              <a:gd name="connsiteY4" fmla="*/ 1248172 h 3960000"/>
              <a:gd name="connsiteX5" fmla="*/ 1691968 w 3960000"/>
              <a:gd name="connsiteY5" fmla="*/ 1824236 h 3960000"/>
              <a:gd name="connsiteX6" fmla="*/ 2106860 w 3960000"/>
              <a:gd name="connsiteY6" fmla="*/ 1824236 h 3960000"/>
              <a:gd name="connsiteX7" fmla="*/ 2106860 w 3960000"/>
              <a:gd name="connsiteY7" fmla="*/ 3779396 h 3960000"/>
              <a:gd name="connsiteX8" fmla="*/ 2754932 w 3960000"/>
              <a:gd name="connsiteY8" fmla="*/ 3779396 h 3960000"/>
              <a:gd name="connsiteX9" fmla="*/ 2754932 w 3960000"/>
              <a:gd name="connsiteY9" fmla="*/ 1824236 h 3960000"/>
              <a:gd name="connsiteX10" fmla="*/ 3305869 w 3960000"/>
              <a:gd name="connsiteY10" fmla="*/ 1813665 h 3960000"/>
              <a:gd name="connsiteX11" fmla="*/ 3348152 w 3960000"/>
              <a:gd name="connsiteY11" fmla="*/ 1248172 h 3960000"/>
              <a:gd name="connsiteX12" fmla="*/ 2754932 w 3960000"/>
              <a:gd name="connsiteY12" fmla="*/ 1248172 h 3960000"/>
              <a:gd name="connsiteX13" fmla="*/ 2754932 w 3960000"/>
              <a:gd name="connsiteY13" fmla="*/ 907124 h 3960000"/>
              <a:gd name="connsiteX14" fmla="*/ 3369037 w 3960000"/>
              <a:gd name="connsiteY14" fmla="*/ 704441 h 3960000"/>
              <a:gd name="connsiteX15" fmla="*/ 3410216 w 3960000"/>
              <a:gd name="connsiteY15" fmla="*/ 195189 h 3960000"/>
              <a:gd name="connsiteX16" fmla="*/ 2841893 w 3960000"/>
              <a:gd name="connsiteY16" fmla="*/ 181064 h 3960000"/>
              <a:gd name="connsiteX17" fmla="*/ 308009 w 3960000"/>
              <a:gd name="connsiteY17" fmla="*/ 0 h 3960000"/>
              <a:gd name="connsiteX18" fmla="*/ 3651991 w 3960000"/>
              <a:gd name="connsiteY18" fmla="*/ 0 h 3960000"/>
              <a:gd name="connsiteX19" fmla="*/ 3960000 w 3960000"/>
              <a:gd name="connsiteY19" fmla="*/ 308009 h 3960000"/>
              <a:gd name="connsiteX20" fmla="*/ 3960000 w 3960000"/>
              <a:gd name="connsiteY20" fmla="*/ 3651991 h 3960000"/>
              <a:gd name="connsiteX21" fmla="*/ 3651991 w 3960000"/>
              <a:gd name="connsiteY21" fmla="*/ 3960000 h 3960000"/>
              <a:gd name="connsiteX22" fmla="*/ 308009 w 3960000"/>
              <a:gd name="connsiteY22" fmla="*/ 3960000 h 3960000"/>
              <a:gd name="connsiteX23" fmla="*/ 0 w 3960000"/>
              <a:gd name="connsiteY23" fmla="*/ 3651991 h 3960000"/>
              <a:gd name="connsiteX24" fmla="*/ 0 w 3960000"/>
              <a:gd name="connsiteY24" fmla="*/ 308009 h 3960000"/>
              <a:gd name="connsiteX25" fmla="*/ 308009 w 3960000"/>
              <a:gd name="connsiteY25" fmla="*/ 0 h 39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3960000" h="3960000">
                <a:moveTo>
                  <a:pt x="2841893" y="181064"/>
                </a:moveTo>
                <a:cubicBezTo>
                  <a:pt x="2485731" y="190239"/>
                  <a:pt x="2106781" y="339266"/>
                  <a:pt x="2105790" y="859562"/>
                </a:cubicBezTo>
                <a:lnTo>
                  <a:pt x="2106860" y="863292"/>
                </a:lnTo>
                <a:lnTo>
                  <a:pt x="2106860" y="1248172"/>
                </a:lnTo>
                <a:lnTo>
                  <a:pt x="1691968" y="1248172"/>
                </a:lnTo>
                <a:lnTo>
                  <a:pt x="1691968" y="1824236"/>
                </a:lnTo>
                <a:lnTo>
                  <a:pt x="2106860" y="1824236"/>
                </a:lnTo>
                <a:lnTo>
                  <a:pt x="2106860" y="3779396"/>
                </a:lnTo>
                <a:lnTo>
                  <a:pt x="2754932" y="3779396"/>
                </a:lnTo>
                <a:lnTo>
                  <a:pt x="2754932" y="1824236"/>
                </a:lnTo>
                <a:lnTo>
                  <a:pt x="3305869" y="1813665"/>
                </a:lnTo>
                <a:lnTo>
                  <a:pt x="3348152" y="1248172"/>
                </a:lnTo>
                <a:lnTo>
                  <a:pt x="2754932" y="1248172"/>
                </a:lnTo>
                <a:lnTo>
                  <a:pt x="2754932" y="907124"/>
                </a:lnTo>
                <a:cubicBezTo>
                  <a:pt x="2746287" y="682909"/>
                  <a:pt x="3126764" y="685506"/>
                  <a:pt x="3369037" y="704441"/>
                </a:cubicBezTo>
                <a:cubicBezTo>
                  <a:pt x="3391941" y="556446"/>
                  <a:pt x="3409927" y="381656"/>
                  <a:pt x="3410216" y="195189"/>
                </a:cubicBezTo>
                <a:cubicBezTo>
                  <a:pt x="3239930" y="163882"/>
                  <a:pt x="3118909" y="173928"/>
                  <a:pt x="2841893" y="181064"/>
                </a:cubicBezTo>
                <a:close/>
                <a:moveTo>
                  <a:pt x="308009" y="0"/>
                </a:moveTo>
                <a:lnTo>
                  <a:pt x="3651991" y="0"/>
                </a:lnTo>
                <a:cubicBezTo>
                  <a:pt x="3822100" y="0"/>
                  <a:pt x="3960000" y="137900"/>
                  <a:pt x="3960000" y="308009"/>
                </a:cubicBezTo>
                <a:lnTo>
                  <a:pt x="3960000" y="3651991"/>
                </a:lnTo>
                <a:cubicBezTo>
                  <a:pt x="3960000" y="3822100"/>
                  <a:pt x="3822100" y="3960000"/>
                  <a:pt x="3651991" y="3960000"/>
                </a:cubicBezTo>
                <a:lnTo>
                  <a:pt x="308009" y="3960000"/>
                </a:lnTo>
                <a:cubicBezTo>
                  <a:pt x="137900" y="3960000"/>
                  <a:pt x="0" y="3822100"/>
                  <a:pt x="0" y="3651991"/>
                </a:cubicBezTo>
                <a:lnTo>
                  <a:pt x="0" y="308009"/>
                </a:lnTo>
                <a:cubicBezTo>
                  <a:pt x="0" y="137900"/>
                  <a:pt x="137900" y="0"/>
                  <a:pt x="308009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101" name="Rounded Rectangle 10">
            <a:extLst>
              <a:ext uri="{FF2B5EF4-FFF2-40B4-BE49-F238E27FC236}">
                <a16:creationId xmlns:a16="http://schemas.microsoft.com/office/drawing/2014/main" id="{798E328E-1056-4BD6-8D0A-FEC675AE63E6}"/>
              </a:ext>
            </a:extLst>
          </p:cNvPr>
          <p:cNvSpPr>
            <a:spLocks noChangeAspect="1"/>
          </p:cNvSpPr>
          <p:nvPr/>
        </p:nvSpPr>
        <p:spPr>
          <a:xfrm>
            <a:off x="7836637" y="5624208"/>
            <a:ext cx="521115" cy="529812"/>
          </a:xfrm>
          <a:custGeom>
            <a:avLst/>
            <a:gdLst/>
            <a:ahLst/>
            <a:cxnLst/>
            <a:rect l="l" t="t" r="r" b="b"/>
            <a:pathLst>
              <a:path w="3186824" h="3240000">
                <a:moveTo>
                  <a:pt x="2141174" y="1384899"/>
                </a:moveTo>
                <a:lnTo>
                  <a:pt x="2141174" y="1528887"/>
                </a:lnTo>
                <a:lnTo>
                  <a:pt x="1997174" y="1528887"/>
                </a:lnTo>
                <a:lnTo>
                  <a:pt x="1997174" y="1744911"/>
                </a:lnTo>
                <a:lnTo>
                  <a:pt x="2141174" y="1744911"/>
                </a:lnTo>
                <a:lnTo>
                  <a:pt x="2141174" y="1888899"/>
                </a:lnTo>
                <a:lnTo>
                  <a:pt x="2357174" y="1888899"/>
                </a:lnTo>
                <a:lnTo>
                  <a:pt x="2357174" y="1744911"/>
                </a:lnTo>
                <a:lnTo>
                  <a:pt x="2501174" y="1744911"/>
                </a:lnTo>
                <a:lnTo>
                  <a:pt x="2501174" y="1528887"/>
                </a:lnTo>
                <a:lnTo>
                  <a:pt x="2357174" y="1528887"/>
                </a:lnTo>
                <a:lnTo>
                  <a:pt x="2357174" y="1384899"/>
                </a:lnTo>
                <a:close/>
                <a:moveTo>
                  <a:pt x="1286582" y="1008157"/>
                </a:moveTo>
                <a:cubicBezTo>
                  <a:pt x="1148208" y="1006486"/>
                  <a:pt x="1009270" y="1051569"/>
                  <a:pt x="894997" y="1143711"/>
                </a:cubicBezTo>
                <a:cubicBezTo>
                  <a:pt x="666451" y="1327995"/>
                  <a:pt x="600947" y="1648602"/>
                  <a:pt x="738892" y="1907765"/>
                </a:cubicBezTo>
                <a:cubicBezTo>
                  <a:pt x="876837" y="2166928"/>
                  <a:pt x="1179371" y="2291639"/>
                  <a:pt x="1459875" y="2204971"/>
                </a:cubicBezTo>
                <a:cubicBezTo>
                  <a:pt x="1676459" y="2138053"/>
                  <a:pt x="1832801" y="1959669"/>
                  <a:pt x="1876637" y="1747242"/>
                </a:cubicBezTo>
                <a:lnTo>
                  <a:pt x="1879565" y="1747242"/>
                </a:lnTo>
                <a:lnTo>
                  <a:pt x="1879565" y="1728291"/>
                </a:lnTo>
                <a:cubicBezTo>
                  <a:pt x="1891883" y="1671800"/>
                  <a:pt x="1894168" y="1612713"/>
                  <a:pt x="1887545" y="1552862"/>
                </a:cubicBezTo>
                <a:lnTo>
                  <a:pt x="1879565" y="1553745"/>
                </a:lnTo>
                <a:lnTo>
                  <a:pt x="1879565" y="1531218"/>
                </a:lnTo>
                <a:lnTo>
                  <a:pt x="1231565" y="1531218"/>
                </a:lnTo>
                <a:lnTo>
                  <a:pt x="1231565" y="1747242"/>
                </a:lnTo>
                <a:lnTo>
                  <a:pt x="1565835" y="1747242"/>
                </a:lnTo>
                <a:cubicBezTo>
                  <a:pt x="1530201" y="1827940"/>
                  <a:pt x="1460959" y="1892348"/>
                  <a:pt x="1371795" y="1919897"/>
                </a:cubicBezTo>
                <a:cubicBezTo>
                  <a:pt x="1228031" y="1964316"/>
                  <a:pt x="1072976" y="1900399"/>
                  <a:pt x="1002277" y="1767573"/>
                </a:cubicBezTo>
                <a:cubicBezTo>
                  <a:pt x="931578" y="1634747"/>
                  <a:pt x="965150" y="1470429"/>
                  <a:pt x="1082284" y="1375980"/>
                </a:cubicBezTo>
                <a:cubicBezTo>
                  <a:pt x="1199418" y="1281531"/>
                  <a:pt x="1367118" y="1283556"/>
                  <a:pt x="1481937" y="1380807"/>
                </a:cubicBezTo>
                <a:lnTo>
                  <a:pt x="1674778" y="1153129"/>
                </a:lnTo>
                <a:cubicBezTo>
                  <a:pt x="1562764" y="1058254"/>
                  <a:pt x="1424955" y="1009828"/>
                  <a:pt x="1286582" y="1008157"/>
                </a:cubicBezTo>
                <a:close/>
                <a:moveTo>
                  <a:pt x="293028" y="0"/>
                </a:moveTo>
                <a:lnTo>
                  <a:pt x="2893796" y="0"/>
                </a:lnTo>
                <a:cubicBezTo>
                  <a:pt x="3055631" y="0"/>
                  <a:pt x="3186824" y="131193"/>
                  <a:pt x="3186824" y="293028"/>
                </a:cubicBezTo>
                <a:lnTo>
                  <a:pt x="3186824" y="2946972"/>
                </a:lnTo>
                <a:cubicBezTo>
                  <a:pt x="3186824" y="3108807"/>
                  <a:pt x="3055631" y="3240000"/>
                  <a:pt x="2893796" y="3240000"/>
                </a:cubicBezTo>
                <a:lnTo>
                  <a:pt x="293028" y="3240000"/>
                </a:lnTo>
                <a:cubicBezTo>
                  <a:pt x="131193" y="3240000"/>
                  <a:pt x="0" y="3108807"/>
                  <a:pt x="0" y="2946972"/>
                </a:cubicBezTo>
                <a:lnTo>
                  <a:pt x="0" y="293028"/>
                </a:lnTo>
                <a:cubicBezTo>
                  <a:pt x="0" y="131193"/>
                  <a:pt x="131193" y="0"/>
                  <a:pt x="293028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102" name="Block Arc 6">
            <a:extLst>
              <a:ext uri="{FF2B5EF4-FFF2-40B4-BE49-F238E27FC236}">
                <a16:creationId xmlns:a16="http://schemas.microsoft.com/office/drawing/2014/main" id="{62965521-2EFF-4BE9-866C-3D9369FA5C74}"/>
              </a:ext>
            </a:extLst>
          </p:cNvPr>
          <p:cNvSpPr/>
          <p:nvPr/>
        </p:nvSpPr>
        <p:spPr>
          <a:xfrm>
            <a:off x="8626102" y="5660698"/>
            <a:ext cx="488516" cy="493322"/>
          </a:xfrm>
          <a:custGeom>
            <a:avLst/>
            <a:gdLst>
              <a:gd name="connsiteX0" fmla="*/ 2664630 w 3221102"/>
              <a:gd name="connsiteY0" fmla="*/ 2175617 h 3221116"/>
              <a:gd name="connsiteX1" fmla="*/ 2658205 w 3221102"/>
              <a:gd name="connsiteY1" fmla="*/ 2178566 h 3221116"/>
              <a:gd name="connsiteX2" fmla="*/ 2664630 w 3221102"/>
              <a:gd name="connsiteY2" fmla="*/ 2175617 h 3221116"/>
              <a:gd name="connsiteX3" fmla="*/ 1477043 w 3221102"/>
              <a:gd name="connsiteY3" fmla="*/ 1144372 h 3221116"/>
              <a:gd name="connsiteX4" fmla="*/ 1409070 w 3221102"/>
              <a:gd name="connsiteY4" fmla="*/ 1159393 h 3221116"/>
              <a:gd name="connsiteX5" fmla="*/ 1152384 w 3221102"/>
              <a:gd name="connsiteY5" fmla="*/ 1703728 h 3221116"/>
              <a:gd name="connsiteX6" fmla="*/ 1591651 w 3221102"/>
              <a:gd name="connsiteY6" fmla="*/ 2152290 h 3221116"/>
              <a:gd name="connsiteX7" fmla="*/ 1850815 w 3221102"/>
              <a:gd name="connsiteY7" fmla="*/ 1654259 h 3221116"/>
              <a:gd name="connsiteX8" fmla="*/ 1830467 w 3221102"/>
              <a:gd name="connsiteY8" fmla="*/ 1515986 h 3221116"/>
              <a:gd name="connsiteX9" fmla="*/ 1477043 w 3221102"/>
              <a:gd name="connsiteY9" fmla="*/ 1144372 h 3221116"/>
              <a:gd name="connsiteX10" fmla="*/ 1651152 w 3221102"/>
              <a:gd name="connsiteY10" fmla="*/ 501 h 3221116"/>
              <a:gd name="connsiteX11" fmla="*/ 2580395 w 3221102"/>
              <a:gd name="connsiteY11" fmla="*/ 324821 h 3221116"/>
              <a:gd name="connsiteX12" fmla="*/ 3030464 w 3221102"/>
              <a:gd name="connsiteY12" fmla="*/ 2370314 h 3221116"/>
              <a:gd name="connsiteX13" fmla="*/ 3004976 w 3221102"/>
              <a:gd name="connsiteY13" fmla="*/ 2356675 h 3221116"/>
              <a:gd name="connsiteX14" fmla="*/ 2585849 w 3221102"/>
              <a:gd name="connsiteY14" fmla="*/ 2588887 h 3221116"/>
              <a:gd name="connsiteX15" fmla="*/ 1973374 w 3221102"/>
              <a:gd name="connsiteY15" fmla="*/ 2195096 h 3221116"/>
              <a:gd name="connsiteX16" fmla="*/ 1390827 w 3221102"/>
              <a:gd name="connsiteY16" fmla="*/ 2527630 h 3221116"/>
              <a:gd name="connsiteX17" fmla="*/ 783896 w 3221102"/>
              <a:gd name="connsiteY17" fmla="*/ 1665044 h 3221116"/>
              <a:gd name="connsiteX18" fmla="*/ 1268509 w 3221102"/>
              <a:gd name="connsiteY18" fmla="*/ 819983 h 3221116"/>
              <a:gd name="connsiteX19" fmla="*/ 1328805 w 3221102"/>
              <a:gd name="connsiteY19" fmla="*/ 807930 h 3221116"/>
              <a:gd name="connsiteX20" fmla="*/ 1390827 w 3221102"/>
              <a:gd name="connsiteY20" fmla="*/ 802457 h 3221116"/>
              <a:gd name="connsiteX21" fmla="*/ 1462242 w 3221102"/>
              <a:gd name="connsiteY21" fmla="*/ 801708 h 3221116"/>
              <a:gd name="connsiteX22" fmla="*/ 1734726 w 3221102"/>
              <a:gd name="connsiteY22" fmla="*/ 869255 h 3221116"/>
              <a:gd name="connsiteX23" fmla="*/ 1956122 w 3221102"/>
              <a:gd name="connsiteY23" fmla="*/ 1110076 h 3221116"/>
              <a:gd name="connsiteX24" fmla="*/ 1973374 w 3221102"/>
              <a:gd name="connsiteY24" fmla="*/ 875315 h 3221116"/>
              <a:gd name="connsiteX25" fmla="*/ 2333414 w 3221102"/>
              <a:gd name="connsiteY25" fmla="*/ 875315 h 3221116"/>
              <a:gd name="connsiteX26" fmla="*/ 2324788 w 3221102"/>
              <a:gd name="connsiteY26" fmla="*/ 2054049 h 3221116"/>
              <a:gd name="connsiteX27" fmla="*/ 2661746 w 3221102"/>
              <a:gd name="connsiteY27" fmla="*/ 2179658 h 3221116"/>
              <a:gd name="connsiteX28" fmla="*/ 2691046 w 3221102"/>
              <a:gd name="connsiteY28" fmla="*/ 2188689 h 3221116"/>
              <a:gd name="connsiteX29" fmla="*/ 2667011 w 3221102"/>
              <a:gd name="connsiteY29" fmla="*/ 2175828 h 3221116"/>
              <a:gd name="connsiteX30" fmla="*/ 2332141 w 3221102"/>
              <a:gd name="connsiteY30" fmla="*/ 653899 h 3221116"/>
              <a:gd name="connsiteX31" fmla="*/ 776764 w 3221102"/>
              <a:gd name="connsiteY31" fmla="*/ 749845 h 3221116"/>
              <a:gd name="connsiteX32" fmla="*/ 631487 w 3221102"/>
              <a:gd name="connsiteY32" fmla="*/ 2301392 h 3221116"/>
              <a:gd name="connsiteX33" fmla="*/ 2142017 w 3221102"/>
              <a:gd name="connsiteY33" fmla="*/ 2684410 h 3221116"/>
              <a:gd name="connsiteX34" fmla="*/ 2324866 w 3221102"/>
              <a:gd name="connsiteY34" fmla="*/ 3053856 h 3221116"/>
              <a:gd name="connsiteX35" fmla="*/ 294693 w 3221102"/>
              <a:gd name="connsiteY35" fmla="*/ 2539075 h 3221116"/>
              <a:gd name="connsiteX36" fmla="*/ 489947 w 3221102"/>
              <a:gd name="connsiteY36" fmla="*/ 453774 h 3221116"/>
              <a:gd name="connsiteX37" fmla="*/ 1651152 w 3221102"/>
              <a:gd name="connsiteY37" fmla="*/ 501 h 3221116"/>
              <a:gd name="connsiteX0" fmla="*/ 2664630 w 3221102"/>
              <a:gd name="connsiteY0" fmla="*/ 2175617 h 3221116"/>
              <a:gd name="connsiteX1" fmla="*/ 2658205 w 3221102"/>
              <a:gd name="connsiteY1" fmla="*/ 2178566 h 3221116"/>
              <a:gd name="connsiteX2" fmla="*/ 2664630 w 3221102"/>
              <a:gd name="connsiteY2" fmla="*/ 2175617 h 3221116"/>
              <a:gd name="connsiteX3" fmla="*/ 1477043 w 3221102"/>
              <a:gd name="connsiteY3" fmla="*/ 1144372 h 3221116"/>
              <a:gd name="connsiteX4" fmla="*/ 1409070 w 3221102"/>
              <a:gd name="connsiteY4" fmla="*/ 1159393 h 3221116"/>
              <a:gd name="connsiteX5" fmla="*/ 1152384 w 3221102"/>
              <a:gd name="connsiteY5" fmla="*/ 1703728 h 3221116"/>
              <a:gd name="connsiteX6" fmla="*/ 1591651 w 3221102"/>
              <a:gd name="connsiteY6" fmla="*/ 2152290 h 3221116"/>
              <a:gd name="connsiteX7" fmla="*/ 1850815 w 3221102"/>
              <a:gd name="connsiteY7" fmla="*/ 1654259 h 3221116"/>
              <a:gd name="connsiteX8" fmla="*/ 1830467 w 3221102"/>
              <a:gd name="connsiteY8" fmla="*/ 1515986 h 3221116"/>
              <a:gd name="connsiteX9" fmla="*/ 1477043 w 3221102"/>
              <a:gd name="connsiteY9" fmla="*/ 1144372 h 3221116"/>
              <a:gd name="connsiteX10" fmla="*/ 1651152 w 3221102"/>
              <a:gd name="connsiteY10" fmla="*/ 501 h 3221116"/>
              <a:gd name="connsiteX11" fmla="*/ 2580395 w 3221102"/>
              <a:gd name="connsiteY11" fmla="*/ 324821 h 3221116"/>
              <a:gd name="connsiteX12" fmla="*/ 3030464 w 3221102"/>
              <a:gd name="connsiteY12" fmla="*/ 2370314 h 3221116"/>
              <a:gd name="connsiteX13" fmla="*/ 3004976 w 3221102"/>
              <a:gd name="connsiteY13" fmla="*/ 2356675 h 3221116"/>
              <a:gd name="connsiteX14" fmla="*/ 2585849 w 3221102"/>
              <a:gd name="connsiteY14" fmla="*/ 2588887 h 3221116"/>
              <a:gd name="connsiteX15" fmla="*/ 1973374 w 3221102"/>
              <a:gd name="connsiteY15" fmla="*/ 2195096 h 3221116"/>
              <a:gd name="connsiteX16" fmla="*/ 1390827 w 3221102"/>
              <a:gd name="connsiteY16" fmla="*/ 2527630 h 3221116"/>
              <a:gd name="connsiteX17" fmla="*/ 783896 w 3221102"/>
              <a:gd name="connsiteY17" fmla="*/ 1665044 h 3221116"/>
              <a:gd name="connsiteX18" fmla="*/ 1268509 w 3221102"/>
              <a:gd name="connsiteY18" fmla="*/ 819983 h 3221116"/>
              <a:gd name="connsiteX19" fmla="*/ 1328805 w 3221102"/>
              <a:gd name="connsiteY19" fmla="*/ 807930 h 3221116"/>
              <a:gd name="connsiteX20" fmla="*/ 1390827 w 3221102"/>
              <a:gd name="connsiteY20" fmla="*/ 802457 h 3221116"/>
              <a:gd name="connsiteX21" fmla="*/ 1462242 w 3221102"/>
              <a:gd name="connsiteY21" fmla="*/ 801708 h 3221116"/>
              <a:gd name="connsiteX22" fmla="*/ 1734726 w 3221102"/>
              <a:gd name="connsiteY22" fmla="*/ 869255 h 3221116"/>
              <a:gd name="connsiteX23" fmla="*/ 1956122 w 3221102"/>
              <a:gd name="connsiteY23" fmla="*/ 1110076 h 3221116"/>
              <a:gd name="connsiteX24" fmla="*/ 1973374 w 3221102"/>
              <a:gd name="connsiteY24" fmla="*/ 875315 h 3221116"/>
              <a:gd name="connsiteX25" fmla="*/ 2333414 w 3221102"/>
              <a:gd name="connsiteY25" fmla="*/ 875315 h 3221116"/>
              <a:gd name="connsiteX26" fmla="*/ 2324788 w 3221102"/>
              <a:gd name="connsiteY26" fmla="*/ 2054049 h 3221116"/>
              <a:gd name="connsiteX27" fmla="*/ 2661746 w 3221102"/>
              <a:gd name="connsiteY27" fmla="*/ 2179658 h 3221116"/>
              <a:gd name="connsiteX28" fmla="*/ 2691046 w 3221102"/>
              <a:gd name="connsiteY28" fmla="*/ 2188689 h 3221116"/>
              <a:gd name="connsiteX29" fmla="*/ 2667011 w 3221102"/>
              <a:gd name="connsiteY29" fmla="*/ 2175828 h 3221116"/>
              <a:gd name="connsiteX30" fmla="*/ 2332141 w 3221102"/>
              <a:gd name="connsiteY30" fmla="*/ 653899 h 3221116"/>
              <a:gd name="connsiteX31" fmla="*/ 776764 w 3221102"/>
              <a:gd name="connsiteY31" fmla="*/ 749845 h 3221116"/>
              <a:gd name="connsiteX32" fmla="*/ 631487 w 3221102"/>
              <a:gd name="connsiteY32" fmla="*/ 2301392 h 3221116"/>
              <a:gd name="connsiteX33" fmla="*/ 2142017 w 3221102"/>
              <a:gd name="connsiteY33" fmla="*/ 2684410 h 3221116"/>
              <a:gd name="connsiteX34" fmla="*/ 2324866 w 3221102"/>
              <a:gd name="connsiteY34" fmla="*/ 3053856 h 3221116"/>
              <a:gd name="connsiteX35" fmla="*/ 294693 w 3221102"/>
              <a:gd name="connsiteY35" fmla="*/ 2539075 h 3221116"/>
              <a:gd name="connsiteX36" fmla="*/ 489947 w 3221102"/>
              <a:gd name="connsiteY36" fmla="*/ 453774 h 3221116"/>
              <a:gd name="connsiteX37" fmla="*/ 1651152 w 3221102"/>
              <a:gd name="connsiteY37" fmla="*/ 501 h 3221116"/>
              <a:gd name="connsiteX0" fmla="*/ 2664630 w 3221102"/>
              <a:gd name="connsiteY0" fmla="*/ 2175617 h 3221116"/>
              <a:gd name="connsiteX1" fmla="*/ 2658205 w 3221102"/>
              <a:gd name="connsiteY1" fmla="*/ 2178566 h 3221116"/>
              <a:gd name="connsiteX2" fmla="*/ 2664630 w 3221102"/>
              <a:gd name="connsiteY2" fmla="*/ 2175617 h 3221116"/>
              <a:gd name="connsiteX3" fmla="*/ 1477043 w 3221102"/>
              <a:gd name="connsiteY3" fmla="*/ 1144372 h 3221116"/>
              <a:gd name="connsiteX4" fmla="*/ 1409070 w 3221102"/>
              <a:gd name="connsiteY4" fmla="*/ 1159393 h 3221116"/>
              <a:gd name="connsiteX5" fmla="*/ 1152384 w 3221102"/>
              <a:gd name="connsiteY5" fmla="*/ 1703728 h 3221116"/>
              <a:gd name="connsiteX6" fmla="*/ 1591651 w 3221102"/>
              <a:gd name="connsiteY6" fmla="*/ 2152290 h 3221116"/>
              <a:gd name="connsiteX7" fmla="*/ 1850815 w 3221102"/>
              <a:gd name="connsiteY7" fmla="*/ 1654259 h 3221116"/>
              <a:gd name="connsiteX8" fmla="*/ 1830467 w 3221102"/>
              <a:gd name="connsiteY8" fmla="*/ 1515986 h 3221116"/>
              <a:gd name="connsiteX9" fmla="*/ 1477043 w 3221102"/>
              <a:gd name="connsiteY9" fmla="*/ 1144372 h 3221116"/>
              <a:gd name="connsiteX10" fmla="*/ 1651152 w 3221102"/>
              <a:gd name="connsiteY10" fmla="*/ 501 h 3221116"/>
              <a:gd name="connsiteX11" fmla="*/ 2580395 w 3221102"/>
              <a:gd name="connsiteY11" fmla="*/ 324821 h 3221116"/>
              <a:gd name="connsiteX12" fmla="*/ 3030464 w 3221102"/>
              <a:gd name="connsiteY12" fmla="*/ 2370314 h 3221116"/>
              <a:gd name="connsiteX13" fmla="*/ 3004976 w 3221102"/>
              <a:gd name="connsiteY13" fmla="*/ 2356675 h 3221116"/>
              <a:gd name="connsiteX14" fmla="*/ 2585849 w 3221102"/>
              <a:gd name="connsiteY14" fmla="*/ 2588887 h 3221116"/>
              <a:gd name="connsiteX15" fmla="*/ 1973374 w 3221102"/>
              <a:gd name="connsiteY15" fmla="*/ 2195096 h 3221116"/>
              <a:gd name="connsiteX16" fmla="*/ 1390827 w 3221102"/>
              <a:gd name="connsiteY16" fmla="*/ 2527630 h 3221116"/>
              <a:gd name="connsiteX17" fmla="*/ 783896 w 3221102"/>
              <a:gd name="connsiteY17" fmla="*/ 1665044 h 3221116"/>
              <a:gd name="connsiteX18" fmla="*/ 1268509 w 3221102"/>
              <a:gd name="connsiteY18" fmla="*/ 819983 h 3221116"/>
              <a:gd name="connsiteX19" fmla="*/ 1328805 w 3221102"/>
              <a:gd name="connsiteY19" fmla="*/ 807930 h 3221116"/>
              <a:gd name="connsiteX20" fmla="*/ 1390827 w 3221102"/>
              <a:gd name="connsiteY20" fmla="*/ 802457 h 3221116"/>
              <a:gd name="connsiteX21" fmla="*/ 1462242 w 3221102"/>
              <a:gd name="connsiteY21" fmla="*/ 801708 h 3221116"/>
              <a:gd name="connsiteX22" fmla="*/ 1956122 w 3221102"/>
              <a:gd name="connsiteY22" fmla="*/ 1110076 h 3221116"/>
              <a:gd name="connsiteX23" fmla="*/ 1973374 w 3221102"/>
              <a:gd name="connsiteY23" fmla="*/ 875315 h 3221116"/>
              <a:gd name="connsiteX24" fmla="*/ 2333414 w 3221102"/>
              <a:gd name="connsiteY24" fmla="*/ 875315 h 3221116"/>
              <a:gd name="connsiteX25" fmla="*/ 2324788 w 3221102"/>
              <a:gd name="connsiteY25" fmla="*/ 2054049 h 3221116"/>
              <a:gd name="connsiteX26" fmla="*/ 2661746 w 3221102"/>
              <a:gd name="connsiteY26" fmla="*/ 2179658 h 3221116"/>
              <a:gd name="connsiteX27" fmla="*/ 2691046 w 3221102"/>
              <a:gd name="connsiteY27" fmla="*/ 2188689 h 3221116"/>
              <a:gd name="connsiteX28" fmla="*/ 2667011 w 3221102"/>
              <a:gd name="connsiteY28" fmla="*/ 2175828 h 3221116"/>
              <a:gd name="connsiteX29" fmla="*/ 2332141 w 3221102"/>
              <a:gd name="connsiteY29" fmla="*/ 653899 h 3221116"/>
              <a:gd name="connsiteX30" fmla="*/ 776764 w 3221102"/>
              <a:gd name="connsiteY30" fmla="*/ 749845 h 3221116"/>
              <a:gd name="connsiteX31" fmla="*/ 631487 w 3221102"/>
              <a:gd name="connsiteY31" fmla="*/ 2301392 h 3221116"/>
              <a:gd name="connsiteX32" fmla="*/ 2142017 w 3221102"/>
              <a:gd name="connsiteY32" fmla="*/ 2684410 h 3221116"/>
              <a:gd name="connsiteX33" fmla="*/ 2324866 w 3221102"/>
              <a:gd name="connsiteY33" fmla="*/ 3053856 h 3221116"/>
              <a:gd name="connsiteX34" fmla="*/ 294693 w 3221102"/>
              <a:gd name="connsiteY34" fmla="*/ 2539075 h 3221116"/>
              <a:gd name="connsiteX35" fmla="*/ 489947 w 3221102"/>
              <a:gd name="connsiteY35" fmla="*/ 453774 h 3221116"/>
              <a:gd name="connsiteX36" fmla="*/ 1651152 w 3221102"/>
              <a:gd name="connsiteY36" fmla="*/ 501 h 3221116"/>
              <a:gd name="connsiteX0" fmla="*/ 2664630 w 3221102"/>
              <a:gd name="connsiteY0" fmla="*/ 2175617 h 3221116"/>
              <a:gd name="connsiteX1" fmla="*/ 2658205 w 3221102"/>
              <a:gd name="connsiteY1" fmla="*/ 2178566 h 3221116"/>
              <a:gd name="connsiteX2" fmla="*/ 2664630 w 3221102"/>
              <a:gd name="connsiteY2" fmla="*/ 2175617 h 3221116"/>
              <a:gd name="connsiteX3" fmla="*/ 1477043 w 3221102"/>
              <a:gd name="connsiteY3" fmla="*/ 1144372 h 3221116"/>
              <a:gd name="connsiteX4" fmla="*/ 1409070 w 3221102"/>
              <a:gd name="connsiteY4" fmla="*/ 1159393 h 3221116"/>
              <a:gd name="connsiteX5" fmla="*/ 1152384 w 3221102"/>
              <a:gd name="connsiteY5" fmla="*/ 1703728 h 3221116"/>
              <a:gd name="connsiteX6" fmla="*/ 1591651 w 3221102"/>
              <a:gd name="connsiteY6" fmla="*/ 2152290 h 3221116"/>
              <a:gd name="connsiteX7" fmla="*/ 1850815 w 3221102"/>
              <a:gd name="connsiteY7" fmla="*/ 1654259 h 3221116"/>
              <a:gd name="connsiteX8" fmla="*/ 1830467 w 3221102"/>
              <a:gd name="connsiteY8" fmla="*/ 1515986 h 3221116"/>
              <a:gd name="connsiteX9" fmla="*/ 1477043 w 3221102"/>
              <a:gd name="connsiteY9" fmla="*/ 1144372 h 3221116"/>
              <a:gd name="connsiteX10" fmla="*/ 1651152 w 3221102"/>
              <a:gd name="connsiteY10" fmla="*/ 501 h 3221116"/>
              <a:gd name="connsiteX11" fmla="*/ 2580395 w 3221102"/>
              <a:gd name="connsiteY11" fmla="*/ 324821 h 3221116"/>
              <a:gd name="connsiteX12" fmla="*/ 3030464 w 3221102"/>
              <a:gd name="connsiteY12" fmla="*/ 2370314 h 3221116"/>
              <a:gd name="connsiteX13" fmla="*/ 3004976 w 3221102"/>
              <a:gd name="connsiteY13" fmla="*/ 2356675 h 3221116"/>
              <a:gd name="connsiteX14" fmla="*/ 2585849 w 3221102"/>
              <a:gd name="connsiteY14" fmla="*/ 2588887 h 3221116"/>
              <a:gd name="connsiteX15" fmla="*/ 1973374 w 3221102"/>
              <a:gd name="connsiteY15" fmla="*/ 2195096 h 3221116"/>
              <a:gd name="connsiteX16" fmla="*/ 1390827 w 3221102"/>
              <a:gd name="connsiteY16" fmla="*/ 2527630 h 3221116"/>
              <a:gd name="connsiteX17" fmla="*/ 783896 w 3221102"/>
              <a:gd name="connsiteY17" fmla="*/ 1665044 h 3221116"/>
              <a:gd name="connsiteX18" fmla="*/ 1268509 w 3221102"/>
              <a:gd name="connsiteY18" fmla="*/ 819983 h 3221116"/>
              <a:gd name="connsiteX19" fmla="*/ 1328805 w 3221102"/>
              <a:gd name="connsiteY19" fmla="*/ 807930 h 3221116"/>
              <a:gd name="connsiteX20" fmla="*/ 1390827 w 3221102"/>
              <a:gd name="connsiteY20" fmla="*/ 802457 h 3221116"/>
              <a:gd name="connsiteX21" fmla="*/ 1462242 w 3221102"/>
              <a:gd name="connsiteY21" fmla="*/ 801708 h 3221116"/>
              <a:gd name="connsiteX22" fmla="*/ 1956122 w 3221102"/>
              <a:gd name="connsiteY22" fmla="*/ 1110076 h 3221116"/>
              <a:gd name="connsiteX23" fmla="*/ 1973374 w 3221102"/>
              <a:gd name="connsiteY23" fmla="*/ 875315 h 3221116"/>
              <a:gd name="connsiteX24" fmla="*/ 2333414 w 3221102"/>
              <a:gd name="connsiteY24" fmla="*/ 875315 h 3221116"/>
              <a:gd name="connsiteX25" fmla="*/ 2324788 w 3221102"/>
              <a:gd name="connsiteY25" fmla="*/ 2054049 h 3221116"/>
              <a:gd name="connsiteX26" fmla="*/ 2661746 w 3221102"/>
              <a:gd name="connsiteY26" fmla="*/ 2179658 h 3221116"/>
              <a:gd name="connsiteX27" fmla="*/ 2691046 w 3221102"/>
              <a:gd name="connsiteY27" fmla="*/ 2188689 h 3221116"/>
              <a:gd name="connsiteX28" fmla="*/ 2667011 w 3221102"/>
              <a:gd name="connsiteY28" fmla="*/ 2175828 h 3221116"/>
              <a:gd name="connsiteX29" fmla="*/ 2332141 w 3221102"/>
              <a:gd name="connsiteY29" fmla="*/ 653899 h 3221116"/>
              <a:gd name="connsiteX30" fmla="*/ 776764 w 3221102"/>
              <a:gd name="connsiteY30" fmla="*/ 749845 h 3221116"/>
              <a:gd name="connsiteX31" fmla="*/ 631487 w 3221102"/>
              <a:gd name="connsiteY31" fmla="*/ 2301392 h 3221116"/>
              <a:gd name="connsiteX32" fmla="*/ 2142017 w 3221102"/>
              <a:gd name="connsiteY32" fmla="*/ 2684410 h 3221116"/>
              <a:gd name="connsiteX33" fmla="*/ 2324866 w 3221102"/>
              <a:gd name="connsiteY33" fmla="*/ 3053856 h 3221116"/>
              <a:gd name="connsiteX34" fmla="*/ 294693 w 3221102"/>
              <a:gd name="connsiteY34" fmla="*/ 2539075 h 3221116"/>
              <a:gd name="connsiteX35" fmla="*/ 489947 w 3221102"/>
              <a:gd name="connsiteY35" fmla="*/ 453774 h 3221116"/>
              <a:gd name="connsiteX36" fmla="*/ 1651152 w 3221102"/>
              <a:gd name="connsiteY36" fmla="*/ 501 h 3221116"/>
              <a:gd name="connsiteX0" fmla="*/ 2664630 w 3221102"/>
              <a:gd name="connsiteY0" fmla="*/ 2175617 h 3221116"/>
              <a:gd name="connsiteX1" fmla="*/ 2658205 w 3221102"/>
              <a:gd name="connsiteY1" fmla="*/ 2178566 h 3221116"/>
              <a:gd name="connsiteX2" fmla="*/ 2664630 w 3221102"/>
              <a:gd name="connsiteY2" fmla="*/ 2175617 h 3221116"/>
              <a:gd name="connsiteX3" fmla="*/ 1477043 w 3221102"/>
              <a:gd name="connsiteY3" fmla="*/ 1144372 h 3221116"/>
              <a:gd name="connsiteX4" fmla="*/ 1409070 w 3221102"/>
              <a:gd name="connsiteY4" fmla="*/ 1159393 h 3221116"/>
              <a:gd name="connsiteX5" fmla="*/ 1152384 w 3221102"/>
              <a:gd name="connsiteY5" fmla="*/ 1703728 h 3221116"/>
              <a:gd name="connsiteX6" fmla="*/ 1591651 w 3221102"/>
              <a:gd name="connsiteY6" fmla="*/ 2152290 h 3221116"/>
              <a:gd name="connsiteX7" fmla="*/ 1850815 w 3221102"/>
              <a:gd name="connsiteY7" fmla="*/ 1654259 h 3221116"/>
              <a:gd name="connsiteX8" fmla="*/ 1830467 w 3221102"/>
              <a:gd name="connsiteY8" fmla="*/ 1515986 h 3221116"/>
              <a:gd name="connsiteX9" fmla="*/ 1477043 w 3221102"/>
              <a:gd name="connsiteY9" fmla="*/ 1144372 h 3221116"/>
              <a:gd name="connsiteX10" fmla="*/ 1651152 w 3221102"/>
              <a:gd name="connsiteY10" fmla="*/ 501 h 3221116"/>
              <a:gd name="connsiteX11" fmla="*/ 2580395 w 3221102"/>
              <a:gd name="connsiteY11" fmla="*/ 324821 h 3221116"/>
              <a:gd name="connsiteX12" fmla="*/ 3030464 w 3221102"/>
              <a:gd name="connsiteY12" fmla="*/ 2370314 h 3221116"/>
              <a:gd name="connsiteX13" fmla="*/ 3004976 w 3221102"/>
              <a:gd name="connsiteY13" fmla="*/ 2356675 h 3221116"/>
              <a:gd name="connsiteX14" fmla="*/ 2585849 w 3221102"/>
              <a:gd name="connsiteY14" fmla="*/ 2588887 h 3221116"/>
              <a:gd name="connsiteX15" fmla="*/ 1973374 w 3221102"/>
              <a:gd name="connsiteY15" fmla="*/ 2195096 h 3221116"/>
              <a:gd name="connsiteX16" fmla="*/ 1390827 w 3221102"/>
              <a:gd name="connsiteY16" fmla="*/ 2527630 h 3221116"/>
              <a:gd name="connsiteX17" fmla="*/ 783896 w 3221102"/>
              <a:gd name="connsiteY17" fmla="*/ 1665044 h 3221116"/>
              <a:gd name="connsiteX18" fmla="*/ 1268509 w 3221102"/>
              <a:gd name="connsiteY18" fmla="*/ 819983 h 3221116"/>
              <a:gd name="connsiteX19" fmla="*/ 1328805 w 3221102"/>
              <a:gd name="connsiteY19" fmla="*/ 807930 h 3221116"/>
              <a:gd name="connsiteX20" fmla="*/ 1390827 w 3221102"/>
              <a:gd name="connsiteY20" fmla="*/ 802457 h 3221116"/>
              <a:gd name="connsiteX21" fmla="*/ 1462242 w 3221102"/>
              <a:gd name="connsiteY21" fmla="*/ 801708 h 3221116"/>
              <a:gd name="connsiteX22" fmla="*/ 1956122 w 3221102"/>
              <a:gd name="connsiteY22" fmla="*/ 1110076 h 3221116"/>
              <a:gd name="connsiteX23" fmla="*/ 1973374 w 3221102"/>
              <a:gd name="connsiteY23" fmla="*/ 875315 h 3221116"/>
              <a:gd name="connsiteX24" fmla="*/ 2333414 w 3221102"/>
              <a:gd name="connsiteY24" fmla="*/ 875315 h 3221116"/>
              <a:gd name="connsiteX25" fmla="*/ 2324788 w 3221102"/>
              <a:gd name="connsiteY25" fmla="*/ 2054049 h 3221116"/>
              <a:gd name="connsiteX26" fmla="*/ 2661746 w 3221102"/>
              <a:gd name="connsiteY26" fmla="*/ 2179658 h 3221116"/>
              <a:gd name="connsiteX27" fmla="*/ 2691046 w 3221102"/>
              <a:gd name="connsiteY27" fmla="*/ 2188689 h 3221116"/>
              <a:gd name="connsiteX28" fmla="*/ 2667011 w 3221102"/>
              <a:gd name="connsiteY28" fmla="*/ 2175828 h 3221116"/>
              <a:gd name="connsiteX29" fmla="*/ 2332141 w 3221102"/>
              <a:gd name="connsiteY29" fmla="*/ 653899 h 3221116"/>
              <a:gd name="connsiteX30" fmla="*/ 776764 w 3221102"/>
              <a:gd name="connsiteY30" fmla="*/ 749845 h 3221116"/>
              <a:gd name="connsiteX31" fmla="*/ 631487 w 3221102"/>
              <a:gd name="connsiteY31" fmla="*/ 2301392 h 3221116"/>
              <a:gd name="connsiteX32" fmla="*/ 2142017 w 3221102"/>
              <a:gd name="connsiteY32" fmla="*/ 2684410 h 3221116"/>
              <a:gd name="connsiteX33" fmla="*/ 2324866 w 3221102"/>
              <a:gd name="connsiteY33" fmla="*/ 3053856 h 3221116"/>
              <a:gd name="connsiteX34" fmla="*/ 294693 w 3221102"/>
              <a:gd name="connsiteY34" fmla="*/ 2539075 h 3221116"/>
              <a:gd name="connsiteX35" fmla="*/ 489947 w 3221102"/>
              <a:gd name="connsiteY35" fmla="*/ 453774 h 3221116"/>
              <a:gd name="connsiteX36" fmla="*/ 1651152 w 3221102"/>
              <a:gd name="connsiteY36" fmla="*/ 501 h 3221116"/>
              <a:gd name="connsiteX0" fmla="*/ 2664630 w 3221102"/>
              <a:gd name="connsiteY0" fmla="*/ 2175617 h 3221116"/>
              <a:gd name="connsiteX1" fmla="*/ 2658205 w 3221102"/>
              <a:gd name="connsiteY1" fmla="*/ 2178566 h 3221116"/>
              <a:gd name="connsiteX2" fmla="*/ 2664630 w 3221102"/>
              <a:gd name="connsiteY2" fmla="*/ 2175617 h 3221116"/>
              <a:gd name="connsiteX3" fmla="*/ 1477043 w 3221102"/>
              <a:gd name="connsiteY3" fmla="*/ 1144372 h 3221116"/>
              <a:gd name="connsiteX4" fmla="*/ 1409070 w 3221102"/>
              <a:gd name="connsiteY4" fmla="*/ 1159393 h 3221116"/>
              <a:gd name="connsiteX5" fmla="*/ 1152384 w 3221102"/>
              <a:gd name="connsiteY5" fmla="*/ 1703728 h 3221116"/>
              <a:gd name="connsiteX6" fmla="*/ 1514013 w 3221102"/>
              <a:gd name="connsiteY6" fmla="*/ 2152290 h 3221116"/>
              <a:gd name="connsiteX7" fmla="*/ 1850815 w 3221102"/>
              <a:gd name="connsiteY7" fmla="*/ 1654259 h 3221116"/>
              <a:gd name="connsiteX8" fmla="*/ 1830467 w 3221102"/>
              <a:gd name="connsiteY8" fmla="*/ 1515986 h 3221116"/>
              <a:gd name="connsiteX9" fmla="*/ 1477043 w 3221102"/>
              <a:gd name="connsiteY9" fmla="*/ 1144372 h 3221116"/>
              <a:gd name="connsiteX10" fmla="*/ 1651152 w 3221102"/>
              <a:gd name="connsiteY10" fmla="*/ 501 h 3221116"/>
              <a:gd name="connsiteX11" fmla="*/ 2580395 w 3221102"/>
              <a:gd name="connsiteY11" fmla="*/ 324821 h 3221116"/>
              <a:gd name="connsiteX12" fmla="*/ 3030464 w 3221102"/>
              <a:gd name="connsiteY12" fmla="*/ 2370314 h 3221116"/>
              <a:gd name="connsiteX13" fmla="*/ 3004976 w 3221102"/>
              <a:gd name="connsiteY13" fmla="*/ 2356675 h 3221116"/>
              <a:gd name="connsiteX14" fmla="*/ 2585849 w 3221102"/>
              <a:gd name="connsiteY14" fmla="*/ 2588887 h 3221116"/>
              <a:gd name="connsiteX15" fmla="*/ 1973374 w 3221102"/>
              <a:gd name="connsiteY15" fmla="*/ 2195096 h 3221116"/>
              <a:gd name="connsiteX16" fmla="*/ 1390827 w 3221102"/>
              <a:gd name="connsiteY16" fmla="*/ 2527630 h 3221116"/>
              <a:gd name="connsiteX17" fmla="*/ 783896 w 3221102"/>
              <a:gd name="connsiteY17" fmla="*/ 1665044 h 3221116"/>
              <a:gd name="connsiteX18" fmla="*/ 1268509 w 3221102"/>
              <a:gd name="connsiteY18" fmla="*/ 819983 h 3221116"/>
              <a:gd name="connsiteX19" fmla="*/ 1328805 w 3221102"/>
              <a:gd name="connsiteY19" fmla="*/ 807930 h 3221116"/>
              <a:gd name="connsiteX20" fmla="*/ 1390827 w 3221102"/>
              <a:gd name="connsiteY20" fmla="*/ 802457 h 3221116"/>
              <a:gd name="connsiteX21" fmla="*/ 1462242 w 3221102"/>
              <a:gd name="connsiteY21" fmla="*/ 801708 h 3221116"/>
              <a:gd name="connsiteX22" fmla="*/ 1956122 w 3221102"/>
              <a:gd name="connsiteY22" fmla="*/ 1110076 h 3221116"/>
              <a:gd name="connsiteX23" fmla="*/ 1973374 w 3221102"/>
              <a:gd name="connsiteY23" fmla="*/ 875315 h 3221116"/>
              <a:gd name="connsiteX24" fmla="*/ 2333414 w 3221102"/>
              <a:gd name="connsiteY24" fmla="*/ 875315 h 3221116"/>
              <a:gd name="connsiteX25" fmla="*/ 2324788 w 3221102"/>
              <a:gd name="connsiteY25" fmla="*/ 2054049 h 3221116"/>
              <a:gd name="connsiteX26" fmla="*/ 2661746 w 3221102"/>
              <a:gd name="connsiteY26" fmla="*/ 2179658 h 3221116"/>
              <a:gd name="connsiteX27" fmla="*/ 2691046 w 3221102"/>
              <a:gd name="connsiteY27" fmla="*/ 2188689 h 3221116"/>
              <a:gd name="connsiteX28" fmla="*/ 2667011 w 3221102"/>
              <a:gd name="connsiteY28" fmla="*/ 2175828 h 3221116"/>
              <a:gd name="connsiteX29" fmla="*/ 2332141 w 3221102"/>
              <a:gd name="connsiteY29" fmla="*/ 653899 h 3221116"/>
              <a:gd name="connsiteX30" fmla="*/ 776764 w 3221102"/>
              <a:gd name="connsiteY30" fmla="*/ 749845 h 3221116"/>
              <a:gd name="connsiteX31" fmla="*/ 631487 w 3221102"/>
              <a:gd name="connsiteY31" fmla="*/ 2301392 h 3221116"/>
              <a:gd name="connsiteX32" fmla="*/ 2142017 w 3221102"/>
              <a:gd name="connsiteY32" fmla="*/ 2684410 h 3221116"/>
              <a:gd name="connsiteX33" fmla="*/ 2324866 w 3221102"/>
              <a:gd name="connsiteY33" fmla="*/ 3053856 h 3221116"/>
              <a:gd name="connsiteX34" fmla="*/ 294693 w 3221102"/>
              <a:gd name="connsiteY34" fmla="*/ 2539075 h 3221116"/>
              <a:gd name="connsiteX35" fmla="*/ 489947 w 3221102"/>
              <a:gd name="connsiteY35" fmla="*/ 453774 h 3221116"/>
              <a:gd name="connsiteX36" fmla="*/ 1651152 w 3221102"/>
              <a:gd name="connsiteY36" fmla="*/ 501 h 3221116"/>
              <a:gd name="connsiteX0" fmla="*/ 2664630 w 3221102"/>
              <a:gd name="connsiteY0" fmla="*/ 2175617 h 3221116"/>
              <a:gd name="connsiteX1" fmla="*/ 2658205 w 3221102"/>
              <a:gd name="connsiteY1" fmla="*/ 2178566 h 3221116"/>
              <a:gd name="connsiteX2" fmla="*/ 2664630 w 3221102"/>
              <a:gd name="connsiteY2" fmla="*/ 2175617 h 3221116"/>
              <a:gd name="connsiteX3" fmla="*/ 1477043 w 3221102"/>
              <a:gd name="connsiteY3" fmla="*/ 1144372 h 3221116"/>
              <a:gd name="connsiteX4" fmla="*/ 1409070 w 3221102"/>
              <a:gd name="connsiteY4" fmla="*/ 1159393 h 3221116"/>
              <a:gd name="connsiteX5" fmla="*/ 1152384 w 3221102"/>
              <a:gd name="connsiteY5" fmla="*/ 1703728 h 3221116"/>
              <a:gd name="connsiteX6" fmla="*/ 1514013 w 3221102"/>
              <a:gd name="connsiteY6" fmla="*/ 2152290 h 3221116"/>
              <a:gd name="connsiteX7" fmla="*/ 1850815 w 3221102"/>
              <a:gd name="connsiteY7" fmla="*/ 1654259 h 3221116"/>
              <a:gd name="connsiteX8" fmla="*/ 1830467 w 3221102"/>
              <a:gd name="connsiteY8" fmla="*/ 1515986 h 3221116"/>
              <a:gd name="connsiteX9" fmla="*/ 1477043 w 3221102"/>
              <a:gd name="connsiteY9" fmla="*/ 1144372 h 3221116"/>
              <a:gd name="connsiteX10" fmla="*/ 1651152 w 3221102"/>
              <a:gd name="connsiteY10" fmla="*/ 501 h 3221116"/>
              <a:gd name="connsiteX11" fmla="*/ 2580395 w 3221102"/>
              <a:gd name="connsiteY11" fmla="*/ 324821 h 3221116"/>
              <a:gd name="connsiteX12" fmla="*/ 3030464 w 3221102"/>
              <a:gd name="connsiteY12" fmla="*/ 2370314 h 3221116"/>
              <a:gd name="connsiteX13" fmla="*/ 3004976 w 3221102"/>
              <a:gd name="connsiteY13" fmla="*/ 2356675 h 3221116"/>
              <a:gd name="connsiteX14" fmla="*/ 2585849 w 3221102"/>
              <a:gd name="connsiteY14" fmla="*/ 2588887 h 3221116"/>
              <a:gd name="connsiteX15" fmla="*/ 1973374 w 3221102"/>
              <a:gd name="connsiteY15" fmla="*/ 2195096 h 3221116"/>
              <a:gd name="connsiteX16" fmla="*/ 1390827 w 3221102"/>
              <a:gd name="connsiteY16" fmla="*/ 2527630 h 3221116"/>
              <a:gd name="connsiteX17" fmla="*/ 783896 w 3221102"/>
              <a:gd name="connsiteY17" fmla="*/ 1665044 h 3221116"/>
              <a:gd name="connsiteX18" fmla="*/ 1268509 w 3221102"/>
              <a:gd name="connsiteY18" fmla="*/ 819983 h 3221116"/>
              <a:gd name="connsiteX19" fmla="*/ 1328805 w 3221102"/>
              <a:gd name="connsiteY19" fmla="*/ 807930 h 3221116"/>
              <a:gd name="connsiteX20" fmla="*/ 1390827 w 3221102"/>
              <a:gd name="connsiteY20" fmla="*/ 802457 h 3221116"/>
              <a:gd name="connsiteX21" fmla="*/ 1462242 w 3221102"/>
              <a:gd name="connsiteY21" fmla="*/ 801708 h 3221116"/>
              <a:gd name="connsiteX22" fmla="*/ 1956122 w 3221102"/>
              <a:gd name="connsiteY22" fmla="*/ 1110076 h 3221116"/>
              <a:gd name="connsiteX23" fmla="*/ 1973374 w 3221102"/>
              <a:gd name="connsiteY23" fmla="*/ 875315 h 3221116"/>
              <a:gd name="connsiteX24" fmla="*/ 2333414 w 3221102"/>
              <a:gd name="connsiteY24" fmla="*/ 875315 h 3221116"/>
              <a:gd name="connsiteX25" fmla="*/ 2324788 w 3221102"/>
              <a:gd name="connsiteY25" fmla="*/ 2054049 h 3221116"/>
              <a:gd name="connsiteX26" fmla="*/ 2661746 w 3221102"/>
              <a:gd name="connsiteY26" fmla="*/ 2179658 h 3221116"/>
              <a:gd name="connsiteX27" fmla="*/ 2691046 w 3221102"/>
              <a:gd name="connsiteY27" fmla="*/ 2188689 h 3221116"/>
              <a:gd name="connsiteX28" fmla="*/ 2667011 w 3221102"/>
              <a:gd name="connsiteY28" fmla="*/ 2175828 h 3221116"/>
              <a:gd name="connsiteX29" fmla="*/ 2332141 w 3221102"/>
              <a:gd name="connsiteY29" fmla="*/ 653899 h 3221116"/>
              <a:gd name="connsiteX30" fmla="*/ 776764 w 3221102"/>
              <a:gd name="connsiteY30" fmla="*/ 749845 h 3221116"/>
              <a:gd name="connsiteX31" fmla="*/ 631487 w 3221102"/>
              <a:gd name="connsiteY31" fmla="*/ 2301392 h 3221116"/>
              <a:gd name="connsiteX32" fmla="*/ 2142017 w 3221102"/>
              <a:gd name="connsiteY32" fmla="*/ 2684410 h 3221116"/>
              <a:gd name="connsiteX33" fmla="*/ 2324866 w 3221102"/>
              <a:gd name="connsiteY33" fmla="*/ 3053856 h 3221116"/>
              <a:gd name="connsiteX34" fmla="*/ 294693 w 3221102"/>
              <a:gd name="connsiteY34" fmla="*/ 2539075 h 3221116"/>
              <a:gd name="connsiteX35" fmla="*/ 489947 w 3221102"/>
              <a:gd name="connsiteY35" fmla="*/ 453774 h 3221116"/>
              <a:gd name="connsiteX36" fmla="*/ 1651152 w 3221102"/>
              <a:gd name="connsiteY36" fmla="*/ 501 h 3221116"/>
              <a:gd name="connsiteX0" fmla="*/ 2664630 w 3221102"/>
              <a:gd name="connsiteY0" fmla="*/ 2175617 h 3221116"/>
              <a:gd name="connsiteX1" fmla="*/ 2658205 w 3221102"/>
              <a:gd name="connsiteY1" fmla="*/ 2178566 h 3221116"/>
              <a:gd name="connsiteX2" fmla="*/ 2664630 w 3221102"/>
              <a:gd name="connsiteY2" fmla="*/ 2175617 h 3221116"/>
              <a:gd name="connsiteX3" fmla="*/ 1477043 w 3221102"/>
              <a:gd name="connsiteY3" fmla="*/ 1144372 h 3221116"/>
              <a:gd name="connsiteX4" fmla="*/ 1409070 w 3221102"/>
              <a:gd name="connsiteY4" fmla="*/ 1159393 h 3221116"/>
              <a:gd name="connsiteX5" fmla="*/ 1152384 w 3221102"/>
              <a:gd name="connsiteY5" fmla="*/ 1703728 h 3221116"/>
              <a:gd name="connsiteX6" fmla="*/ 1514013 w 3221102"/>
              <a:gd name="connsiteY6" fmla="*/ 2152290 h 3221116"/>
              <a:gd name="connsiteX7" fmla="*/ 1850815 w 3221102"/>
              <a:gd name="connsiteY7" fmla="*/ 1654259 h 3221116"/>
              <a:gd name="connsiteX8" fmla="*/ 1830467 w 3221102"/>
              <a:gd name="connsiteY8" fmla="*/ 1515986 h 3221116"/>
              <a:gd name="connsiteX9" fmla="*/ 1477043 w 3221102"/>
              <a:gd name="connsiteY9" fmla="*/ 1144372 h 3221116"/>
              <a:gd name="connsiteX10" fmla="*/ 1651152 w 3221102"/>
              <a:gd name="connsiteY10" fmla="*/ 501 h 3221116"/>
              <a:gd name="connsiteX11" fmla="*/ 2580395 w 3221102"/>
              <a:gd name="connsiteY11" fmla="*/ 324821 h 3221116"/>
              <a:gd name="connsiteX12" fmla="*/ 3030464 w 3221102"/>
              <a:gd name="connsiteY12" fmla="*/ 2370314 h 3221116"/>
              <a:gd name="connsiteX13" fmla="*/ 2585849 w 3221102"/>
              <a:gd name="connsiteY13" fmla="*/ 2588887 h 3221116"/>
              <a:gd name="connsiteX14" fmla="*/ 1973374 w 3221102"/>
              <a:gd name="connsiteY14" fmla="*/ 2195096 h 3221116"/>
              <a:gd name="connsiteX15" fmla="*/ 1390827 w 3221102"/>
              <a:gd name="connsiteY15" fmla="*/ 2527630 h 3221116"/>
              <a:gd name="connsiteX16" fmla="*/ 783896 w 3221102"/>
              <a:gd name="connsiteY16" fmla="*/ 1665044 h 3221116"/>
              <a:gd name="connsiteX17" fmla="*/ 1268509 w 3221102"/>
              <a:gd name="connsiteY17" fmla="*/ 819983 h 3221116"/>
              <a:gd name="connsiteX18" fmla="*/ 1328805 w 3221102"/>
              <a:gd name="connsiteY18" fmla="*/ 807930 h 3221116"/>
              <a:gd name="connsiteX19" fmla="*/ 1390827 w 3221102"/>
              <a:gd name="connsiteY19" fmla="*/ 802457 h 3221116"/>
              <a:gd name="connsiteX20" fmla="*/ 1462242 w 3221102"/>
              <a:gd name="connsiteY20" fmla="*/ 801708 h 3221116"/>
              <a:gd name="connsiteX21" fmla="*/ 1956122 w 3221102"/>
              <a:gd name="connsiteY21" fmla="*/ 1110076 h 3221116"/>
              <a:gd name="connsiteX22" fmla="*/ 1973374 w 3221102"/>
              <a:gd name="connsiteY22" fmla="*/ 875315 h 3221116"/>
              <a:gd name="connsiteX23" fmla="*/ 2333414 w 3221102"/>
              <a:gd name="connsiteY23" fmla="*/ 875315 h 3221116"/>
              <a:gd name="connsiteX24" fmla="*/ 2324788 w 3221102"/>
              <a:gd name="connsiteY24" fmla="*/ 2054049 h 3221116"/>
              <a:gd name="connsiteX25" fmla="*/ 2661746 w 3221102"/>
              <a:gd name="connsiteY25" fmla="*/ 2179658 h 3221116"/>
              <a:gd name="connsiteX26" fmla="*/ 2691046 w 3221102"/>
              <a:gd name="connsiteY26" fmla="*/ 2188689 h 3221116"/>
              <a:gd name="connsiteX27" fmla="*/ 2667011 w 3221102"/>
              <a:gd name="connsiteY27" fmla="*/ 2175828 h 3221116"/>
              <a:gd name="connsiteX28" fmla="*/ 2332141 w 3221102"/>
              <a:gd name="connsiteY28" fmla="*/ 653899 h 3221116"/>
              <a:gd name="connsiteX29" fmla="*/ 776764 w 3221102"/>
              <a:gd name="connsiteY29" fmla="*/ 749845 h 3221116"/>
              <a:gd name="connsiteX30" fmla="*/ 631487 w 3221102"/>
              <a:gd name="connsiteY30" fmla="*/ 2301392 h 3221116"/>
              <a:gd name="connsiteX31" fmla="*/ 2142017 w 3221102"/>
              <a:gd name="connsiteY31" fmla="*/ 2684410 h 3221116"/>
              <a:gd name="connsiteX32" fmla="*/ 2324866 w 3221102"/>
              <a:gd name="connsiteY32" fmla="*/ 3053856 h 3221116"/>
              <a:gd name="connsiteX33" fmla="*/ 294693 w 3221102"/>
              <a:gd name="connsiteY33" fmla="*/ 2539075 h 3221116"/>
              <a:gd name="connsiteX34" fmla="*/ 489947 w 3221102"/>
              <a:gd name="connsiteY34" fmla="*/ 453774 h 3221116"/>
              <a:gd name="connsiteX35" fmla="*/ 1651152 w 3221102"/>
              <a:gd name="connsiteY35" fmla="*/ 501 h 3221116"/>
              <a:gd name="connsiteX0" fmla="*/ 2664630 w 3221102"/>
              <a:gd name="connsiteY0" fmla="*/ 2175617 h 3221116"/>
              <a:gd name="connsiteX1" fmla="*/ 2658205 w 3221102"/>
              <a:gd name="connsiteY1" fmla="*/ 2178566 h 3221116"/>
              <a:gd name="connsiteX2" fmla="*/ 2664630 w 3221102"/>
              <a:gd name="connsiteY2" fmla="*/ 2175617 h 3221116"/>
              <a:gd name="connsiteX3" fmla="*/ 1477043 w 3221102"/>
              <a:gd name="connsiteY3" fmla="*/ 1144372 h 3221116"/>
              <a:gd name="connsiteX4" fmla="*/ 1409070 w 3221102"/>
              <a:gd name="connsiteY4" fmla="*/ 1159393 h 3221116"/>
              <a:gd name="connsiteX5" fmla="*/ 1152384 w 3221102"/>
              <a:gd name="connsiteY5" fmla="*/ 1703728 h 3221116"/>
              <a:gd name="connsiteX6" fmla="*/ 1514013 w 3221102"/>
              <a:gd name="connsiteY6" fmla="*/ 2152290 h 3221116"/>
              <a:gd name="connsiteX7" fmla="*/ 1850815 w 3221102"/>
              <a:gd name="connsiteY7" fmla="*/ 1654259 h 3221116"/>
              <a:gd name="connsiteX8" fmla="*/ 1830467 w 3221102"/>
              <a:gd name="connsiteY8" fmla="*/ 1515986 h 3221116"/>
              <a:gd name="connsiteX9" fmla="*/ 1477043 w 3221102"/>
              <a:gd name="connsiteY9" fmla="*/ 1144372 h 3221116"/>
              <a:gd name="connsiteX10" fmla="*/ 1651152 w 3221102"/>
              <a:gd name="connsiteY10" fmla="*/ 501 h 3221116"/>
              <a:gd name="connsiteX11" fmla="*/ 2580395 w 3221102"/>
              <a:gd name="connsiteY11" fmla="*/ 324821 h 3221116"/>
              <a:gd name="connsiteX12" fmla="*/ 3030464 w 3221102"/>
              <a:gd name="connsiteY12" fmla="*/ 2370314 h 3221116"/>
              <a:gd name="connsiteX13" fmla="*/ 2585849 w 3221102"/>
              <a:gd name="connsiteY13" fmla="*/ 2588887 h 3221116"/>
              <a:gd name="connsiteX14" fmla="*/ 1973374 w 3221102"/>
              <a:gd name="connsiteY14" fmla="*/ 2195096 h 3221116"/>
              <a:gd name="connsiteX15" fmla="*/ 1390827 w 3221102"/>
              <a:gd name="connsiteY15" fmla="*/ 2527630 h 3221116"/>
              <a:gd name="connsiteX16" fmla="*/ 783896 w 3221102"/>
              <a:gd name="connsiteY16" fmla="*/ 1665044 h 3221116"/>
              <a:gd name="connsiteX17" fmla="*/ 1268509 w 3221102"/>
              <a:gd name="connsiteY17" fmla="*/ 819983 h 3221116"/>
              <a:gd name="connsiteX18" fmla="*/ 1328805 w 3221102"/>
              <a:gd name="connsiteY18" fmla="*/ 807930 h 3221116"/>
              <a:gd name="connsiteX19" fmla="*/ 1390827 w 3221102"/>
              <a:gd name="connsiteY19" fmla="*/ 802457 h 3221116"/>
              <a:gd name="connsiteX20" fmla="*/ 1462242 w 3221102"/>
              <a:gd name="connsiteY20" fmla="*/ 801708 h 3221116"/>
              <a:gd name="connsiteX21" fmla="*/ 1956122 w 3221102"/>
              <a:gd name="connsiteY21" fmla="*/ 1110076 h 3221116"/>
              <a:gd name="connsiteX22" fmla="*/ 1973374 w 3221102"/>
              <a:gd name="connsiteY22" fmla="*/ 875315 h 3221116"/>
              <a:gd name="connsiteX23" fmla="*/ 2333414 w 3221102"/>
              <a:gd name="connsiteY23" fmla="*/ 875315 h 3221116"/>
              <a:gd name="connsiteX24" fmla="*/ 2324788 w 3221102"/>
              <a:gd name="connsiteY24" fmla="*/ 2054049 h 3221116"/>
              <a:gd name="connsiteX25" fmla="*/ 2661746 w 3221102"/>
              <a:gd name="connsiteY25" fmla="*/ 2179658 h 3221116"/>
              <a:gd name="connsiteX26" fmla="*/ 2691046 w 3221102"/>
              <a:gd name="connsiteY26" fmla="*/ 2188689 h 3221116"/>
              <a:gd name="connsiteX27" fmla="*/ 2667011 w 3221102"/>
              <a:gd name="connsiteY27" fmla="*/ 2175828 h 3221116"/>
              <a:gd name="connsiteX28" fmla="*/ 2332141 w 3221102"/>
              <a:gd name="connsiteY28" fmla="*/ 653899 h 3221116"/>
              <a:gd name="connsiteX29" fmla="*/ 776764 w 3221102"/>
              <a:gd name="connsiteY29" fmla="*/ 749845 h 3221116"/>
              <a:gd name="connsiteX30" fmla="*/ 631487 w 3221102"/>
              <a:gd name="connsiteY30" fmla="*/ 2301392 h 3221116"/>
              <a:gd name="connsiteX31" fmla="*/ 2142017 w 3221102"/>
              <a:gd name="connsiteY31" fmla="*/ 2684410 h 3221116"/>
              <a:gd name="connsiteX32" fmla="*/ 2324866 w 3221102"/>
              <a:gd name="connsiteY32" fmla="*/ 3053856 h 3221116"/>
              <a:gd name="connsiteX33" fmla="*/ 294693 w 3221102"/>
              <a:gd name="connsiteY33" fmla="*/ 2539075 h 3221116"/>
              <a:gd name="connsiteX34" fmla="*/ 489947 w 3221102"/>
              <a:gd name="connsiteY34" fmla="*/ 453774 h 3221116"/>
              <a:gd name="connsiteX35" fmla="*/ 1651152 w 3221102"/>
              <a:gd name="connsiteY35" fmla="*/ 501 h 3221116"/>
              <a:gd name="connsiteX0" fmla="*/ 2664630 w 3221102"/>
              <a:gd name="connsiteY0" fmla="*/ 2175617 h 3221116"/>
              <a:gd name="connsiteX1" fmla="*/ 2658205 w 3221102"/>
              <a:gd name="connsiteY1" fmla="*/ 2178566 h 3221116"/>
              <a:gd name="connsiteX2" fmla="*/ 2664630 w 3221102"/>
              <a:gd name="connsiteY2" fmla="*/ 2175617 h 3221116"/>
              <a:gd name="connsiteX3" fmla="*/ 1477043 w 3221102"/>
              <a:gd name="connsiteY3" fmla="*/ 1144372 h 3221116"/>
              <a:gd name="connsiteX4" fmla="*/ 1409070 w 3221102"/>
              <a:gd name="connsiteY4" fmla="*/ 1159393 h 3221116"/>
              <a:gd name="connsiteX5" fmla="*/ 1152384 w 3221102"/>
              <a:gd name="connsiteY5" fmla="*/ 1703728 h 3221116"/>
              <a:gd name="connsiteX6" fmla="*/ 1514013 w 3221102"/>
              <a:gd name="connsiteY6" fmla="*/ 2152290 h 3221116"/>
              <a:gd name="connsiteX7" fmla="*/ 1850815 w 3221102"/>
              <a:gd name="connsiteY7" fmla="*/ 1654259 h 3221116"/>
              <a:gd name="connsiteX8" fmla="*/ 1830467 w 3221102"/>
              <a:gd name="connsiteY8" fmla="*/ 1515986 h 3221116"/>
              <a:gd name="connsiteX9" fmla="*/ 1477043 w 3221102"/>
              <a:gd name="connsiteY9" fmla="*/ 1144372 h 3221116"/>
              <a:gd name="connsiteX10" fmla="*/ 1651152 w 3221102"/>
              <a:gd name="connsiteY10" fmla="*/ 501 h 3221116"/>
              <a:gd name="connsiteX11" fmla="*/ 2580395 w 3221102"/>
              <a:gd name="connsiteY11" fmla="*/ 324821 h 3221116"/>
              <a:gd name="connsiteX12" fmla="*/ 3030464 w 3221102"/>
              <a:gd name="connsiteY12" fmla="*/ 2370314 h 3221116"/>
              <a:gd name="connsiteX13" fmla="*/ 2585849 w 3221102"/>
              <a:gd name="connsiteY13" fmla="*/ 2588887 h 3221116"/>
              <a:gd name="connsiteX14" fmla="*/ 1973374 w 3221102"/>
              <a:gd name="connsiteY14" fmla="*/ 2195096 h 3221116"/>
              <a:gd name="connsiteX15" fmla="*/ 1390827 w 3221102"/>
              <a:gd name="connsiteY15" fmla="*/ 2527630 h 3221116"/>
              <a:gd name="connsiteX16" fmla="*/ 783896 w 3221102"/>
              <a:gd name="connsiteY16" fmla="*/ 1665044 h 3221116"/>
              <a:gd name="connsiteX17" fmla="*/ 1268509 w 3221102"/>
              <a:gd name="connsiteY17" fmla="*/ 819983 h 3221116"/>
              <a:gd name="connsiteX18" fmla="*/ 1328805 w 3221102"/>
              <a:gd name="connsiteY18" fmla="*/ 807930 h 3221116"/>
              <a:gd name="connsiteX19" fmla="*/ 1390827 w 3221102"/>
              <a:gd name="connsiteY19" fmla="*/ 802457 h 3221116"/>
              <a:gd name="connsiteX20" fmla="*/ 1462242 w 3221102"/>
              <a:gd name="connsiteY20" fmla="*/ 801708 h 3221116"/>
              <a:gd name="connsiteX21" fmla="*/ 1956122 w 3221102"/>
              <a:gd name="connsiteY21" fmla="*/ 1110076 h 3221116"/>
              <a:gd name="connsiteX22" fmla="*/ 1973374 w 3221102"/>
              <a:gd name="connsiteY22" fmla="*/ 875315 h 3221116"/>
              <a:gd name="connsiteX23" fmla="*/ 2333414 w 3221102"/>
              <a:gd name="connsiteY23" fmla="*/ 875315 h 3221116"/>
              <a:gd name="connsiteX24" fmla="*/ 2324788 w 3221102"/>
              <a:gd name="connsiteY24" fmla="*/ 2054049 h 3221116"/>
              <a:gd name="connsiteX25" fmla="*/ 2661746 w 3221102"/>
              <a:gd name="connsiteY25" fmla="*/ 2179658 h 3221116"/>
              <a:gd name="connsiteX26" fmla="*/ 2691046 w 3221102"/>
              <a:gd name="connsiteY26" fmla="*/ 2188689 h 3221116"/>
              <a:gd name="connsiteX27" fmla="*/ 2667011 w 3221102"/>
              <a:gd name="connsiteY27" fmla="*/ 2175828 h 3221116"/>
              <a:gd name="connsiteX28" fmla="*/ 2332141 w 3221102"/>
              <a:gd name="connsiteY28" fmla="*/ 653899 h 3221116"/>
              <a:gd name="connsiteX29" fmla="*/ 776764 w 3221102"/>
              <a:gd name="connsiteY29" fmla="*/ 749845 h 3221116"/>
              <a:gd name="connsiteX30" fmla="*/ 631487 w 3221102"/>
              <a:gd name="connsiteY30" fmla="*/ 2301392 h 3221116"/>
              <a:gd name="connsiteX31" fmla="*/ 2142017 w 3221102"/>
              <a:gd name="connsiteY31" fmla="*/ 2684410 h 3221116"/>
              <a:gd name="connsiteX32" fmla="*/ 2324866 w 3221102"/>
              <a:gd name="connsiteY32" fmla="*/ 3053856 h 3221116"/>
              <a:gd name="connsiteX33" fmla="*/ 294693 w 3221102"/>
              <a:gd name="connsiteY33" fmla="*/ 2539075 h 3221116"/>
              <a:gd name="connsiteX34" fmla="*/ 489947 w 3221102"/>
              <a:gd name="connsiteY34" fmla="*/ 453774 h 3221116"/>
              <a:gd name="connsiteX35" fmla="*/ 1651152 w 3221102"/>
              <a:gd name="connsiteY35" fmla="*/ 501 h 3221116"/>
              <a:gd name="connsiteX0" fmla="*/ 2664630 w 3221102"/>
              <a:gd name="connsiteY0" fmla="*/ 2175617 h 3221116"/>
              <a:gd name="connsiteX1" fmla="*/ 2658205 w 3221102"/>
              <a:gd name="connsiteY1" fmla="*/ 2178566 h 3221116"/>
              <a:gd name="connsiteX2" fmla="*/ 2664630 w 3221102"/>
              <a:gd name="connsiteY2" fmla="*/ 2175617 h 3221116"/>
              <a:gd name="connsiteX3" fmla="*/ 1477043 w 3221102"/>
              <a:gd name="connsiteY3" fmla="*/ 1144372 h 3221116"/>
              <a:gd name="connsiteX4" fmla="*/ 1409070 w 3221102"/>
              <a:gd name="connsiteY4" fmla="*/ 1159393 h 3221116"/>
              <a:gd name="connsiteX5" fmla="*/ 1152384 w 3221102"/>
              <a:gd name="connsiteY5" fmla="*/ 1703728 h 3221116"/>
              <a:gd name="connsiteX6" fmla="*/ 1514013 w 3221102"/>
              <a:gd name="connsiteY6" fmla="*/ 2152290 h 3221116"/>
              <a:gd name="connsiteX7" fmla="*/ 1850815 w 3221102"/>
              <a:gd name="connsiteY7" fmla="*/ 1654259 h 3221116"/>
              <a:gd name="connsiteX8" fmla="*/ 1830467 w 3221102"/>
              <a:gd name="connsiteY8" fmla="*/ 1515986 h 3221116"/>
              <a:gd name="connsiteX9" fmla="*/ 1477043 w 3221102"/>
              <a:gd name="connsiteY9" fmla="*/ 1144372 h 3221116"/>
              <a:gd name="connsiteX10" fmla="*/ 1651152 w 3221102"/>
              <a:gd name="connsiteY10" fmla="*/ 501 h 3221116"/>
              <a:gd name="connsiteX11" fmla="*/ 2580395 w 3221102"/>
              <a:gd name="connsiteY11" fmla="*/ 324821 h 3221116"/>
              <a:gd name="connsiteX12" fmla="*/ 3030464 w 3221102"/>
              <a:gd name="connsiteY12" fmla="*/ 2370314 h 3221116"/>
              <a:gd name="connsiteX13" fmla="*/ 2585849 w 3221102"/>
              <a:gd name="connsiteY13" fmla="*/ 2588887 h 3221116"/>
              <a:gd name="connsiteX14" fmla="*/ 1973374 w 3221102"/>
              <a:gd name="connsiteY14" fmla="*/ 2195096 h 3221116"/>
              <a:gd name="connsiteX15" fmla="*/ 1390827 w 3221102"/>
              <a:gd name="connsiteY15" fmla="*/ 2527630 h 3221116"/>
              <a:gd name="connsiteX16" fmla="*/ 783896 w 3221102"/>
              <a:gd name="connsiteY16" fmla="*/ 1665044 h 3221116"/>
              <a:gd name="connsiteX17" fmla="*/ 1268509 w 3221102"/>
              <a:gd name="connsiteY17" fmla="*/ 819983 h 3221116"/>
              <a:gd name="connsiteX18" fmla="*/ 1328805 w 3221102"/>
              <a:gd name="connsiteY18" fmla="*/ 807930 h 3221116"/>
              <a:gd name="connsiteX19" fmla="*/ 1390827 w 3221102"/>
              <a:gd name="connsiteY19" fmla="*/ 802457 h 3221116"/>
              <a:gd name="connsiteX20" fmla="*/ 1462242 w 3221102"/>
              <a:gd name="connsiteY20" fmla="*/ 801708 h 3221116"/>
              <a:gd name="connsiteX21" fmla="*/ 1956122 w 3221102"/>
              <a:gd name="connsiteY21" fmla="*/ 1110076 h 3221116"/>
              <a:gd name="connsiteX22" fmla="*/ 1973374 w 3221102"/>
              <a:gd name="connsiteY22" fmla="*/ 875315 h 3221116"/>
              <a:gd name="connsiteX23" fmla="*/ 2333414 w 3221102"/>
              <a:gd name="connsiteY23" fmla="*/ 875315 h 3221116"/>
              <a:gd name="connsiteX24" fmla="*/ 2324788 w 3221102"/>
              <a:gd name="connsiteY24" fmla="*/ 2054049 h 3221116"/>
              <a:gd name="connsiteX25" fmla="*/ 2661746 w 3221102"/>
              <a:gd name="connsiteY25" fmla="*/ 2179658 h 3221116"/>
              <a:gd name="connsiteX26" fmla="*/ 2691046 w 3221102"/>
              <a:gd name="connsiteY26" fmla="*/ 2188689 h 3221116"/>
              <a:gd name="connsiteX27" fmla="*/ 2667011 w 3221102"/>
              <a:gd name="connsiteY27" fmla="*/ 2175828 h 3221116"/>
              <a:gd name="connsiteX28" fmla="*/ 2332141 w 3221102"/>
              <a:gd name="connsiteY28" fmla="*/ 653899 h 3221116"/>
              <a:gd name="connsiteX29" fmla="*/ 776764 w 3221102"/>
              <a:gd name="connsiteY29" fmla="*/ 749845 h 3221116"/>
              <a:gd name="connsiteX30" fmla="*/ 631487 w 3221102"/>
              <a:gd name="connsiteY30" fmla="*/ 2301392 h 3221116"/>
              <a:gd name="connsiteX31" fmla="*/ 2142017 w 3221102"/>
              <a:gd name="connsiteY31" fmla="*/ 2684410 h 3221116"/>
              <a:gd name="connsiteX32" fmla="*/ 2324866 w 3221102"/>
              <a:gd name="connsiteY32" fmla="*/ 3053856 h 3221116"/>
              <a:gd name="connsiteX33" fmla="*/ 294693 w 3221102"/>
              <a:gd name="connsiteY33" fmla="*/ 2539075 h 3221116"/>
              <a:gd name="connsiteX34" fmla="*/ 489947 w 3221102"/>
              <a:gd name="connsiteY34" fmla="*/ 453774 h 3221116"/>
              <a:gd name="connsiteX35" fmla="*/ 1651152 w 3221102"/>
              <a:gd name="connsiteY35" fmla="*/ 501 h 3221116"/>
              <a:gd name="connsiteX0" fmla="*/ 2664630 w 3221102"/>
              <a:gd name="connsiteY0" fmla="*/ 2175617 h 3221116"/>
              <a:gd name="connsiteX1" fmla="*/ 2658205 w 3221102"/>
              <a:gd name="connsiteY1" fmla="*/ 2178566 h 3221116"/>
              <a:gd name="connsiteX2" fmla="*/ 2664630 w 3221102"/>
              <a:gd name="connsiteY2" fmla="*/ 2175617 h 3221116"/>
              <a:gd name="connsiteX3" fmla="*/ 1477043 w 3221102"/>
              <a:gd name="connsiteY3" fmla="*/ 1144372 h 3221116"/>
              <a:gd name="connsiteX4" fmla="*/ 1409070 w 3221102"/>
              <a:gd name="connsiteY4" fmla="*/ 1159393 h 3221116"/>
              <a:gd name="connsiteX5" fmla="*/ 1152384 w 3221102"/>
              <a:gd name="connsiteY5" fmla="*/ 1703728 h 3221116"/>
              <a:gd name="connsiteX6" fmla="*/ 1514013 w 3221102"/>
              <a:gd name="connsiteY6" fmla="*/ 2152290 h 3221116"/>
              <a:gd name="connsiteX7" fmla="*/ 1850815 w 3221102"/>
              <a:gd name="connsiteY7" fmla="*/ 1654259 h 3221116"/>
              <a:gd name="connsiteX8" fmla="*/ 1830467 w 3221102"/>
              <a:gd name="connsiteY8" fmla="*/ 1515986 h 3221116"/>
              <a:gd name="connsiteX9" fmla="*/ 1477043 w 3221102"/>
              <a:gd name="connsiteY9" fmla="*/ 1144372 h 3221116"/>
              <a:gd name="connsiteX10" fmla="*/ 1651152 w 3221102"/>
              <a:gd name="connsiteY10" fmla="*/ 501 h 3221116"/>
              <a:gd name="connsiteX11" fmla="*/ 2580395 w 3221102"/>
              <a:gd name="connsiteY11" fmla="*/ 324821 h 3221116"/>
              <a:gd name="connsiteX12" fmla="*/ 3030464 w 3221102"/>
              <a:gd name="connsiteY12" fmla="*/ 2370314 h 3221116"/>
              <a:gd name="connsiteX13" fmla="*/ 2585849 w 3221102"/>
              <a:gd name="connsiteY13" fmla="*/ 2588887 h 3221116"/>
              <a:gd name="connsiteX14" fmla="*/ 1973374 w 3221102"/>
              <a:gd name="connsiteY14" fmla="*/ 2195096 h 3221116"/>
              <a:gd name="connsiteX15" fmla="*/ 1390827 w 3221102"/>
              <a:gd name="connsiteY15" fmla="*/ 2527630 h 3221116"/>
              <a:gd name="connsiteX16" fmla="*/ 783896 w 3221102"/>
              <a:gd name="connsiteY16" fmla="*/ 1665044 h 3221116"/>
              <a:gd name="connsiteX17" fmla="*/ 1268509 w 3221102"/>
              <a:gd name="connsiteY17" fmla="*/ 819983 h 3221116"/>
              <a:gd name="connsiteX18" fmla="*/ 1328805 w 3221102"/>
              <a:gd name="connsiteY18" fmla="*/ 807930 h 3221116"/>
              <a:gd name="connsiteX19" fmla="*/ 1390827 w 3221102"/>
              <a:gd name="connsiteY19" fmla="*/ 802457 h 3221116"/>
              <a:gd name="connsiteX20" fmla="*/ 1462242 w 3221102"/>
              <a:gd name="connsiteY20" fmla="*/ 801708 h 3221116"/>
              <a:gd name="connsiteX21" fmla="*/ 1956122 w 3221102"/>
              <a:gd name="connsiteY21" fmla="*/ 1110076 h 3221116"/>
              <a:gd name="connsiteX22" fmla="*/ 1973374 w 3221102"/>
              <a:gd name="connsiteY22" fmla="*/ 875315 h 3221116"/>
              <a:gd name="connsiteX23" fmla="*/ 2333414 w 3221102"/>
              <a:gd name="connsiteY23" fmla="*/ 875315 h 3221116"/>
              <a:gd name="connsiteX24" fmla="*/ 2324788 w 3221102"/>
              <a:gd name="connsiteY24" fmla="*/ 2054049 h 3221116"/>
              <a:gd name="connsiteX25" fmla="*/ 2661746 w 3221102"/>
              <a:gd name="connsiteY25" fmla="*/ 2179658 h 3221116"/>
              <a:gd name="connsiteX26" fmla="*/ 2691046 w 3221102"/>
              <a:gd name="connsiteY26" fmla="*/ 2188689 h 3221116"/>
              <a:gd name="connsiteX27" fmla="*/ 2667011 w 3221102"/>
              <a:gd name="connsiteY27" fmla="*/ 2175828 h 3221116"/>
              <a:gd name="connsiteX28" fmla="*/ 2332141 w 3221102"/>
              <a:gd name="connsiteY28" fmla="*/ 653899 h 3221116"/>
              <a:gd name="connsiteX29" fmla="*/ 776764 w 3221102"/>
              <a:gd name="connsiteY29" fmla="*/ 749845 h 3221116"/>
              <a:gd name="connsiteX30" fmla="*/ 631487 w 3221102"/>
              <a:gd name="connsiteY30" fmla="*/ 2301392 h 3221116"/>
              <a:gd name="connsiteX31" fmla="*/ 2142017 w 3221102"/>
              <a:gd name="connsiteY31" fmla="*/ 2684410 h 3221116"/>
              <a:gd name="connsiteX32" fmla="*/ 2324866 w 3221102"/>
              <a:gd name="connsiteY32" fmla="*/ 3053856 h 3221116"/>
              <a:gd name="connsiteX33" fmla="*/ 294693 w 3221102"/>
              <a:gd name="connsiteY33" fmla="*/ 2539075 h 3221116"/>
              <a:gd name="connsiteX34" fmla="*/ 489947 w 3221102"/>
              <a:gd name="connsiteY34" fmla="*/ 453774 h 3221116"/>
              <a:gd name="connsiteX35" fmla="*/ 1651152 w 3221102"/>
              <a:gd name="connsiteY35" fmla="*/ 501 h 3221116"/>
              <a:gd name="connsiteX0" fmla="*/ 2664630 w 3151233"/>
              <a:gd name="connsiteY0" fmla="*/ 2175617 h 3221116"/>
              <a:gd name="connsiteX1" fmla="*/ 2658205 w 3151233"/>
              <a:gd name="connsiteY1" fmla="*/ 2178566 h 3221116"/>
              <a:gd name="connsiteX2" fmla="*/ 2664630 w 3151233"/>
              <a:gd name="connsiteY2" fmla="*/ 2175617 h 3221116"/>
              <a:gd name="connsiteX3" fmla="*/ 1477043 w 3151233"/>
              <a:gd name="connsiteY3" fmla="*/ 1144372 h 3221116"/>
              <a:gd name="connsiteX4" fmla="*/ 1409070 w 3151233"/>
              <a:gd name="connsiteY4" fmla="*/ 1159393 h 3221116"/>
              <a:gd name="connsiteX5" fmla="*/ 1152384 w 3151233"/>
              <a:gd name="connsiteY5" fmla="*/ 1703728 h 3221116"/>
              <a:gd name="connsiteX6" fmla="*/ 1514013 w 3151233"/>
              <a:gd name="connsiteY6" fmla="*/ 2152290 h 3221116"/>
              <a:gd name="connsiteX7" fmla="*/ 1850815 w 3151233"/>
              <a:gd name="connsiteY7" fmla="*/ 1654259 h 3221116"/>
              <a:gd name="connsiteX8" fmla="*/ 1830467 w 3151233"/>
              <a:gd name="connsiteY8" fmla="*/ 1515986 h 3221116"/>
              <a:gd name="connsiteX9" fmla="*/ 1477043 w 3151233"/>
              <a:gd name="connsiteY9" fmla="*/ 1144372 h 3221116"/>
              <a:gd name="connsiteX10" fmla="*/ 1651152 w 3151233"/>
              <a:gd name="connsiteY10" fmla="*/ 501 h 3221116"/>
              <a:gd name="connsiteX11" fmla="*/ 2580395 w 3151233"/>
              <a:gd name="connsiteY11" fmla="*/ 324821 h 3221116"/>
              <a:gd name="connsiteX12" fmla="*/ 3030464 w 3151233"/>
              <a:gd name="connsiteY12" fmla="*/ 2249544 h 3221116"/>
              <a:gd name="connsiteX13" fmla="*/ 2585849 w 3151233"/>
              <a:gd name="connsiteY13" fmla="*/ 2588887 h 3221116"/>
              <a:gd name="connsiteX14" fmla="*/ 1973374 w 3151233"/>
              <a:gd name="connsiteY14" fmla="*/ 2195096 h 3221116"/>
              <a:gd name="connsiteX15" fmla="*/ 1390827 w 3151233"/>
              <a:gd name="connsiteY15" fmla="*/ 2527630 h 3221116"/>
              <a:gd name="connsiteX16" fmla="*/ 783896 w 3151233"/>
              <a:gd name="connsiteY16" fmla="*/ 1665044 h 3221116"/>
              <a:gd name="connsiteX17" fmla="*/ 1268509 w 3151233"/>
              <a:gd name="connsiteY17" fmla="*/ 819983 h 3221116"/>
              <a:gd name="connsiteX18" fmla="*/ 1328805 w 3151233"/>
              <a:gd name="connsiteY18" fmla="*/ 807930 h 3221116"/>
              <a:gd name="connsiteX19" fmla="*/ 1390827 w 3151233"/>
              <a:gd name="connsiteY19" fmla="*/ 802457 h 3221116"/>
              <a:gd name="connsiteX20" fmla="*/ 1462242 w 3151233"/>
              <a:gd name="connsiteY20" fmla="*/ 801708 h 3221116"/>
              <a:gd name="connsiteX21" fmla="*/ 1956122 w 3151233"/>
              <a:gd name="connsiteY21" fmla="*/ 1110076 h 3221116"/>
              <a:gd name="connsiteX22" fmla="*/ 1973374 w 3151233"/>
              <a:gd name="connsiteY22" fmla="*/ 875315 h 3221116"/>
              <a:gd name="connsiteX23" fmla="*/ 2333414 w 3151233"/>
              <a:gd name="connsiteY23" fmla="*/ 875315 h 3221116"/>
              <a:gd name="connsiteX24" fmla="*/ 2324788 w 3151233"/>
              <a:gd name="connsiteY24" fmla="*/ 2054049 h 3221116"/>
              <a:gd name="connsiteX25" fmla="*/ 2661746 w 3151233"/>
              <a:gd name="connsiteY25" fmla="*/ 2179658 h 3221116"/>
              <a:gd name="connsiteX26" fmla="*/ 2691046 w 3151233"/>
              <a:gd name="connsiteY26" fmla="*/ 2188689 h 3221116"/>
              <a:gd name="connsiteX27" fmla="*/ 2667011 w 3151233"/>
              <a:gd name="connsiteY27" fmla="*/ 2175828 h 3221116"/>
              <a:gd name="connsiteX28" fmla="*/ 2332141 w 3151233"/>
              <a:gd name="connsiteY28" fmla="*/ 653899 h 3221116"/>
              <a:gd name="connsiteX29" fmla="*/ 776764 w 3151233"/>
              <a:gd name="connsiteY29" fmla="*/ 749845 h 3221116"/>
              <a:gd name="connsiteX30" fmla="*/ 631487 w 3151233"/>
              <a:gd name="connsiteY30" fmla="*/ 2301392 h 3221116"/>
              <a:gd name="connsiteX31" fmla="*/ 2142017 w 3151233"/>
              <a:gd name="connsiteY31" fmla="*/ 2684410 h 3221116"/>
              <a:gd name="connsiteX32" fmla="*/ 2324866 w 3151233"/>
              <a:gd name="connsiteY32" fmla="*/ 3053856 h 3221116"/>
              <a:gd name="connsiteX33" fmla="*/ 294693 w 3151233"/>
              <a:gd name="connsiteY33" fmla="*/ 2539075 h 3221116"/>
              <a:gd name="connsiteX34" fmla="*/ 489947 w 3151233"/>
              <a:gd name="connsiteY34" fmla="*/ 453774 h 3221116"/>
              <a:gd name="connsiteX35" fmla="*/ 1651152 w 3151233"/>
              <a:gd name="connsiteY35" fmla="*/ 501 h 3221116"/>
              <a:gd name="connsiteX0" fmla="*/ 2664630 w 3161851"/>
              <a:gd name="connsiteY0" fmla="*/ 2175617 h 3221116"/>
              <a:gd name="connsiteX1" fmla="*/ 2658205 w 3161851"/>
              <a:gd name="connsiteY1" fmla="*/ 2178566 h 3221116"/>
              <a:gd name="connsiteX2" fmla="*/ 2664630 w 3161851"/>
              <a:gd name="connsiteY2" fmla="*/ 2175617 h 3221116"/>
              <a:gd name="connsiteX3" fmla="*/ 1477043 w 3161851"/>
              <a:gd name="connsiteY3" fmla="*/ 1144372 h 3221116"/>
              <a:gd name="connsiteX4" fmla="*/ 1409070 w 3161851"/>
              <a:gd name="connsiteY4" fmla="*/ 1159393 h 3221116"/>
              <a:gd name="connsiteX5" fmla="*/ 1152384 w 3161851"/>
              <a:gd name="connsiteY5" fmla="*/ 1703728 h 3221116"/>
              <a:gd name="connsiteX6" fmla="*/ 1514013 w 3161851"/>
              <a:gd name="connsiteY6" fmla="*/ 2152290 h 3221116"/>
              <a:gd name="connsiteX7" fmla="*/ 1850815 w 3161851"/>
              <a:gd name="connsiteY7" fmla="*/ 1654259 h 3221116"/>
              <a:gd name="connsiteX8" fmla="*/ 1830467 w 3161851"/>
              <a:gd name="connsiteY8" fmla="*/ 1515986 h 3221116"/>
              <a:gd name="connsiteX9" fmla="*/ 1477043 w 3161851"/>
              <a:gd name="connsiteY9" fmla="*/ 1144372 h 3221116"/>
              <a:gd name="connsiteX10" fmla="*/ 1651152 w 3161851"/>
              <a:gd name="connsiteY10" fmla="*/ 501 h 3221116"/>
              <a:gd name="connsiteX11" fmla="*/ 2580395 w 3161851"/>
              <a:gd name="connsiteY11" fmla="*/ 324821 h 3221116"/>
              <a:gd name="connsiteX12" fmla="*/ 3030464 w 3161851"/>
              <a:gd name="connsiteY12" fmla="*/ 2249544 h 3221116"/>
              <a:gd name="connsiteX13" fmla="*/ 2585849 w 3161851"/>
              <a:gd name="connsiteY13" fmla="*/ 2588887 h 3221116"/>
              <a:gd name="connsiteX14" fmla="*/ 1973374 w 3161851"/>
              <a:gd name="connsiteY14" fmla="*/ 2195096 h 3221116"/>
              <a:gd name="connsiteX15" fmla="*/ 1390827 w 3161851"/>
              <a:gd name="connsiteY15" fmla="*/ 2527630 h 3221116"/>
              <a:gd name="connsiteX16" fmla="*/ 783896 w 3161851"/>
              <a:gd name="connsiteY16" fmla="*/ 1665044 h 3221116"/>
              <a:gd name="connsiteX17" fmla="*/ 1268509 w 3161851"/>
              <a:gd name="connsiteY17" fmla="*/ 819983 h 3221116"/>
              <a:gd name="connsiteX18" fmla="*/ 1328805 w 3161851"/>
              <a:gd name="connsiteY18" fmla="*/ 807930 h 3221116"/>
              <a:gd name="connsiteX19" fmla="*/ 1390827 w 3161851"/>
              <a:gd name="connsiteY19" fmla="*/ 802457 h 3221116"/>
              <a:gd name="connsiteX20" fmla="*/ 1462242 w 3161851"/>
              <a:gd name="connsiteY20" fmla="*/ 801708 h 3221116"/>
              <a:gd name="connsiteX21" fmla="*/ 1956122 w 3161851"/>
              <a:gd name="connsiteY21" fmla="*/ 1110076 h 3221116"/>
              <a:gd name="connsiteX22" fmla="*/ 1973374 w 3161851"/>
              <a:gd name="connsiteY22" fmla="*/ 875315 h 3221116"/>
              <a:gd name="connsiteX23" fmla="*/ 2333414 w 3161851"/>
              <a:gd name="connsiteY23" fmla="*/ 875315 h 3221116"/>
              <a:gd name="connsiteX24" fmla="*/ 2324788 w 3161851"/>
              <a:gd name="connsiteY24" fmla="*/ 2054049 h 3221116"/>
              <a:gd name="connsiteX25" fmla="*/ 2661746 w 3161851"/>
              <a:gd name="connsiteY25" fmla="*/ 2179658 h 3221116"/>
              <a:gd name="connsiteX26" fmla="*/ 2691046 w 3161851"/>
              <a:gd name="connsiteY26" fmla="*/ 2188689 h 3221116"/>
              <a:gd name="connsiteX27" fmla="*/ 2667011 w 3161851"/>
              <a:gd name="connsiteY27" fmla="*/ 2175828 h 3221116"/>
              <a:gd name="connsiteX28" fmla="*/ 2332141 w 3161851"/>
              <a:gd name="connsiteY28" fmla="*/ 653899 h 3221116"/>
              <a:gd name="connsiteX29" fmla="*/ 776764 w 3161851"/>
              <a:gd name="connsiteY29" fmla="*/ 749845 h 3221116"/>
              <a:gd name="connsiteX30" fmla="*/ 631487 w 3161851"/>
              <a:gd name="connsiteY30" fmla="*/ 2301392 h 3221116"/>
              <a:gd name="connsiteX31" fmla="*/ 2142017 w 3161851"/>
              <a:gd name="connsiteY31" fmla="*/ 2684410 h 3221116"/>
              <a:gd name="connsiteX32" fmla="*/ 2324866 w 3161851"/>
              <a:gd name="connsiteY32" fmla="*/ 3053856 h 3221116"/>
              <a:gd name="connsiteX33" fmla="*/ 294693 w 3161851"/>
              <a:gd name="connsiteY33" fmla="*/ 2539075 h 3221116"/>
              <a:gd name="connsiteX34" fmla="*/ 489947 w 3161851"/>
              <a:gd name="connsiteY34" fmla="*/ 453774 h 3221116"/>
              <a:gd name="connsiteX35" fmla="*/ 1651152 w 3161851"/>
              <a:gd name="connsiteY35" fmla="*/ 501 h 3221116"/>
              <a:gd name="connsiteX0" fmla="*/ 2664630 w 3182629"/>
              <a:gd name="connsiteY0" fmla="*/ 2175617 h 3221116"/>
              <a:gd name="connsiteX1" fmla="*/ 2658205 w 3182629"/>
              <a:gd name="connsiteY1" fmla="*/ 2178566 h 3221116"/>
              <a:gd name="connsiteX2" fmla="*/ 2664630 w 3182629"/>
              <a:gd name="connsiteY2" fmla="*/ 2175617 h 3221116"/>
              <a:gd name="connsiteX3" fmla="*/ 1477043 w 3182629"/>
              <a:gd name="connsiteY3" fmla="*/ 1144372 h 3221116"/>
              <a:gd name="connsiteX4" fmla="*/ 1409070 w 3182629"/>
              <a:gd name="connsiteY4" fmla="*/ 1159393 h 3221116"/>
              <a:gd name="connsiteX5" fmla="*/ 1152384 w 3182629"/>
              <a:gd name="connsiteY5" fmla="*/ 1703728 h 3221116"/>
              <a:gd name="connsiteX6" fmla="*/ 1514013 w 3182629"/>
              <a:gd name="connsiteY6" fmla="*/ 2152290 h 3221116"/>
              <a:gd name="connsiteX7" fmla="*/ 1850815 w 3182629"/>
              <a:gd name="connsiteY7" fmla="*/ 1654259 h 3221116"/>
              <a:gd name="connsiteX8" fmla="*/ 1830467 w 3182629"/>
              <a:gd name="connsiteY8" fmla="*/ 1515986 h 3221116"/>
              <a:gd name="connsiteX9" fmla="*/ 1477043 w 3182629"/>
              <a:gd name="connsiteY9" fmla="*/ 1144372 h 3221116"/>
              <a:gd name="connsiteX10" fmla="*/ 1651152 w 3182629"/>
              <a:gd name="connsiteY10" fmla="*/ 501 h 3221116"/>
              <a:gd name="connsiteX11" fmla="*/ 2580395 w 3182629"/>
              <a:gd name="connsiteY11" fmla="*/ 324821 h 3221116"/>
              <a:gd name="connsiteX12" fmla="*/ 3030464 w 3182629"/>
              <a:gd name="connsiteY12" fmla="*/ 2249544 h 3221116"/>
              <a:gd name="connsiteX13" fmla="*/ 2585849 w 3182629"/>
              <a:gd name="connsiteY13" fmla="*/ 2588887 h 3221116"/>
              <a:gd name="connsiteX14" fmla="*/ 1973374 w 3182629"/>
              <a:gd name="connsiteY14" fmla="*/ 2195096 h 3221116"/>
              <a:gd name="connsiteX15" fmla="*/ 1390827 w 3182629"/>
              <a:gd name="connsiteY15" fmla="*/ 2527630 h 3221116"/>
              <a:gd name="connsiteX16" fmla="*/ 783896 w 3182629"/>
              <a:gd name="connsiteY16" fmla="*/ 1665044 h 3221116"/>
              <a:gd name="connsiteX17" fmla="*/ 1268509 w 3182629"/>
              <a:gd name="connsiteY17" fmla="*/ 819983 h 3221116"/>
              <a:gd name="connsiteX18" fmla="*/ 1328805 w 3182629"/>
              <a:gd name="connsiteY18" fmla="*/ 807930 h 3221116"/>
              <a:gd name="connsiteX19" fmla="*/ 1390827 w 3182629"/>
              <a:gd name="connsiteY19" fmla="*/ 802457 h 3221116"/>
              <a:gd name="connsiteX20" fmla="*/ 1462242 w 3182629"/>
              <a:gd name="connsiteY20" fmla="*/ 801708 h 3221116"/>
              <a:gd name="connsiteX21" fmla="*/ 1956122 w 3182629"/>
              <a:gd name="connsiteY21" fmla="*/ 1110076 h 3221116"/>
              <a:gd name="connsiteX22" fmla="*/ 1973374 w 3182629"/>
              <a:gd name="connsiteY22" fmla="*/ 875315 h 3221116"/>
              <a:gd name="connsiteX23" fmla="*/ 2333414 w 3182629"/>
              <a:gd name="connsiteY23" fmla="*/ 875315 h 3221116"/>
              <a:gd name="connsiteX24" fmla="*/ 2324788 w 3182629"/>
              <a:gd name="connsiteY24" fmla="*/ 2054049 h 3221116"/>
              <a:gd name="connsiteX25" fmla="*/ 2661746 w 3182629"/>
              <a:gd name="connsiteY25" fmla="*/ 2179658 h 3221116"/>
              <a:gd name="connsiteX26" fmla="*/ 2691046 w 3182629"/>
              <a:gd name="connsiteY26" fmla="*/ 2188689 h 3221116"/>
              <a:gd name="connsiteX27" fmla="*/ 2667011 w 3182629"/>
              <a:gd name="connsiteY27" fmla="*/ 2175828 h 3221116"/>
              <a:gd name="connsiteX28" fmla="*/ 2332141 w 3182629"/>
              <a:gd name="connsiteY28" fmla="*/ 653899 h 3221116"/>
              <a:gd name="connsiteX29" fmla="*/ 776764 w 3182629"/>
              <a:gd name="connsiteY29" fmla="*/ 749845 h 3221116"/>
              <a:gd name="connsiteX30" fmla="*/ 631487 w 3182629"/>
              <a:gd name="connsiteY30" fmla="*/ 2301392 h 3221116"/>
              <a:gd name="connsiteX31" fmla="*/ 2142017 w 3182629"/>
              <a:gd name="connsiteY31" fmla="*/ 2684410 h 3221116"/>
              <a:gd name="connsiteX32" fmla="*/ 2324866 w 3182629"/>
              <a:gd name="connsiteY32" fmla="*/ 3053856 h 3221116"/>
              <a:gd name="connsiteX33" fmla="*/ 294693 w 3182629"/>
              <a:gd name="connsiteY33" fmla="*/ 2539075 h 3221116"/>
              <a:gd name="connsiteX34" fmla="*/ 489947 w 3182629"/>
              <a:gd name="connsiteY34" fmla="*/ 453774 h 3221116"/>
              <a:gd name="connsiteX35" fmla="*/ 1651152 w 3182629"/>
              <a:gd name="connsiteY35" fmla="*/ 501 h 3221116"/>
              <a:gd name="connsiteX0" fmla="*/ 2664630 w 3189723"/>
              <a:gd name="connsiteY0" fmla="*/ 2175617 h 3221116"/>
              <a:gd name="connsiteX1" fmla="*/ 2658205 w 3189723"/>
              <a:gd name="connsiteY1" fmla="*/ 2178566 h 3221116"/>
              <a:gd name="connsiteX2" fmla="*/ 2664630 w 3189723"/>
              <a:gd name="connsiteY2" fmla="*/ 2175617 h 3221116"/>
              <a:gd name="connsiteX3" fmla="*/ 1477043 w 3189723"/>
              <a:gd name="connsiteY3" fmla="*/ 1144372 h 3221116"/>
              <a:gd name="connsiteX4" fmla="*/ 1409070 w 3189723"/>
              <a:gd name="connsiteY4" fmla="*/ 1159393 h 3221116"/>
              <a:gd name="connsiteX5" fmla="*/ 1152384 w 3189723"/>
              <a:gd name="connsiteY5" fmla="*/ 1703728 h 3221116"/>
              <a:gd name="connsiteX6" fmla="*/ 1514013 w 3189723"/>
              <a:gd name="connsiteY6" fmla="*/ 2152290 h 3221116"/>
              <a:gd name="connsiteX7" fmla="*/ 1850815 w 3189723"/>
              <a:gd name="connsiteY7" fmla="*/ 1654259 h 3221116"/>
              <a:gd name="connsiteX8" fmla="*/ 1830467 w 3189723"/>
              <a:gd name="connsiteY8" fmla="*/ 1515986 h 3221116"/>
              <a:gd name="connsiteX9" fmla="*/ 1477043 w 3189723"/>
              <a:gd name="connsiteY9" fmla="*/ 1144372 h 3221116"/>
              <a:gd name="connsiteX10" fmla="*/ 1651152 w 3189723"/>
              <a:gd name="connsiteY10" fmla="*/ 501 h 3221116"/>
              <a:gd name="connsiteX11" fmla="*/ 2580395 w 3189723"/>
              <a:gd name="connsiteY11" fmla="*/ 324821 h 3221116"/>
              <a:gd name="connsiteX12" fmla="*/ 3030464 w 3189723"/>
              <a:gd name="connsiteY12" fmla="*/ 2249544 h 3221116"/>
              <a:gd name="connsiteX13" fmla="*/ 2585849 w 3189723"/>
              <a:gd name="connsiteY13" fmla="*/ 2588887 h 3221116"/>
              <a:gd name="connsiteX14" fmla="*/ 1973374 w 3189723"/>
              <a:gd name="connsiteY14" fmla="*/ 2195096 h 3221116"/>
              <a:gd name="connsiteX15" fmla="*/ 1390827 w 3189723"/>
              <a:gd name="connsiteY15" fmla="*/ 2527630 h 3221116"/>
              <a:gd name="connsiteX16" fmla="*/ 783896 w 3189723"/>
              <a:gd name="connsiteY16" fmla="*/ 1665044 h 3221116"/>
              <a:gd name="connsiteX17" fmla="*/ 1268509 w 3189723"/>
              <a:gd name="connsiteY17" fmla="*/ 819983 h 3221116"/>
              <a:gd name="connsiteX18" fmla="*/ 1328805 w 3189723"/>
              <a:gd name="connsiteY18" fmla="*/ 807930 h 3221116"/>
              <a:gd name="connsiteX19" fmla="*/ 1390827 w 3189723"/>
              <a:gd name="connsiteY19" fmla="*/ 802457 h 3221116"/>
              <a:gd name="connsiteX20" fmla="*/ 1462242 w 3189723"/>
              <a:gd name="connsiteY20" fmla="*/ 801708 h 3221116"/>
              <a:gd name="connsiteX21" fmla="*/ 1956122 w 3189723"/>
              <a:gd name="connsiteY21" fmla="*/ 1110076 h 3221116"/>
              <a:gd name="connsiteX22" fmla="*/ 1973374 w 3189723"/>
              <a:gd name="connsiteY22" fmla="*/ 875315 h 3221116"/>
              <a:gd name="connsiteX23" fmla="*/ 2333414 w 3189723"/>
              <a:gd name="connsiteY23" fmla="*/ 875315 h 3221116"/>
              <a:gd name="connsiteX24" fmla="*/ 2324788 w 3189723"/>
              <a:gd name="connsiteY24" fmla="*/ 2054049 h 3221116"/>
              <a:gd name="connsiteX25" fmla="*/ 2661746 w 3189723"/>
              <a:gd name="connsiteY25" fmla="*/ 2179658 h 3221116"/>
              <a:gd name="connsiteX26" fmla="*/ 2691046 w 3189723"/>
              <a:gd name="connsiteY26" fmla="*/ 2188689 h 3221116"/>
              <a:gd name="connsiteX27" fmla="*/ 2667011 w 3189723"/>
              <a:gd name="connsiteY27" fmla="*/ 2175828 h 3221116"/>
              <a:gd name="connsiteX28" fmla="*/ 2332141 w 3189723"/>
              <a:gd name="connsiteY28" fmla="*/ 653899 h 3221116"/>
              <a:gd name="connsiteX29" fmla="*/ 776764 w 3189723"/>
              <a:gd name="connsiteY29" fmla="*/ 749845 h 3221116"/>
              <a:gd name="connsiteX30" fmla="*/ 631487 w 3189723"/>
              <a:gd name="connsiteY30" fmla="*/ 2301392 h 3221116"/>
              <a:gd name="connsiteX31" fmla="*/ 2142017 w 3189723"/>
              <a:gd name="connsiteY31" fmla="*/ 2684410 h 3221116"/>
              <a:gd name="connsiteX32" fmla="*/ 2324866 w 3189723"/>
              <a:gd name="connsiteY32" fmla="*/ 3053856 h 3221116"/>
              <a:gd name="connsiteX33" fmla="*/ 294693 w 3189723"/>
              <a:gd name="connsiteY33" fmla="*/ 2539075 h 3221116"/>
              <a:gd name="connsiteX34" fmla="*/ 489947 w 3189723"/>
              <a:gd name="connsiteY34" fmla="*/ 453774 h 3221116"/>
              <a:gd name="connsiteX35" fmla="*/ 1651152 w 3189723"/>
              <a:gd name="connsiteY35" fmla="*/ 501 h 3221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3189723" h="3221116">
                <a:moveTo>
                  <a:pt x="2664630" y="2175617"/>
                </a:moveTo>
                <a:lnTo>
                  <a:pt x="2658205" y="2178566"/>
                </a:lnTo>
                <a:cubicBezTo>
                  <a:pt x="2662222" y="2175972"/>
                  <a:pt x="2664284" y="2175096"/>
                  <a:pt x="2664630" y="2175617"/>
                </a:cubicBezTo>
                <a:close/>
                <a:moveTo>
                  <a:pt x="1477043" y="1144372"/>
                </a:moveTo>
                <a:lnTo>
                  <a:pt x="1409070" y="1159393"/>
                </a:lnTo>
                <a:cubicBezTo>
                  <a:pt x="1167974" y="1216277"/>
                  <a:pt x="1134894" y="1538245"/>
                  <a:pt x="1152384" y="1703728"/>
                </a:cubicBezTo>
                <a:cubicBezTo>
                  <a:pt x="1169874" y="1869211"/>
                  <a:pt x="1272747" y="2156947"/>
                  <a:pt x="1514013" y="2152290"/>
                </a:cubicBezTo>
                <a:cubicBezTo>
                  <a:pt x="1680659" y="2149073"/>
                  <a:pt x="1865876" y="1940767"/>
                  <a:pt x="1850815" y="1654259"/>
                </a:cubicBezTo>
                <a:cubicBezTo>
                  <a:pt x="1844015" y="1608142"/>
                  <a:pt x="1837162" y="1561942"/>
                  <a:pt x="1830467" y="1515986"/>
                </a:cubicBezTo>
                <a:cubicBezTo>
                  <a:pt x="1779361" y="1292438"/>
                  <a:pt x="1635542" y="1134285"/>
                  <a:pt x="1477043" y="1144372"/>
                </a:cubicBezTo>
                <a:close/>
                <a:moveTo>
                  <a:pt x="1651152" y="501"/>
                </a:moveTo>
                <a:cubicBezTo>
                  <a:pt x="1977584" y="8635"/>
                  <a:pt x="2235425" y="52153"/>
                  <a:pt x="2580395" y="324821"/>
                </a:cubicBezTo>
                <a:cubicBezTo>
                  <a:pt x="3000061" y="656529"/>
                  <a:pt x="3430704" y="1549940"/>
                  <a:pt x="3030464" y="2249544"/>
                </a:cubicBezTo>
                <a:cubicBezTo>
                  <a:pt x="2882259" y="2451798"/>
                  <a:pt x="2785813" y="2507403"/>
                  <a:pt x="2585849" y="2588887"/>
                </a:cubicBezTo>
                <a:cubicBezTo>
                  <a:pt x="2194785" y="2615774"/>
                  <a:pt x="1984876" y="2478759"/>
                  <a:pt x="1973374" y="2195096"/>
                </a:cubicBezTo>
                <a:cubicBezTo>
                  <a:pt x="1841986" y="2496540"/>
                  <a:pt x="1610941" y="2555551"/>
                  <a:pt x="1390827" y="2527630"/>
                </a:cubicBezTo>
                <a:cubicBezTo>
                  <a:pt x="1131071" y="2494680"/>
                  <a:pt x="853863" y="2136270"/>
                  <a:pt x="783896" y="1665044"/>
                </a:cubicBezTo>
                <a:cubicBezTo>
                  <a:pt x="715204" y="1202409"/>
                  <a:pt x="991941" y="900416"/>
                  <a:pt x="1268509" y="819983"/>
                </a:cubicBezTo>
                <a:cubicBezTo>
                  <a:pt x="1288264" y="814237"/>
                  <a:pt x="1308391" y="810536"/>
                  <a:pt x="1328805" y="807930"/>
                </a:cubicBezTo>
                <a:cubicBezTo>
                  <a:pt x="1349219" y="805325"/>
                  <a:pt x="1369921" y="803817"/>
                  <a:pt x="1390827" y="802457"/>
                </a:cubicBezTo>
                <a:cubicBezTo>
                  <a:pt x="1416795" y="800769"/>
                  <a:pt x="1355770" y="788713"/>
                  <a:pt x="1462242" y="801708"/>
                </a:cubicBezTo>
                <a:cubicBezTo>
                  <a:pt x="1599590" y="818472"/>
                  <a:pt x="1776043" y="890774"/>
                  <a:pt x="1956122" y="1110076"/>
                </a:cubicBezTo>
                <a:lnTo>
                  <a:pt x="1973374" y="875315"/>
                </a:lnTo>
                <a:lnTo>
                  <a:pt x="2333414" y="875315"/>
                </a:lnTo>
                <a:cubicBezTo>
                  <a:pt x="2330539" y="1325736"/>
                  <a:pt x="2327663" y="1603628"/>
                  <a:pt x="2324788" y="2054049"/>
                </a:cubicBezTo>
                <a:cubicBezTo>
                  <a:pt x="2290850" y="2479718"/>
                  <a:pt x="2627788" y="2217580"/>
                  <a:pt x="2661746" y="2179658"/>
                </a:cubicBezTo>
                <a:lnTo>
                  <a:pt x="2691046" y="2188689"/>
                </a:lnTo>
                <a:lnTo>
                  <a:pt x="2667011" y="2175828"/>
                </a:lnTo>
                <a:cubicBezTo>
                  <a:pt x="2945550" y="1655295"/>
                  <a:pt x="2803444" y="1009445"/>
                  <a:pt x="2332141" y="653899"/>
                </a:cubicBezTo>
                <a:cubicBezTo>
                  <a:pt x="1860838" y="298353"/>
                  <a:pt x="1200794" y="339069"/>
                  <a:pt x="776764" y="749845"/>
                </a:cubicBezTo>
                <a:cubicBezTo>
                  <a:pt x="352733" y="1160621"/>
                  <a:pt x="291083" y="1819040"/>
                  <a:pt x="631487" y="2301392"/>
                </a:cubicBezTo>
                <a:cubicBezTo>
                  <a:pt x="971891" y="2783745"/>
                  <a:pt x="1612904" y="2946283"/>
                  <a:pt x="2142017" y="2684410"/>
                </a:cubicBezTo>
                <a:lnTo>
                  <a:pt x="2324866" y="3053856"/>
                </a:lnTo>
                <a:cubicBezTo>
                  <a:pt x="1613730" y="3405817"/>
                  <a:pt x="752200" y="3187363"/>
                  <a:pt x="294693" y="2539075"/>
                </a:cubicBezTo>
                <a:cubicBezTo>
                  <a:pt x="-162814" y="1890787"/>
                  <a:pt x="-79956" y="1005863"/>
                  <a:pt x="489947" y="453774"/>
                </a:cubicBezTo>
                <a:cubicBezTo>
                  <a:pt x="810518" y="143225"/>
                  <a:pt x="1231454" y="-9956"/>
                  <a:pt x="1651152" y="50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103" name="Left Arrow 1">
            <a:extLst>
              <a:ext uri="{FF2B5EF4-FFF2-40B4-BE49-F238E27FC236}">
                <a16:creationId xmlns:a16="http://schemas.microsoft.com/office/drawing/2014/main" id="{1947BE1D-5A1D-43CF-B583-1D9110F2864D}"/>
              </a:ext>
            </a:extLst>
          </p:cNvPr>
          <p:cNvSpPr>
            <a:spLocks noChangeAspect="1"/>
          </p:cNvSpPr>
          <p:nvPr/>
        </p:nvSpPr>
        <p:spPr>
          <a:xfrm>
            <a:off x="11088980" y="5624208"/>
            <a:ext cx="544340" cy="529812"/>
          </a:xfrm>
          <a:custGeom>
            <a:avLst/>
            <a:gdLst/>
            <a:ahLst/>
            <a:cxnLst/>
            <a:rect l="l" t="t" r="r" b="b"/>
            <a:pathLst>
              <a:path w="3306630" h="3218379">
                <a:moveTo>
                  <a:pt x="0" y="2085651"/>
                </a:moveTo>
                <a:cubicBezTo>
                  <a:pt x="253919" y="2342528"/>
                  <a:pt x="881542" y="2297196"/>
                  <a:pt x="1388167" y="2271654"/>
                </a:cubicBezTo>
                <a:lnTo>
                  <a:pt x="1417952" y="2988872"/>
                </a:lnTo>
                <a:lnTo>
                  <a:pt x="717647" y="2950294"/>
                </a:lnTo>
                <a:cubicBezTo>
                  <a:pt x="467617" y="2928101"/>
                  <a:pt x="217417" y="2555860"/>
                  <a:pt x="0" y="2085651"/>
                </a:cubicBezTo>
                <a:close/>
                <a:moveTo>
                  <a:pt x="1969797" y="2019847"/>
                </a:moveTo>
                <a:lnTo>
                  <a:pt x="1969797" y="2274913"/>
                </a:lnTo>
                <a:lnTo>
                  <a:pt x="2657809" y="2274913"/>
                </a:lnTo>
                <a:cubicBezTo>
                  <a:pt x="2787205" y="2599270"/>
                  <a:pt x="2968360" y="2923626"/>
                  <a:pt x="2675062" y="2954686"/>
                </a:cubicBezTo>
                <a:lnTo>
                  <a:pt x="1969797" y="2963313"/>
                </a:lnTo>
                <a:lnTo>
                  <a:pt x="1969797" y="3218379"/>
                </a:lnTo>
                <a:lnTo>
                  <a:pt x="1429598" y="2619113"/>
                </a:lnTo>
                <a:close/>
                <a:moveTo>
                  <a:pt x="2961009" y="1275432"/>
                </a:moveTo>
                <a:lnTo>
                  <a:pt x="3277752" y="1901203"/>
                </a:lnTo>
                <a:cubicBezTo>
                  <a:pt x="3383548" y="2128832"/>
                  <a:pt x="3186278" y="2531632"/>
                  <a:pt x="2887773" y="2955026"/>
                </a:cubicBezTo>
                <a:cubicBezTo>
                  <a:pt x="2983276" y="2606687"/>
                  <a:pt x="2630206" y="2085815"/>
                  <a:pt x="2354773" y="1659836"/>
                </a:cubicBezTo>
                <a:close/>
                <a:moveTo>
                  <a:pt x="1019997" y="990789"/>
                </a:moveTo>
                <a:lnTo>
                  <a:pt x="1268877" y="1758248"/>
                </a:lnTo>
                <a:lnTo>
                  <a:pt x="1047983" y="1630715"/>
                </a:lnTo>
                <a:lnTo>
                  <a:pt x="703977" y="2226552"/>
                </a:lnTo>
                <a:cubicBezTo>
                  <a:pt x="358378" y="2176433"/>
                  <a:pt x="-13100" y="2171140"/>
                  <a:pt x="106650" y="1901606"/>
                </a:cubicBezTo>
                <a:lnTo>
                  <a:pt x="451811" y="1286515"/>
                </a:lnTo>
                <a:lnTo>
                  <a:pt x="230918" y="1158982"/>
                </a:lnTo>
                <a:close/>
                <a:moveTo>
                  <a:pt x="2174825" y="119764"/>
                </a:moveTo>
                <a:cubicBezTo>
                  <a:pt x="2220451" y="119103"/>
                  <a:pt x="2264887" y="143875"/>
                  <a:pt x="2308274" y="203493"/>
                </a:cubicBezTo>
                <a:lnTo>
                  <a:pt x="2668377" y="809957"/>
                </a:lnTo>
                <a:lnTo>
                  <a:pt x="2889271" y="682424"/>
                </a:lnTo>
                <a:lnTo>
                  <a:pt x="2640391" y="1449883"/>
                </a:lnTo>
                <a:lnTo>
                  <a:pt x="1851312" y="1281690"/>
                </a:lnTo>
                <a:lnTo>
                  <a:pt x="2072206" y="1154157"/>
                </a:lnTo>
                <a:lnTo>
                  <a:pt x="1728200" y="558321"/>
                </a:lnTo>
                <a:cubicBezTo>
                  <a:pt x="1890352" y="352642"/>
                  <a:pt x="2037947" y="121750"/>
                  <a:pt x="2174825" y="119764"/>
                </a:cubicBezTo>
                <a:close/>
                <a:moveTo>
                  <a:pt x="1831774" y="30"/>
                </a:moveTo>
                <a:cubicBezTo>
                  <a:pt x="1948530" y="539"/>
                  <a:pt x="2073232" y="7407"/>
                  <a:pt x="2202212" y="19111"/>
                </a:cubicBezTo>
                <a:cubicBezTo>
                  <a:pt x="1852790" y="110572"/>
                  <a:pt x="1578238" y="676776"/>
                  <a:pt x="1347045" y="1128297"/>
                </a:cubicBezTo>
                <a:lnTo>
                  <a:pt x="711024" y="795483"/>
                </a:lnTo>
                <a:lnTo>
                  <a:pt x="1094586" y="208291"/>
                </a:lnTo>
                <a:cubicBezTo>
                  <a:pt x="1202761" y="54213"/>
                  <a:pt x="1481508" y="-1496"/>
                  <a:pt x="1831774" y="3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104" name="Oval 35">
            <a:extLst>
              <a:ext uri="{FF2B5EF4-FFF2-40B4-BE49-F238E27FC236}">
                <a16:creationId xmlns:a16="http://schemas.microsoft.com/office/drawing/2014/main" id="{BCF76AF1-1ADE-45FB-9D44-99BC7FEECFA3}"/>
              </a:ext>
            </a:extLst>
          </p:cNvPr>
          <p:cNvSpPr/>
          <p:nvPr/>
        </p:nvSpPr>
        <p:spPr>
          <a:xfrm>
            <a:off x="10359195" y="5625275"/>
            <a:ext cx="426213" cy="537400"/>
          </a:xfrm>
          <a:custGeom>
            <a:avLst/>
            <a:gdLst/>
            <a:ahLst/>
            <a:cxnLst/>
            <a:rect l="l" t="t" r="r" b="b"/>
            <a:pathLst>
              <a:path w="2548531" h="3213371">
                <a:moveTo>
                  <a:pt x="792000" y="2498954"/>
                </a:moveTo>
                <a:lnTo>
                  <a:pt x="792000" y="2641726"/>
                </a:lnTo>
                <a:cubicBezTo>
                  <a:pt x="463357" y="2661706"/>
                  <a:pt x="216000" y="2748872"/>
                  <a:pt x="216000" y="2853371"/>
                </a:cubicBezTo>
                <a:cubicBezTo>
                  <a:pt x="216000" y="2972665"/>
                  <a:pt x="538355" y="3069371"/>
                  <a:pt x="936000" y="3069371"/>
                </a:cubicBezTo>
                <a:cubicBezTo>
                  <a:pt x="1333645" y="3069371"/>
                  <a:pt x="1656000" y="2972665"/>
                  <a:pt x="1656000" y="2853371"/>
                </a:cubicBezTo>
                <a:cubicBezTo>
                  <a:pt x="1656000" y="2748872"/>
                  <a:pt x="1408644" y="2661706"/>
                  <a:pt x="1080000" y="2641726"/>
                </a:cubicBezTo>
                <a:lnTo>
                  <a:pt x="1080000" y="2498954"/>
                </a:lnTo>
                <a:cubicBezTo>
                  <a:pt x="1528614" y="2524263"/>
                  <a:pt x="1872000" y="2673393"/>
                  <a:pt x="1872000" y="2853371"/>
                </a:cubicBezTo>
                <a:cubicBezTo>
                  <a:pt x="1872000" y="3052194"/>
                  <a:pt x="1452939" y="3213371"/>
                  <a:pt x="936000" y="3213371"/>
                </a:cubicBezTo>
                <a:cubicBezTo>
                  <a:pt x="419061" y="3213371"/>
                  <a:pt x="0" y="3052194"/>
                  <a:pt x="0" y="2853371"/>
                </a:cubicBezTo>
                <a:cubicBezTo>
                  <a:pt x="0" y="2673393"/>
                  <a:pt x="343386" y="2524263"/>
                  <a:pt x="792000" y="2498954"/>
                </a:cubicBezTo>
                <a:close/>
                <a:moveTo>
                  <a:pt x="2190403" y="180020"/>
                </a:moveTo>
                <a:cubicBezTo>
                  <a:pt x="2388233" y="180020"/>
                  <a:pt x="2548531" y="236495"/>
                  <a:pt x="2548531" y="306081"/>
                </a:cubicBezTo>
                <a:lnTo>
                  <a:pt x="2548531" y="1314569"/>
                </a:lnTo>
                <a:cubicBezTo>
                  <a:pt x="2548531" y="1244983"/>
                  <a:pt x="2388233" y="1188508"/>
                  <a:pt x="2190403" y="1188508"/>
                </a:cubicBezTo>
                <a:cubicBezTo>
                  <a:pt x="1992574" y="1188508"/>
                  <a:pt x="1832276" y="1244983"/>
                  <a:pt x="1832276" y="1314569"/>
                </a:cubicBezTo>
                <a:cubicBezTo>
                  <a:pt x="1832276" y="1384155"/>
                  <a:pt x="1671978" y="1440630"/>
                  <a:pt x="1474148" y="1440630"/>
                </a:cubicBezTo>
                <a:cubicBezTo>
                  <a:pt x="1276318" y="1440630"/>
                  <a:pt x="1116020" y="1384155"/>
                  <a:pt x="1116020" y="1314569"/>
                </a:cubicBezTo>
                <a:lnTo>
                  <a:pt x="1116020" y="306081"/>
                </a:lnTo>
                <a:cubicBezTo>
                  <a:pt x="1116020" y="375667"/>
                  <a:pt x="1276318" y="432142"/>
                  <a:pt x="1474148" y="432142"/>
                </a:cubicBezTo>
                <a:cubicBezTo>
                  <a:pt x="1671978" y="432142"/>
                  <a:pt x="1832276" y="375667"/>
                  <a:pt x="1832276" y="306081"/>
                </a:cubicBezTo>
                <a:cubicBezTo>
                  <a:pt x="1832276" y="236495"/>
                  <a:pt x="1992574" y="180020"/>
                  <a:pt x="2190403" y="180020"/>
                </a:cubicBezTo>
                <a:close/>
                <a:moveTo>
                  <a:pt x="936000" y="0"/>
                </a:moveTo>
                <a:cubicBezTo>
                  <a:pt x="1035422" y="0"/>
                  <a:pt x="1116020" y="80598"/>
                  <a:pt x="1116020" y="180020"/>
                </a:cubicBezTo>
                <a:cubicBezTo>
                  <a:pt x="1116020" y="246019"/>
                  <a:pt x="1080504" y="303723"/>
                  <a:pt x="1026000" y="332457"/>
                </a:cubicBezTo>
                <a:lnTo>
                  <a:pt x="1026000" y="2887874"/>
                </a:lnTo>
                <a:lnTo>
                  <a:pt x="846000" y="2887874"/>
                </a:lnTo>
                <a:lnTo>
                  <a:pt x="846000" y="332457"/>
                </a:lnTo>
                <a:cubicBezTo>
                  <a:pt x="791497" y="303723"/>
                  <a:pt x="755980" y="246019"/>
                  <a:pt x="755980" y="180020"/>
                </a:cubicBezTo>
                <a:cubicBezTo>
                  <a:pt x="755980" y="80598"/>
                  <a:pt x="836578" y="0"/>
                  <a:pt x="936000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</p:spTree>
    <p:extLst>
      <p:ext uri="{BB962C8B-B14F-4D97-AF65-F5344CB8AC3E}">
        <p14:creationId xmlns:p14="http://schemas.microsoft.com/office/powerpoint/2010/main" val="21268218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Fully Editable Icon Sets: C</a:t>
            </a:r>
          </a:p>
        </p:txBody>
      </p:sp>
      <p:sp>
        <p:nvSpPr>
          <p:cNvPr id="54" name="Isosceles Triangle 68">
            <a:extLst>
              <a:ext uri="{FF2B5EF4-FFF2-40B4-BE49-F238E27FC236}">
                <a16:creationId xmlns:a16="http://schemas.microsoft.com/office/drawing/2014/main" id="{870C564B-4826-4504-AD55-BCA183FFA29B}"/>
              </a:ext>
            </a:extLst>
          </p:cNvPr>
          <p:cNvSpPr/>
          <p:nvPr/>
        </p:nvSpPr>
        <p:spPr>
          <a:xfrm rot="10800000">
            <a:off x="7871934" y="4610240"/>
            <a:ext cx="220703" cy="687310"/>
          </a:xfrm>
          <a:custGeom>
            <a:avLst/>
            <a:gdLst/>
            <a:ahLst/>
            <a:cxnLst/>
            <a:rect l="l" t="t" r="r" b="b"/>
            <a:pathLst>
              <a:path w="1040400" h="3240000">
                <a:moveTo>
                  <a:pt x="41345" y="940666"/>
                </a:moveTo>
                <a:lnTo>
                  <a:pt x="1242" y="653403"/>
                </a:lnTo>
                <a:lnTo>
                  <a:pt x="0" y="653403"/>
                </a:lnTo>
                <a:lnTo>
                  <a:pt x="1057" y="652077"/>
                </a:lnTo>
                <a:lnTo>
                  <a:pt x="447" y="647712"/>
                </a:lnTo>
                <a:lnTo>
                  <a:pt x="4531" y="647712"/>
                </a:lnTo>
                <a:lnTo>
                  <a:pt x="520200" y="0"/>
                </a:lnTo>
                <a:lnTo>
                  <a:pt x="659109" y="174478"/>
                </a:lnTo>
                <a:close/>
                <a:moveTo>
                  <a:pt x="101622" y="1372451"/>
                </a:moveTo>
                <a:lnTo>
                  <a:pt x="61820" y="1087335"/>
                </a:lnTo>
                <a:lnTo>
                  <a:pt x="728036" y="261055"/>
                </a:lnTo>
                <a:lnTo>
                  <a:pt x="870500" y="439998"/>
                </a:lnTo>
                <a:lnTo>
                  <a:pt x="860164" y="431664"/>
                </a:lnTo>
                <a:close/>
                <a:moveTo>
                  <a:pt x="161365" y="1800403"/>
                </a:moveTo>
                <a:lnTo>
                  <a:pt x="122098" y="1519120"/>
                </a:lnTo>
                <a:lnTo>
                  <a:pt x="930953" y="515931"/>
                </a:lnTo>
                <a:lnTo>
                  <a:pt x="1035869" y="647712"/>
                </a:lnTo>
                <a:lnTo>
                  <a:pt x="1039954" y="647712"/>
                </a:lnTo>
                <a:lnTo>
                  <a:pt x="1039345" y="652078"/>
                </a:lnTo>
                <a:lnTo>
                  <a:pt x="1040400" y="653403"/>
                </a:lnTo>
                <a:lnTo>
                  <a:pt x="1039160" y="653403"/>
                </a:lnTo>
                <a:lnTo>
                  <a:pt x="1029316" y="723920"/>
                </a:lnTo>
                <a:close/>
                <a:moveTo>
                  <a:pt x="217894" y="2205330"/>
                </a:moveTo>
                <a:lnTo>
                  <a:pt x="181840" y="1947070"/>
                </a:lnTo>
                <a:lnTo>
                  <a:pt x="1000266" y="932012"/>
                </a:lnTo>
                <a:lnTo>
                  <a:pt x="949113" y="1298429"/>
                </a:lnTo>
                <a:close/>
                <a:moveTo>
                  <a:pt x="330192" y="2564220"/>
                </a:moveTo>
                <a:lnTo>
                  <a:pt x="267995" y="2564220"/>
                </a:lnTo>
                <a:lnTo>
                  <a:pt x="237100" y="2342912"/>
                </a:lnTo>
                <a:lnTo>
                  <a:pt x="242309" y="2347112"/>
                </a:lnTo>
                <a:lnTo>
                  <a:pt x="920063" y="1506522"/>
                </a:lnTo>
                <a:lnTo>
                  <a:pt x="865005" y="1900914"/>
                </a:lnTo>
                <a:close/>
                <a:moveTo>
                  <a:pt x="772406" y="2564220"/>
                </a:moveTo>
                <a:lnTo>
                  <a:pt x="468924" y="2564220"/>
                </a:lnTo>
                <a:lnTo>
                  <a:pt x="835955" y="2109008"/>
                </a:lnTo>
                <a:close/>
                <a:moveTo>
                  <a:pt x="892044" y="3240000"/>
                </a:moveTo>
                <a:lnTo>
                  <a:pt x="148356" y="3240000"/>
                </a:lnTo>
                <a:lnTo>
                  <a:pt x="276144" y="2663936"/>
                </a:lnTo>
                <a:lnTo>
                  <a:pt x="764256" y="26639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55" name="Rectangle 9">
            <a:extLst>
              <a:ext uri="{FF2B5EF4-FFF2-40B4-BE49-F238E27FC236}">
                <a16:creationId xmlns:a16="http://schemas.microsoft.com/office/drawing/2014/main" id="{F4DF7C3C-D955-465B-A7ED-DA6CEFF74209}"/>
              </a:ext>
            </a:extLst>
          </p:cNvPr>
          <p:cNvSpPr/>
          <p:nvPr/>
        </p:nvSpPr>
        <p:spPr>
          <a:xfrm>
            <a:off x="8435540" y="4689594"/>
            <a:ext cx="529466" cy="528605"/>
          </a:xfrm>
          <a:custGeom>
            <a:avLst/>
            <a:gdLst/>
            <a:ahLst/>
            <a:cxnLst/>
            <a:rect l="l" t="t" r="r" b="b"/>
            <a:pathLst>
              <a:path w="3228210" h="3222968">
                <a:moveTo>
                  <a:pt x="1619999" y="642446"/>
                </a:moveTo>
                <a:lnTo>
                  <a:pt x="2664115" y="1686562"/>
                </a:lnTo>
                <a:lnTo>
                  <a:pt x="2664116" y="1686562"/>
                </a:lnTo>
                <a:lnTo>
                  <a:pt x="2664116" y="3222968"/>
                </a:lnTo>
                <a:lnTo>
                  <a:pt x="2015013" y="3222968"/>
                </a:lnTo>
                <a:lnTo>
                  <a:pt x="2015013" y="2511495"/>
                </a:lnTo>
                <a:cubicBezTo>
                  <a:pt x="2015013" y="2399422"/>
                  <a:pt x="1924159" y="2308568"/>
                  <a:pt x="1812086" y="2308568"/>
                </a:cubicBezTo>
                <a:lnTo>
                  <a:pt x="1427912" y="2308568"/>
                </a:lnTo>
                <a:cubicBezTo>
                  <a:pt x="1315839" y="2308568"/>
                  <a:pt x="1224985" y="2399422"/>
                  <a:pt x="1224985" y="2511495"/>
                </a:cubicBezTo>
                <a:lnTo>
                  <a:pt x="1224985" y="3222968"/>
                </a:lnTo>
                <a:lnTo>
                  <a:pt x="575882" y="3222968"/>
                </a:lnTo>
                <a:lnTo>
                  <a:pt x="575882" y="1686562"/>
                </a:lnTo>
                <a:lnTo>
                  <a:pt x="575884" y="1686562"/>
                </a:lnTo>
                <a:close/>
                <a:moveTo>
                  <a:pt x="509997" y="122689"/>
                </a:moveTo>
                <a:lnTo>
                  <a:pt x="942045" y="122689"/>
                </a:lnTo>
                <a:lnTo>
                  <a:pt x="942045" y="542556"/>
                </a:lnTo>
                <a:lnTo>
                  <a:pt x="509997" y="974604"/>
                </a:lnTo>
                <a:close/>
                <a:moveTo>
                  <a:pt x="1620001" y="7099"/>
                </a:moveTo>
                <a:lnTo>
                  <a:pt x="3228210" y="1686560"/>
                </a:lnTo>
                <a:lnTo>
                  <a:pt x="2900441" y="1686560"/>
                </a:lnTo>
                <a:lnTo>
                  <a:pt x="1620001" y="349390"/>
                </a:lnTo>
                <a:close/>
                <a:moveTo>
                  <a:pt x="1619999" y="0"/>
                </a:moveTo>
                <a:lnTo>
                  <a:pt x="1619999" y="342291"/>
                </a:lnTo>
                <a:lnTo>
                  <a:pt x="330172" y="1679462"/>
                </a:lnTo>
                <a:lnTo>
                  <a:pt x="0" y="167946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56" name="Isosceles Triangle 8">
            <a:extLst>
              <a:ext uri="{FF2B5EF4-FFF2-40B4-BE49-F238E27FC236}">
                <a16:creationId xmlns:a16="http://schemas.microsoft.com/office/drawing/2014/main" id="{FED1BF7A-7546-4AF8-89CC-3CEC8A5874C0}"/>
              </a:ext>
            </a:extLst>
          </p:cNvPr>
          <p:cNvSpPr/>
          <p:nvPr/>
        </p:nvSpPr>
        <p:spPr>
          <a:xfrm rot="16200000">
            <a:off x="4359308" y="3634371"/>
            <a:ext cx="444149" cy="529543"/>
          </a:xfrm>
          <a:custGeom>
            <a:avLst/>
            <a:gdLst/>
            <a:ahLst/>
            <a:cxnLst/>
            <a:rect l="l" t="t" r="r" b="b"/>
            <a:pathLst>
              <a:path w="2708011" h="3228660">
                <a:moveTo>
                  <a:pt x="1895121" y="2005092"/>
                </a:moveTo>
                <a:cubicBezTo>
                  <a:pt x="1769067" y="2196199"/>
                  <a:pt x="1559641" y="2315968"/>
                  <a:pt x="1331007" y="2327705"/>
                </a:cubicBezTo>
                <a:cubicBezTo>
                  <a:pt x="1102373" y="2339443"/>
                  <a:pt x="881783" y="2241749"/>
                  <a:pt x="736821" y="2064556"/>
                </a:cubicBezTo>
                <a:lnTo>
                  <a:pt x="885891" y="1942602"/>
                </a:lnTo>
                <a:cubicBezTo>
                  <a:pt x="992076" y="2072396"/>
                  <a:pt x="1153658" y="2143956"/>
                  <a:pt x="1321132" y="2135359"/>
                </a:cubicBezTo>
                <a:cubicBezTo>
                  <a:pt x="1488607" y="2126761"/>
                  <a:pt x="1642011" y="2039030"/>
                  <a:pt x="1734346" y="1899045"/>
                </a:cubicBezTo>
                <a:close/>
                <a:moveTo>
                  <a:pt x="2315256" y="2179725"/>
                </a:moveTo>
                <a:cubicBezTo>
                  <a:pt x="2124977" y="2519973"/>
                  <a:pt x="1777729" y="2743099"/>
                  <a:pt x="1389179" y="2774782"/>
                </a:cubicBezTo>
                <a:cubicBezTo>
                  <a:pt x="1000629" y="2806465"/>
                  <a:pt x="621821" y="2642541"/>
                  <a:pt x="378934" y="2337614"/>
                </a:cubicBezTo>
                <a:lnTo>
                  <a:pt x="519502" y="2225645"/>
                </a:lnTo>
                <a:cubicBezTo>
                  <a:pt x="725082" y="2483736"/>
                  <a:pt x="1045705" y="2622480"/>
                  <a:pt x="1374574" y="2595664"/>
                </a:cubicBezTo>
                <a:cubicBezTo>
                  <a:pt x="1703443" y="2568848"/>
                  <a:pt x="1997353" y="2379994"/>
                  <a:pt x="2158406" y="2092008"/>
                </a:cubicBezTo>
                <a:close/>
                <a:moveTo>
                  <a:pt x="2315941" y="1615003"/>
                </a:moveTo>
                <a:lnTo>
                  <a:pt x="272242" y="1615003"/>
                </a:lnTo>
                <a:lnTo>
                  <a:pt x="872561" y="666216"/>
                </a:lnTo>
                <a:lnTo>
                  <a:pt x="872561" y="219906"/>
                </a:lnTo>
                <a:cubicBezTo>
                  <a:pt x="872561" y="98674"/>
                  <a:pt x="970839" y="396"/>
                  <a:pt x="1092071" y="396"/>
                </a:cubicBezTo>
                <a:lnTo>
                  <a:pt x="1293841" y="396"/>
                </a:lnTo>
                <a:lnTo>
                  <a:pt x="1294092" y="0"/>
                </a:lnTo>
                <a:lnTo>
                  <a:pt x="1294343" y="396"/>
                </a:lnTo>
                <a:lnTo>
                  <a:pt x="1470231" y="396"/>
                </a:lnTo>
                <a:cubicBezTo>
                  <a:pt x="1591463" y="396"/>
                  <a:pt x="1689741" y="98674"/>
                  <a:pt x="1689741" y="219906"/>
                </a:cubicBezTo>
                <a:lnTo>
                  <a:pt x="1689741" y="625313"/>
                </a:lnTo>
                <a:close/>
                <a:moveTo>
                  <a:pt x="2708011" y="2399368"/>
                </a:moveTo>
                <a:cubicBezTo>
                  <a:pt x="2440740" y="2877288"/>
                  <a:pt x="1950128" y="3187847"/>
                  <a:pt x="1403807" y="3224932"/>
                </a:cubicBezTo>
                <a:cubicBezTo>
                  <a:pt x="857486" y="3262017"/>
                  <a:pt x="329406" y="3020609"/>
                  <a:pt x="0" y="2583191"/>
                </a:cubicBezTo>
                <a:lnTo>
                  <a:pt x="143153" y="2475389"/>
                </a:lnTo>
                <a:cubicBezTo>
                  <a:pt x="436120" y="2864419"/>
                  <a:pt x="905784" y="3079123"/>
                  <a:pt x="1391671" y="3046140"/>
                </a:cubicBezTo>
                <a:cubicBezTo>
                  <a:pt x="1877558" y="3013157"/>
                  <a:pt x="2313899" y="2736952"/>
                  <a:pt x="2551604" y="2311899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57" name="Donut 8">
            <a:extLst>
              <a:ext uri="{FF2B5EF4-FFF2-40B4-BE49-F238E27FC236}">
                <a16:creationId xmlns:a16="http://schemas.microsoft.com/office/drawing/2014/main" id="{E6D41FF5-B672-4C8A-A062-73A4028D9602}"/>
              </a:ext>
            </a:extLst>
          </p:cNvPr>
          <p:cNvSpPr/>
          <p:nvPr/>
        </p:nvSpPr>
        <p:spPr>
          <a:xfrm>
            <a:off x="9475134" y="3608548"/>
            <a:ext cx="486216" cy="581184"/>
          </a:xfrm>
          <a:custGeom>
            <a:avLst/>
            <a:gdLst/>
            <a:ahLst/>
            <a:cxnLst/>
            <a:rect l="l" t="t" r="r" b="b"/>
            <a:pathLst>
              <a:path w="2688046" h="3213079">
                <a:moveTo>
                  <a:pt x="1056023" y="556744"/>
                </a:moveTo>
                <a:lnTo>
                  <a:pt x="1056023" y="906412"/>
                </a:lnTo>
                <a:cubicBezTo>
                  <a:pt x="641240" y="1029807"/>
                  <a:pt x="338989" y="1414134"/>
                  <a:pt x="338989" y="1869056"/>
                </a:cubicBezTo>
                <a:cubicBezTo>
                  <a:pt x="338989" y="2424121"/>
                  <a:pt x="788958" y="2874090"/>
                  <a:pt x="1344023" y="2874090"/>
                </a:cubicBezTo>
                <a:cubicBezTo>
                  <a:pt x="1899088" y="2874090"/>
                  <a:pt x="2349057" y="2424121"/>
                  <a:pt x="2349057" y="1869056"/>
                </a:cubicBezTo>
                <a:cubicBezTo>
                  <a:pt x="2349057" y="1414134"/>
                  <a:pt x="2046806" y="1029807"/>
                  <a:pt x="1632023" y="906412"/>
                </a:cubicBezTo>
                <a:lnTo>
                  <a:pt x="1632023" y="556744"/>
                </a:lnTo>
                <a:cubicBezTo>
                  <a:pt x="2235992" y="687900"/>
                  <a:pt x="2688046" y="1225687"/>
                  <a:pt x="2688046" y="1869056"/>
                </a:cubicBezTo>
                <a:cubicBezTo>
                  <a:pt x="2688046" y="2611339"/>
                  <a:pt x="2086306" y="3213079"/>
                  <a:pt x="1344023" y="3213079"/>
                </a:cubicBezTo>
                <a:cubicBezTo>
                  <a:pt x="601740" y="3213079"/>
                  <a:pt x="0" y="2611339"/>
                  <a:pt x="0" y="1869056"/>
                </a:cubicBezTo>
                <a:cubicBezTo>
                  <a:pt x="0" y="1225687"/>
                  <a:pt x="452054" y="687900"/>
                  <a:pt x="1056023" y="556744"/>
                </a:cubicBezTo>
                <a:close/>
                <a:moveTo>
                  <a:pt x="1344023" y="0"/>
                </a:moveTo>
                <a:cubicBezTo>
                  <a:pt x="1443445" y="0"/>
                  <a:pt x="1524043" y="80598"/>
                  <a:pt x="1524043" y="180020"/>
                </a:cubicBezTo>
                <a:lnTo>
                  <a:pt x="1524043" y="1413058"/>
                </a:lnTo>
                <a:cubicBezTo>
                  <a:pt x="1524043" y="1512480"/>
                  <a:pt x="1443445" y="1593078"/>
                  <a:pt x="1344023" y="1593078"/>
                </a:cubicBezTo>
                <a:cubicBezTo>
                  <a:pt x="1244601" y="1593078"/>
                  <a:pt x="1164003" y="1512480"/>
                  <a:pt x="1164003" y="1413058"/>
                </a:cubicBezTo>
                <a:lnTo>
                  <a:pt x="1164003" y="180020"/>
                </a:lnTo>
                <a:cubicBezTo>
                  <a:pt x="1164003" y="80598"/>
                  <a:pt x="1244601" y="0"/>
                  <a:pt x="1344023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58" name="Freeform 18">
            <a:extLst>
              <a:ext uri="{FF2B5EF4-FFF2-40B4-BE49-F238E27FC236}">
                <a16:creationId xmlns:a16="http://schemas.microsoft.com/office/drawing/2014/main" id="{F57ADD61-A5C9-4BA6-A485-F46349246C4A}"/>
              </a:ext>
            </a:extLst>
          </p:cNvPr>
          <p:cNvSpPr/>
          <p:nvPr/>
        </p:nvSpPr>
        <p:spPr>
          <a:xfrm>
            <a:off x="10104940" y="4747559"/>
            <a:ext cx="511325" cy="412677"/>
          </a:xfrm>
          <a:custGeom>
            <a:avLst/>
            <a:gdLst/>
            <a:ahLst/>
            <a:cxnLst/>
            <a:rect l="l" t="t" r="r" b="b"/>
            <a:pathLst>
              <a:path w="3307788" h="2669631">
                <a:moveTo>
                  <a:pt x="2793832" y="1478391"/>
                </a:moveTo>
                <a:cubicBezTo>
                  <a:pt x="2772990" y="1635402"/>
                  <a:pt x="2717678" y="1784517"/>
                  <a:pt x="2633007" y="1915952"/>
                </a:cubicBezTo>
                <a:cubicBezTo>
                  <a:pt x="2695386" y="1951862"/>
                  <a:pt x="2772768" y="1955673"/>
                  <a:pt x="2841607" y="1924185"/>
                </a:cubicBezTo>
                <a:cubicBezTo>
                  <a:pt x="2943442" y="1877605"/>
                  <a:pt x="2999062" y="1766364"/>
                  <a:pt x="2975226" y="1656948"/>
                </a:cubicBezTo>
                <a:cubicBezTo>
                  <a:pt x="2955176" y="1564911"/>
                  <a:pt x="2883463" y="1495086"/>
                  <a:pt x="2793832" y="1478391"/>
                </a:cubicBezTo>
                <a:close/>
                <a:moveTo>
                  <a:pt x="2807611" y="1247700"/>
                </a:moveTo>
                <a:lnTo>
                  <a:pt x="2807472" y="1256060"/>
                </a:lnTo>
                <a:cubicBezTo>
                  <a:pt x="2994195" y="1281771"/>
                  <a:pt x="3148201" y="1421768"/>
                  <a:pt x="3189276" y="1610317"/>
                </a:cubicBezTo>
                <a:cubicBezTo>
                  <a:pt x="3235041" y="1820393"/>
                  <a:pt x="3128252" y="2033972"/>
                  <a:pt x="2932732" y="2123406"/>
                </a:cubicBezTo>
                <a:cubicBezTo>
                  <a:pt x="2789297" y="2189015"/>
                  <a:pt x="2626543" y="2174805"/>
                  <a:pt x="2499470" y="2094044"/>
                </a:cubicBezTo>
                <a:cubicBezTo>
                  <a:pt x="2427194" y="2172627"/>
                  <a:pt x="2343030" y="2241391"/>
                  <a:pt x="2248861" y="2297980"/>
                </a:cubicBezTo>
                <a:cubicBezTo>
                  <a:pt x="2178351" y="2340352"/>
                  <a:pt x="2104446" y="2374567"/>
                  <a:pt x="2027600" y="2398134"/>
                </a:cubicBezTo>
                <a:lnTo>
                  <a:pt x="3307788" y="2397615"/>
                </a:lnTo>
                <a:cubicBezTo>
                  <a:pt x="3265361" y="2549905"/>
                  <a:pt x="2537441" y="2669620"/>
                  <a:pt x="1653814" y="2669631"/>
                </a:cubicBezTo>
                <a:cubicBezTo>
                  <a:pt x="773102" y="2669642"/>
                  <a:pt x="46417" y="2550707"/>
                  <a:pt x="0" y="2398955"/>
                </a:cubicBezTo>
                <a:lnTo>
                  <a:pt x="1280678" y="2398436"/>
                </a:lnTo>
                <a:cubicBezTo>
                  <a:pt x="1203764" y="2374915"/>
                  <a:pt x="1129786" y="2340732"/>
                  <a:pt x="1059201" y="2298380"/>
                </a:cubicBezTo>
                <a:cubicBezTo>
                  <a:pt x="693039" y="2078675"/>
                  <a:pt x="477900" y="1674935"/>
                  <a:pt x="499745" y="1248476"/>
                </a:cubicBezTo>
                <a:close/>
                <a:moveTo>
                  <a:pt x="1331611" y="201752"/>
                </a:moveTo>
                <a:cubicBezTo>
                  <a:pt x="1206335" y="290902"/>
                  <a:pt x="1124761" y="308382"/>
                  <a:pt x="1132336" y="435988"/>
                </a:cubicBezTo>
                <a:cubicBezTo>
                  <a:pt x="1160888" y="640507"/>
                  <a:pt x="1527973" y="617783"/>
                  <a:pt x="1498839" y="840365"/>
                </a:cubicBezTo>
                <a:cubicBezTo>
                  <a:pt x="1455138" y="960979"/>
                  <a:pt x="1395705" y="987199"/>
                  <a:pt x="1213910" y="1052459"/>
                </a:cubicBezTo>
                <a:cubicBezTo>
                  <a:pt x="1331028" y="972050"/>
                  <a:pt x="1364241" y="921357"/>
                  <a:pt x="1360745" y="809484"/>
                </a:cubicBezTo>
                <a:cubicBezTo>
                  <a:pt x="1360746" y="646916"/>
                  <a:pt x="1111360" y="626523"/>
                  <a:pt x="1020462" y="495421"/>
                </a:cubicBezTo>
                <a:cubicBezTo>
                  <a:pt x="941218" y="374224"/>
                  <a:pt x="1061250" y="280996"/>
                  <a:pt x="1331611" y="201752"/>
                </a:cubicBezTo>
                <a:close/>
                <a:moveTo>
                  <a:pt x="2164365" y="80223"/>
                </a:moveTo>
                <a:cubicBezTo>
                  <a:pt x="2021192" y="182108"/>
                  <a:pt x="1927964" y="202086"/>
                  <a:pt x="1936621" y="347922"/>
                </a:cubicBezTo>
                <a:cubicBezTo>
                  <a:pt x="1969252" y="581657"/>
                  <a:pt x="2388778" y="555687"/>
                  <a:pt x="2355482" y="810066"/>
                </a:cubicBezTo>
                <a:cubicBezTo>
                  <a:pt x="2305538" y="947910"/>
                  <a:pt x="2237615" y="977876"/>
                  <a:pt x="2029849" y="1052459"/>
                </a:cubicBezTo>
                <a:cubicBezTo>
                  <a:pt x="2163698" y="960563"/>
                  <a:pt x="2201656" y="902628"/>
                  <a:pt x="2197660" y="774773"/>
                </a:cubicBezTo>
                <a:cubicBezTo>
                  <a:pt x="2197661" y="588982"/>
                  <a:pt x="1912649" y="565676"/>
                  <a:pt x="1808765" y="415844"/>
                </a:cubicBezTo>
                <a:cubicBezTo>
                  <a:pt x="1718201" y="277334"/>
                  <a:pt x="1855380" y="170787"/>
                  <a:pt x="2164365" y="80223"/>
                </a:cubicBezTo>
                <a:close/>
                <a:moveTo>
                  <a:pt x="1754169" y="0"/>
                </a:moveTo>
                <a:cubicBezTo>
                  <a:pt x="1583512" y="121444"/>
                  <a:pt x="1472387" y="145257"/>
                  <a:pt x="1482706" y="319088"/>
                </a:cubicBezTo>
                <a:cubicBezTo>
                  <a:pt x="1521601" y="597693"/>
                  <a:pt x="2021663" y="566738"/>
                  <a:pt x="1981975" y="869950"/>
                </a:cubicBezTo>
                <a:cubicBezTo>
                  <a:pt x="1922443" y="1034256"/>
                  <a:pt x="1841481" y="1069974"/>
                  <a:pt x="1593831" y="1158875"/>
                </a:cubicBezTo>
                <a:cubicBezTo>
                  <a:pt x="1753374" y="1049338"/>
                  <a:pt x="1798619" y="980281"/>
                  <a:pt x="1793856" y="827882"/>
                </a:cubicBezTo>
                <a:cubicBezTo>
                  <a:pt x="1793857" y="606424"/>
                  <a:pt x="1454132" y="578644"/>
                  <a:pt x="1330306" y="400050"/>
                </a:cubicBezTo>
                <a:cubicBezTo>
                  <a:pt x="1222356" y="234950"/>
                  <a:pt x="1385869" y="107950"/>
                  <a:pt x="1754169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59" name="Oval 7">
            <a:extLst>
              <a:ext uri="{FF2B5EF4-FFF2-40B4-BE49-F238E27FC236}">
                <a16:creationId xmlns:a16="http://schemas.microsoft.com/office/drawing/2014/main" id="{5B3365E1-0E4A-4E37-8487-402BEAEC4C18}"/>
              </a:ext>
            </a:extLst>
          </p:cNvPr>
          <p:cNvSpPr/>
          <p:nvPr/>
        </p:nvSpPr>
        <p:spPr>
          <a:xfrm>
            <a:off x="10252271" y="3641889"/>
            <a:ext cx="514505" cy="514505"/>
          </a:xfrm>
          <a:custGeom>
            <a:avLst/>
            <a:gdLst/>
            <a:ahLst/>
            <a:cxnLst/>
            <a:rect l="l" t="t" r="r" b="b"/>
            <a:pathLst>
              <a:path w="3240000" h="3240000">
                <a:moveTo>
                  <a:pt x="1415334" y="1947658"/>
                </a:moveTo>
                <a:lnTo>
                  <a:pt x="838053" y="2871852"/>
                </a:lnTo>
                <a:cubicBezTo>
                  <a:pt x="1312591" y="3168264"/>
                  <a:pt x="1913932" y="3170879"/>
                  <a:pt x="2391030" y="2878606"/>
                </a:cubicBezTo>
                <a:lnTo>
                  <a:pt x="1821709" y="1949263"/>
                </a:lnTo>
                <a:cubicBezTo>
                  <a:pt x="1763478" y="1986502"/>
                  <a:pt x="1694174" y="2007350"/>
                  <a:pt x="1620000" y="2007350"/>
                </a:cubicBezTo>
                <a:cubicBezTo>
                  <a:pt x="1544621" y="2007350"/>
                  <a:pt x="1474270" y="1985818"/>
                  <a:pt x="1415334" y="1947658"/>
                </a:cubicBezTo>
                <a:close/>
                <a:moveTo>
                  <a:pt x="1620001" y="1350973"/>
                </a:moveTo>
                <a:cubicBezTo>
                  <a:pt x="1471421" y="1350973"/>
                  <a:pt x="1350973" y="1471421"/>
                  <a:pt x="1350973" y="1620001"/>
                </a:cubicBezTo>
                <a:cubicBezTo>
                  <a:pt x="1350973" y="1768581"/>
                  <a:pt x="1471421" y="1889029"/>
                  <a:pt x="1620001" y="1889029"/>
                </a:cubicBezTo>
                <a:cubicBezTo>
                  <a:pt x="1768581" y="1889029"/>
                  <a:pt x="1889029" y="1768581"/>
                  <a:pt x="1889029" y="1620001"/>
                </a:cubicBezTo>
                <a:cubicBezTo>
                  <a:pt x="1889029" y="1471421"/>
                  <a:pt x="1768581" y="1350973"/>
                  <a:pt x="1620001" y="1350973"/>
                </a:cubicBezTo>
                <a:close/>
                <a:moveTo>
                  <a:pt x="2324470" y="322965"/>
                </a:moveTo>
                <a:lnTo>
                  <a:pt x="1804044" y="1281148"/>
                </a:lnTo>
                <a:cubicBezTo>
                  <a:pt x="1925507" y="1345192"/>
                  <a:pt x="2007350" y="1473038"/>
                  <a:pt x="2007350" y="1620000"/>
                </a:cubicBezTo>
                <a:lnTo>
                  <a:pt x="2005998" y="1633413"/>
                </a:lnTo>
                <a:lnTo>
                  <a:pt x="3095109" y="1671260"/>
                </a:lnTo>
                <a:cubicBezTo>
                  <a:pt x="3114541" y="1112092"/>
                  <a:pt x="2816135" y="590008"/>
                  <a:pt x="2324470" y="322965"/>
                </a:cubicBezTo>
                <a:close/>
                <a:moveTo>
                  <a:pt x="926838" y="316888"/>
                </a:moveTo>
                <a:cubicBezTo>
                  <a:pt x="432869" y="579644"/>
                  <a:pt x="129933" y="1099113"/>
                  <a:pt x="144500" y="1658429"/>
                </a:cubicBezTo>
                <a:lnTo>
                  <a:pt x="1233664" y="1630062"/>
                </a:lnTo>
                <a:cubicBezTo>
                  <a:pt x="1232693" y="1626734"/>
                  <a:pt x="1232650" y="1623372"/>
                  <a:pt x="1232650" y="1620000"/>
                </a:cubicBezTo>
                <a:cubicBezTo>
                  <a:pt x="1232650" y="1471836"/>
                  <a:pt x="1315838" y="1343102"/>
                  <a:pt x="1438904" y="1279548"/>
                </a:cubicBezTo>
                <a:close/>
                <a:moveTo>
                  <a:pt x="1620000" y="0"/>
                </a:moveTo>
                <a:cubicBezTo>
                  <a:pt x="2514701" y="0"/>
                  <a:pt x="3240000" y="725299"/>
                  <a:pt x="3240000" y="1620000"/>
                </a:cubicBezTo>
                <a:cubicBezTo>
                  <a:pt x="3240000" y="2514701"/>
                  <a:pt x="2514701" y="3240000"/>
                  <a:pt x="1620000" y="3240000"/>
                </a:cubicBezTo>
                <a:cubicBezTo>
                  <a:pt x="725299" y="3240000"/>
                  <a:pt x="0" y="2514701"/>
                  <a:pt x="0" y="1620000"/>
                </a:cubicBezTo>
                <a:cubicBezTo>
                  <a:pt x="0" y="725299"/>
                  <a:pt x="725299" y="0"/>
                  <a:pt x="1620000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60" name="Freeform 20">
            <a:extLst>
              <a:ext uri="{FF2B5EF4-FFF2-40B4-BE49-F238E27FC236}">
                <a16:creationId xmlns:a16="http://schemas.microsoft.com/office/drawing/2014/main" id="{E674EC10-6DF4-4D79-8C68-8E0E302F4814}"/>
              </a:ext>
            </a:extLst>
          </p:cNvPr>
          <p:cNvSpPr/>
          <p:nvPr/>
        </p:nvSpPr>
        <p:spPr>
          <a:xfrm>
            <a:off x="10998217" y="5652772"/>
            <a:ext cx="536427" cy="573297"/>
          </a:xfrm>
          <a:custGeom>
            <a:avLst/>
            <a:gdLst>
              <a:gd name="connsiteX0" fmla="*/ 795647 w 2149434"/>
              <a:gd name="connsiteY0" fmla="*/ 2933205 h 2933205"/>
              <a:gd name="connsiteX1" fmla="*/ 0 w 2149434"/>
              <a:gd name="connsiteY1" fmla="*/ 1531917 h 2933205"/>
              <a:gd name="connsiteX2" fmla="*/ 463138 w 2149434"/>
              <a:gd name="connsiteY2" fmla="*/ 1733797 h 2933205"/>
              <a:gd name="connsiteX3" fmla="*/ 700645 w 2149434"/>
              <a:gd name="connsiteY3" fmla="*/ 166255 h 2933205"/>
              <a:gd name="connsiteX4" fmla="*/ 676894 w 2149434"/>
              <a:gd name="connsiteY4" fmla="*/ 0 h 2933205"/>
              <a:gd name="connsiteX5" fmla="*/ 2066307 w 2149434"/>
              <a:gd name="connsiteY5" fmla="*/ 819397 h 2933205"/>
              <a:gd name="connsiteX6" fmla="*/ 2149434 w 2149434"/>
              <a:gd name="connsiteY6" fmla="*/ 593766 h 2933205"/>
              <a:gd name="connsiteX7" fmla="*/ 1816925 w 2149434"/>
              <a:gd name="connsiteY7" fmla="*/ 2933205 h 2933205"/>
              <a:gd name="connsiteX8" fmla="*/ 1187533 w 2149434"/>
              <a:gd name="connsiteY8" fmla="*/ 926275 h 2933205"/>
              <a:gd name="connsiteX9" fmla="*/ 1080655 w 2149434"/>
              <a:gd name="connsiteY9" fmla="*/ 1828800 h 2933205"/>
              <a:gd name="connsiteX10" fmla="*/ 914400 w 2149434"/>
              <a:gd name="connsiteY10" fmla="*/ 1448790 h 2933205"/>
              <a:gd name="connsiteX11" fmla="*/ 795647 w 2149434"/>
              <a:gd name="connsiteY11" fmla="*/ 2933205 h 2933205"/>
              <a:gd name="connsiteX0" fmla="*/ 795647 w 2149434"/>
              <a:gd name="connsiteY0" fmla="*/ 2933205 h 2933205"/>
              <a:gd name="connsiteX1" fmla="*/ 0 w 2149434"/>
              <a:gd name="connsiteY1" fmla="*/ 1531917 h 2933205"/>
              <a:gd name="connsiteX2" fmla="*/ 463138 w 2149434"/>
              <a:gd name="connsiteY2" fmla="*/ 1733797 h 2933205"/>
              <a:gd name="connsiteX3" fmla="*/ 676894 w 2149434"/>
              <a:gd name="connsiteY3" fmla="*/ 0 h 2933205"/>
              <a:gd name="connsiteX4" fmla="*/ 2066307 w 2149434"/>
              <a:gd name="connsiteY4" fmla="*/ 819397 h 2933205"/>
              <a:gd name="connsiteX5" fmla="*/ 2149434 w 2149434"/>
              <a:gd name="connsiteY5" fmla="*/ 593766 h 2933205"/>
              <a:gd name="connsiteX6" fmla="*/ 1816925 w 2149434"/>
              <a:gd name="connsiteY6" fmla="*/ 2933205 h 2933205"/>
              <a:gd name="connsiteX7" fmla="*/ 1187533 w 2149434"/>
              <a:gd name="connsiteY7" fmla="*/ 926275 h 2933205"/>
              <a:gd name="connsiteX8" fmla="*/ 1080655 w 2149434"/>
              <a:gd name="connsiteY8" fmla="*/ 1828800 h 2933205"/>
              <a:gd name="connsiteX9" fmla="*/ 914400 w 2149434"/>
              <a:gd name="connsiteY9" fmla="*/ 1448790 h 2933205"/>
              <a:gd name="connsiteX10" fmla="*/ 795647 w 2149434"/>
              <a:gd name="connsiteY10" fmla="*/ 2933205 h 2933205"/>
              <a:gd name="connsiteX0" fmla="*/ 795647 w 2149434"/>
              <a:gd name="connsiteY0" fmla="*/ 3150488 h 3150488"/>
              <a:gd name="connsiteX1" fmla="*/ 0 w 2149434"/>
              <a:gd name="connsiteY1" fmla="*/ 1749200 h 3150488"/>
              <a:gd name="connsiteX2" fmla="*/ 463138 w 2149434"/>
              <a:gd name="connsiteY2" fmla="*/ 1951080 h 3150488"/>
              <a:gd name="connsiteX3" fmla="*/ 776482 w 2149434"/>
              <a:gd name="connsiteY3" fmla="*/ 0 h 3150488"/>
              <a:gd name="connsiteX4" fmla="*/ 2066307 w 2149434"/>
              <a:gd name="connsiteY4" fmla="*/ 1036680 h 3150488"/>
              <a:gd name="connsiteX5" fmla="*/ 2149434 w 2149434"/>
              <a:gd name="connsiteY5" fmla="*/ 811049 h 3150488"/>
              <a:gd name="connsiteX6" fmla="*/ 1816925 w 2149434"/>
              <a:gd name="connsiteY6" fmla="*/ 3150488 h 3150488"/>
              <a:gd name="connsiteX7" fmla="*/ 1187533 w 2149434"/>
              <a:gd name="connsiteY7" fmla="*/ 1143558 h 3150488"/>
              <a:gd name="connsiteX8" fmla="*/ 1080655 w 2149434"/>
              <a:gd name="connsiteY8" fmla="*/ 2046083 h 3150488"/>
              <a:gd name="connsiteX9" fmla="*/ 914400 w 2149434"/>
              <a:gd name="connsiteY9" fmla="*/ 1666073 h 3150488"/>
              <a:gd name="connsiteX10" fmla="*/ 795647 w 2149434"/>
              <a:gd name="connsiteY10" fmla="*/ 3150488 h 3150488"/>
              <a:gd name="connsiteX0" fmla="*/ 795647 w 2149434"/>
              <a:gd name="connsiteY0" fmla="*/ 3150488 h 3150488"/>
              <a:gd name="connsiteX1" fmla="*/ 0 w 2149434"/>
              <a:gd name="connsiteY1" fmla="*/ 1749200 h 3150488"/>
              <a:gd name="connsiteX2" fmla="*/ 463138 w 2149434"/>
              <a:gd name="connsiteY2" fmla="*/ 1951080 h 3150488"/>
              <a:gd name="connsiteX3" fmla="*/ 776482 w 2149434"/>
              <a:gd name="connsiteY3" fmla="*/ 0 h 3150488"/>
              <a:gd name="connsiteX4" fmla="*/ 2066307 w 2149434"/>
              <a:gd name="connsiteY4" fmla="*/ 1036680 h 3150488"/>
              <a:gd name="connsiteX5" fmla="*/ 2149434 w 2149434"/>
              <a:gd name="connsiteY5" fmla="*/ 811049 h 3150488"/>
              <a:gd name="connsiteX6" fmla="*/ 1816925 w 2149434"/>
              <a:gd name="connsiteY6" fmla="*/ 3150488 h 3150488"/>
              <a:gd name="connsiteX7" fmla="*/ 1187533 w 2149434"/>
              <a:gd name="connsiteY7" fmla="*/ 1143558 h 3150488"/>
              <a:gd name="connsiteX8" fmla="*/ 1080655 w 2149434"/>
              <a:gd name="connsiteY8" fmla="*/ 2046083 h 3150488"/>
              <a:gd name="connsiteX9" fmla="*/ 914400 w 2149434"/>
              <a:gd name="connsiteY9" fmla="*/ 1666073 h 3150488"/>
              <a:gd name="connsiteX10" fmla="*/ 795647 w 2149434"/>
              <a:gd name="connsiteY10" fmla="*/ 3150488 h 3150488"/>
              <a:gd name="connsiteX0" fmla="*/ 795647 w 2149434"/>
              <a:gd name="connsiteY0" fmla="*/ 3150488 h 3150488"/>
              <a:gd name="connsiteX1" fmla="*/ 0 w 2149434"/>
              <a:gd name="connsiteY1" fmla="*/ 1749200 h 3150488"/>
              <a:gd name="connsiteX2" fmla="*/ 463138 w 2149434"/>
              <a:gd name="connsiteY2" fmla="*/ 1951080 h 3150488"/>
              <a:gd name="connsiteX3" fmla="*/ 776482 w 2149434"/>
              <a:gd name="connsiteY3" fmla="*/ 0 h 3150488"/>
              <a:gd name="connsiteX4" fmla="*/ 1975772 w 2149434"/>
              <a:gd name="connsiteY4" fmla="*/ 991413 h 3150488"/>
              <a:gd name="connsiteX5" fmla="*/ 2149434 w 2149434"/>
              <a:gd name="connsiteY5" fmla="*/ 811049 h 3150488"/>
              <a:gd name="connsiteX6" fmla="*/ 1816925 w 2149434"/>
              <a:gd name="connsiteY6" fmla="*/ 3150488 h 3150488"/>
              <a:gd name="connsiteX7" fmla="*/ 1187533 w 2149434"/>
              <a:gd name="connsiteY7" fmla="*/ 1143558 h 3150488"/>
              <a:gd name="connsiteX8" fmla="*/ 1080655 w 2149434"/>
              <a:gd name="connsiteY8" fmla="*/ 2046083 h 3150488"/>
              <a:gd name="connsiteX9" fmla="*/ 914400 w 2149434"/>
              <a:gd name="connsiteY9" fmla="*/ 1666073 h 3150488"/>
              <a:gd name="connsiteX10" fmla="*/ 795647 w 2149434"/>
              <a:gd name="connsiteY10" fmla="*/ 3150488 h 3150488"/>
              <a:gd name="connsiteX0" fmla="*/ 795647 w 2149434"/>
              <a:gd name="connsiteY0" fmla="*/ 3150488 h 3150488"/>
              <a:gd name="connsiteX1" fmla="*/ 0 w 2149434"/>
              <a:gd name="connsiteY1" fmla="*/ 1749200 h 3150488"/>
              <a:gd name="connsiteX2" fmla="*/ 463138 w 2149434"/>
              <a:gd name="connsiteY2" fmla="*/ 1951080 h 3150488"/>
              <a:gd name="connsiteX3" fmla="*/ 776482 w 2149434"/>
              <a:gd name="connsiteY3" fmla="*/ 0 h 3150488"/>
              <a:gd name="connsiteX4" fmla="*/ 1975772 w 2149434"/>
              <a:gd name="connsiteY4" fmla="*/ 991413 h 3150488"/>
              <a:gd name="connsiteX5" fmla="*/ 2149434 w 2149434"/>
              <a:gd name="connsiteY5" fmla="*/ 811049 h 3150488"/>
              <a:gd name="connsiteX6" fmla="*/ 1816925 w 2149434"/>
              <a:gd name="connsiteY6" fmla="*/ 3150488 h 3150488"/>
              <a:gd name="connsiteX7" fmla="*/ 1187533 w 2149434"/>
              <a:gd name="connsiteY7" fmla="*/ 1143558 h 3150488"/>
              <a:gd name="connsiteX8" fmla="*/ 1080655 w 2149434"/>
              <a:gd name="connsiteY8" fmla="*/ 2046083 h 3150488"/>
              <a:gd name="connsiteX9" fmla="*/ 914400 w 2149434"/>
              <a:gd name="connsiteY9" fmla="*/ 1666073 h 3150488"/>
              <a:gd name="connsiteX10" fmla="*/ 795647 w 2149434"/>
              <a:gd name="connsiteY10" fmla="*/ 3150488 h 3150488"/>
              <a:gd name="connsiteX0" fmla="*/ 795647 w 2149434"/>
              <a:gd name="connsiteY0" fmla="*/ 3150488 h 3150488"/>
              <a:gd name="connsiteX1" fmla="*/ 0 w 2149434"/>
              <a:gd name="connsiteY1" fmla="*/ 1749200 h 3150488"/>
              <a:gd name="connsiteX2" fmla="*/ 463138 w 2149434"/>
              <a:gd name="connsiteY2" fmla="*/ 1951080 h 3150488"/>
              <a:gd name="connsiteX3" fmla="*/ 776482 w 2149434"/>
              <a:gd name="connsiteY3" fmla="*/ 0 h 3150488"/>
              <a:gd name="connsiteX4" fmla="*/ 1975772 w 2149434"/>
              <a:gd name="connsiteY4" fmla="*/ 991413 h 3150488"/>
              <a:gd name="connsiteX5" fmla="*/ 2149434 w 2149434"/>
              <a:gd name="connsiteY5" fmla="*/ 811049 h 3150488"/>
              <a:gd name="connsiteX6" fmla="*/ 1816925 w 2149434"/>
              <a:gd name="connsiteY6" fmla="*/ 3150488 h 3150488"/>
              <a:gd name="connsiteX7" fmla="*/ 1187533 w 2149434"/>
              <a:gd name="connsiteY7" fmla="*/ 1143558 h 3150488"/>
              <a:gd name="connsiteX8" fmla="*/ 1080655 w 2149434"/>
              <a:gd name="connsiteY8" fmla="*/ 2046083 h 3150488"/>
              <a:gd name="connsiteX9" fmla="*/ 914400 w 2149434"/>
              <a:gd name="connsiteY9" fmla="*/ 1666073 h 3150488"/>
              <a:gd name="connsiteX10" fmla="*/ 795647 w 2149434"/>
              <a:gd name="connsiteY10" fmla="*/ 3150488 h 3150488"/>
              <a:gd name="connsiteX0" fmla="*/ 795647 w 2095113"/>
              <a:gd name="connsiteY0" fmla="*/ 3150488 h 3150488"/>
              <a:gd name="connsiteX1" fmla="*/ 0 w 2095113"/>
              <a:gd name="connsiteY1" fmla="*/ 1749200 h 3150488"/>
              <a:gd name="connsiteX2" fmla="*/ 463138 w 2095113"/>
              <a:gd name="connsiteY2" fmla="*/ 1951080 h 3150488"/>
              <a:gd name="connsiteX3" fmla="*/ 776482 w 2095113"/>
              <a:gd name="connsiteY3" fmla="*/ 0 h 3150488"/>
              <a:gd name="connsiteX4" fmla="*/ 1975772 w 2095113"/>
              <a:gd name="connsiteY4" fmla="*/ 991413 h 3150488"/>
              <a:gd name="connsiteX5" fmla="*/ 2095113 w 2095113"/>
              <a:gd name="connsiteY5" fmla="*/ 702407 h 3150488"/>
              <a:gd name="connsiteX6" fmla="*/ 1816925 w 2095113"/>
              <a:gd name="connsiteY6" fmla="*/ 3150488 h 3150488"/>
              <a:gd name="connsiteX7" fmla="*/ 1187533 w 2095113"/>
              <a:gd name="connsiteY7" fmla="*/ 1143558 h 3150488"/>
              <a:gd name="connsiteX8" fmla="*/ 1080655 w 2095113"/>
              <a:gd name="connsiteY8" fmla="*/ 2046083 h 3150488"/>
              <a:gd name="connsiteX9" fmla="*/ 914400 w 2095113"/>
              <a:gd name="connsiteY9" fmla="*/ 1666073 h 3150488"/>
              <a:gd name="connsiteX10" fmla="*/ 795647 w 2095113"/>
              <a:gd name="connsiteY10" fmla="*/ 3150488 h 3150488"/>
              <a:gd name="connsiteX0" fmla="*/ 795647 w 2760540"/>
              <a:gd name="connsiteY0" fmla="*/ 3150488 h 3150488"/>
              <a:gd name="connsiteX1" fmla="*/ 0 w 2760540"/>
              <a:gd name="connsiteY1" fmla="*/ 1749200 h 3150488"/>
              <a:gd name="connsiteX2" fmla="*/ 463138 w 2760540"/>
              <a:gd name="connsiteY2" fmla="*/ 1951080 h 3150488"/>
              <a:gd name="connsiteX3" fmla="*/ 776482 w 2760540"/>
              <a:gd name="connsiteY3" fmla="*/ 0 h 3150488"/>
              <a:gd name="connsiteX4" fmla="*/ 1975772 w 2760540"/>
              <a:gd name="connsiteY4" fmla="*/ 991413 h 3150488"/>
              <a:gd name="connsiteX5" fmla="*/ 2095113 w 2760540"/>
              <a:gd name="connsiteY5" fmla="*/ 702407 h 3150488"/>
              <a:gd name="connsiteX6" fmla="*/ 1816925 w 2760540"/>
              <a:gd name="connsiteY6" fmla="*/ 3150488 h 3150488"/>
              <a:gd name="connsiteX7" fmla="*/ 1187533 w 2760540"/>
              <a:gd name="connsiteY7" fmla="*/ 1143558 h 3150488"/>
              <a:gd name="connsiteX8" fmla="*/ 1080655 w 2760540"/>
              <a:gd name="connsiteY8" fmla="*/ 2046083 h 3150488"/>
              <a:gd name="connsiteX9" fmla="*/ 914400 w 2760540"/>
              <a:gd name="connsiteY9" fmla="*/ 1666073 h 3150488"/>
              <a:gd name="connsiteX10" fmla="*/ 795647 w 2760540"/>
              <a:gd name="connsiteY10" fmla="*/ 3150488 h 3150488"/>
              <a:gd name="connsiteX0" fmla="*/ 795647 w 2904019"/>
              <a:gd name="connsiteY0" fmla="*/ 3150488 h 3150488"/>
              <a:gd name="connsiteX1" fmla="*/ 0 w 2904019"/>
              <a:gd name="connsiteY1" fmla="*/ 1749200 h 3150488"/>
              <a:gd name="connsiteX2" fmla="*/ 463138 w 2904019"/>
              <a:gd name="connsiteY2" fmla="*/ 1951080 h 3150488"/>
              <a:gd name="connsiteX3" fmla="*/ 776482 w 2904019"/>
              <a:gd name="connsiteY3" fmla="*/ 0 h 3150488"/>
              <a:gd name="connsiteX4" fmla="*/ 1975772 w 2904019"/>
              <a:gd name="connsiteY4" fmla="*/ 991413 h 3150488"/>
              <a:gd name="connsiteX5" fmla="*/ 2095113 w 2904019"/>
              <a:gd name="connsiteY5" fmla="*/ 702407 h 3150488"/>
              <a:gd name="connsiteX6" fmla="*/ 1816925 w 2904019"/>
              <a:gd name="connsiteY6" fmla="*/ 3150488 h 3150488"/>
              <a:gd name="connsiteX7" fmla="*/ 1187533 w 2904019"/>
              <a:gd name="connsiteY7" fmla="*/ 1143558 h 3150488"/>
              <a:gd name="connsiteX8" fmla="*/ 1080655 w 2904019"/>
              <a:gd name="connsiteY8" fmla="*/ 2046083 h 3150488"/>
              <a:gd name="connsiteX9" fmla="*/ 914400 w 2904019"/>
              <a:gd name="connsiteY9" fmla="*/ 1666073 h 3150488"/>
              <a:gd name="connsiteX10" fmla="*/ 795647 w 2904019"/>
              <a:gd name="connsiteY10" fmla="*/ 3150488 h 3150488"/>
              <a:gd name="connsiteX0" fmla="*/ 795647 w 2905418"/>
              <a:gd name="connsiteY0" fmla="*/ 3150488 h 3186701"/>
              <a:gd name="connsiteX1" fmla="*/ 0 w 2905418"/>
              <a:gd name="connsiteY1" fmla="*/ 1749200 h 3186701"/>
              <a:gd name="connsiteX2" fmla="*/ 463138 w 2905418"/>
              <a:gd name="connsiteY2" fmla="*/ 1951080 h 3186701"/>
              <a:gd name="connsiteX3" fmla="*/ 776482 w 2905418"/>
              <a:gd name="connsiteY3" fmla="*/ 0 h 3186701"/>
              <a:gd name="connsiteX4" fmla="*/ 1975772 w 2905418"/>
              <a:gd name="connsiteY4" fmla="*/ 991413 h 3186701"/>
              <a:gd name="connsiteX5" fmla="*/ 2095113 w 2905418"/>
              <a:gd name="connsiteY5" fmla="*/ 702407 h 3186701"/>
              <a:gd name="connsiteX6" fmla="*/ 1821452 w 2905418"/>
              <a:gd name="connsiteY6" fmla="*/ 3186701 h 3186701"/>
              <a:gd name="connsiteX7" fmla="*/ 1187533 w 2905418"/>
              <a:gd name="connsiteY7" fmla="*/ 1143558 h 3186701"/>
              <a:gd name="connsiteX8" fmla="*/ 1080655 w 2905418"/>
              <a:gd name="connsiteY8" fmla="*/ 2046083 h 3186701"/>
              <a:gd name="connsiteX9" fmla="*/ 914400 w 2905418"/>
              <a:gd name="connsiteY9" fmla="*/ 1666073 h 3186701"/>
              <a:gd name="connsiteX10" fmla="*/ 795647 w 2905418"/>
              <a:gd name="connsiteY10" fmla="*/ 3150488 h 3186701"/>
              <a:gd name="connsiteX0" fmla="*/ 795647 w 2937337"/>
              <a:gd name="connsiteY0" fmla="*/ 3150488 h 3186701"/>
              <a:gd name="connsiteX1" fmla="*/ 0 w 2937337"/>
              <a:gd name="connsiteY1" fmla="*/ 1749200 h 3186701"/>
              <a:gd name="connsiteX2" fmla="*/ 463138 w 2937337"/>
              <a:gd name="connsiteY2" fmla="*/ 1951080 h 3186701"/>
              <a:gd name="connsiteX3" fmla="*/ 776482 w 2937337"/>
              <a:gd name="connsiteY3" fmla="*/ 0 h 3186701"/>
              <a:gd name="connsiteX4" fmla="*/ 1975772 w 2937337"/>
              <a:gd name="connsiteY4" fmla="*/ 991413 h 3186701"/>
              <a:gd name="connsiteX5" fmla="*/ 2095113 w 2937337"/>
              <a:gd name="connsiteY5" fmla="*/ 702407 h 3186701"/>
              <a:gd name="connsiteX6" fmla="*/ 1821452 w 2937337"/>
              <a:gd name="connsiteY6" fmla="*/ 3186701 h 3186701"/>
              <a:gd name="connsiteX7" fmla="*/ 1187533 w 2937337"/>
              <a:gd name="connsiteY7" fmla="*/ 1143558 h 3186701"/>
              <a:gd name="connsiteX8" fmla="*/ 1080655 w 2937337"/>
              <a:gd name="connsiteY8" fmla="*/ 2046083 h 3186701"/>
              <a:gd name="connsiteX9" fmla="*/ 914400 w 2937337"/>
              <a:gd name="connsiteY9" fmla="*/ 1666073 h 3186701"/>
              <a:gd name="connsiteX10" fmla="*/ 795647 w 2937337"/>
              <a:gd name="connsiteY10" fmla="*/ 3150488 h 3186701"/>
              <a:gd name="connsiteX0" fmla="*/ 795647 w 2937337"/>
              <a:gd name="connsiteY0" fmla="*/ 3150488 h 3186701"/>
              <a:gd name="connsiteX1" fmla="*/ 0 w 2937337"/>
              <a:gd name="connsiteY1" fmla="*/ 1749200 h 3186701"/>
              <a:gd name="connsiteX2" fmla="*/ 463138 w 2937337"/>
              <a:gd name="connsiteY2" fmla="*/ 1951080 h 3186701"/>
              <a:gd name="connsiteX3" fmla="*/ 776482 w 2937337"/>
              <a:gd name="connsiteY3" fmla="*/ 0 h 3186701"/>
              <a:gd name="connsiteX4" fmla="*/ 2120628 w 2937337"/>
              <a:gd name="connsiteY4" fmla="*/ 1308284 h 3186701"/>
              <a:gd name="connsiteX5" fmla="*/ 2095113 w 2937337"/>
              <a:gd name="connsiteY5" fmla="*/ 702407 h 3186701"/>
              <a:gd name="connsiteX6" fmla="*/ 1821452 w 2937337"/>
              <a:gd name="connsiteY6" fmla="*/ 3186701 h 3186701"/>
              <a:gd name="connsiteX7" fmla="*/ 1187533 w 2937337"/>
              <a:gd name="connsiteY7" fmla="*/ 1143558 h 3186701"/>
              <a:gd name="connsiteX8" fmla="*/ 1080655 w 2937337"/>
              <a:gd name="connsiteY8" fmla="*/ 2046083 h 3186701"/>
              <a:gd name="connsiteX9" fmla="*/ 914400 w 2937337"/>
              <a:gd name="connsiteY9" fmla="*/ 1666073 h 3186701"/>
              <a:gd name="connsiteX10" fmla="*/ 795647 w 2937337"/>
              <a:gd name="connsiteY10" fmla="*/ 3150488 h 3186701"/>
              <a:gd name="connsiteX0" fmla="*/ 795647 w 2937337"/>
              <a:gd name="connsiteY0" fmla="*/ 3150488 h 3186701"/>
              <a:gd name="connsiteX1" fmla="*/ 0 w 2937337"/>
              <a:gd name="connsiteY1" fmla="*/ 1749200 h 3186701"/>
              <a:gd name="connsiteX2" fmla="*/ 463138 w 2937337"/>
              <a:gd name="connsiteY2" fmla="*/ 1951080 h 3186701"/>
              <a:gd name="connsiteX3" fmla="*/ 776482 w 2937337"/>
              <a:gd name="connsiteY3" fmla="*/ 0 h 3186701"/>
              <a:gd name="connsiteX4" fmla="*/ 2120628 w 2937337"/>
              <a:gd name="connsiteY4" fmla="*/ 1308284 h 3186701"/>
              <a:gd name="connsiteX5" fmla="*/ 2095113 w 2937337"/>
              <a:gd name="connsiteY5" fmla="*/ 702407 h 3186701"/>
              <a:gd name="connsiteX6" fmla="*/ 1821452 w 2937337"/>
              <a:gd name="connsiteY6" fmla="*/ 3186701 h 3186701"/>
              <a:gd name="connsiteX7" fmla="*/ 1187533 w 2937337"/>
              <a:gd name="connsiteY7" fmla="*/ 1143558 h 3186701"/>
              <a:gd name="connsiteX8" fmla="*/ 1080655 w 2937337"/>
              <a:gd name="connsiteY8" fmla="*/ 2046083 h 3186701"/>
              <a:gd name="connsiteX9" fmla="*/ 914400 w 2937337"/>
              <a:gd name="connsiteY9" fmla="*/ 1666073 h 3186701"/>
              <a:gd name="connsiteX10" fmla="*/ 795647 w 2937337"/>
              <a:gd name="connsiteY10" fmla="*/ 3150488 h 3186701"/>
              <a:gd name="connsiteX0" fmla="*/ 795647 w 2937337"/>
              <a:gd name="connsiteY0" fmla="*/ 3150488 h 3186701"/>
              <a:gd name="connsiteX1" fmla="*/ 0 w 2937337"/>
              <a:gd name="connsiteY1" fmla="*/ 1749200 h 3186701"/>
              <a:gd name="connsiteX2" fmla="*/ 463138 w 2937337"/>
              <a:gd name="connsiteY2" fmla="*/ 1951080 h 3186701"/>
              <a:gd name="connsiteX3" fmla="*/ 776482 w 2937337"/>
              <a:gd name="connsiteY3" fmla="*/ 0 h 3186701"/>
              <a:gd name="connsiteX4" fmla="*/ 2120628 w 2937337"/>
              <a:gd name="connsiteY4" fmla="*/ 1308284 h 3186701"/>
              <a:gd name="connsiteX5" fmla="*/ 2095113 w 2937337"/>
              <a:gd name="connsiteY5" fmla="*/ 702407 h 3186701"/>
              <a:gd name="connsiteX6" fmla="*/ 1821452 w 2937337"/>
              <a:gd name="connsiteY6" fmla="*/ 3186701 h 3186701"/>
              <a:gd name="connsiteX7" fmla="*/ 1187533 w 2937337"/>
              <a:gd name="connsiteY7" fmla="*/ 1143558 h 3186701"/>
              <a:gd name="connsiteX8" fmla="*/ 1080655 w 2937337"/>
              <a:gd name="connsiteY8" fmla="*/ 2046083 h 3186701"/>
              <a:gd name="connsiteX9" fmla="*/ 914400 w 2937337"/>
              <a:gd name="connsiteY9" fmla="*/ 1666073 h 3186701"/>
              <a:gd name="connsiteX10" fmla="*/ 795647 w 2937337"/>
              <a:gd name="connsiteY10" fmla="*/ 3150488 h 3186701"/>
              <a:gd name="connsiteX0" fmla="*/ 795647 w 2937337"/>
              <a:gd name="connsiteY0" fmla="*/ 3150488 h 3186701"/>
              <a:gd name="connsiteX1" fmla="*/ 0 w 2937337"/>
              <a:gd name="connsiteY1" fmla="*/ 1749200 h 3186701"/>
              <a:gd name="connsiteX2" fmla="*/ 463138 w 2937337"/>
              <a:gd name="connsiteY2" fmla="*/ 1951080 h 3186701"/>
              <a:gd name="connsiteX3" fmla="*/ 776482 w 2937337"/>
              <a:gd name="connsiteY3" fmla="*/ 0 h 3186701"/>
              <a:gd name="connsiteX4" fmla="*/ 2120628 w 2937337"/>
              <a:gd name="connsiteY4" fmla="*/ 1308284 h 3186701"/>
              <a:gd name="connsiteX5" fmla="*/ 2095113 w 2937337"/>
              <a:gd name="connsiteY5" fmla="*/ 702407 h 3186701"/>
              <a:gd name="connsiteX6" fmla="*/ 1821452 w 2937337"/>
              <a:gd name="connsiteY6" fmla="*/ 3186701 h 3186701"/>
              <a:gd name="connsiteX7" fmla="*/ 1187533 w 2937337"/>
              <a:gd name="connsiteY7" fmla="*/ 1143558 h 3186701"/>
              <a:gd name="connsiteX8" fmla="*/ 1080655 w 2937337"/>
              <a:gd name="connsiteY8" fmla="*/ 2046083 h 3186701"/>
              <a:gd name="connsiteX9" fmla="*/ 914400 w 2937337"/>
              <a:gd name="connsiteY9" fmla="*/ 1666073 h 3186701"/>
              <a:gd name="connsiteX10" fmla="*/ 795647 w 2937337"/>
              <a:gd name="connsiteY10" fmla="*/ 3150488 h 3186701"/>
              <a:gd name="connsiteX0" fmla="*/ 795647 w 2937337"/>
              <a:gd name="connsiteY0" fmla="*/ 3150488 h 3186701"/>
              <a:gd name="connsiteX1" fmla="*/ 0 w 2937337"/>
              <a:gd name="connsiteY1" fmla="*/ 1749200 h 3186701"/>
              <a:gd name="connsiteX2" fmla="*/ 463138 w 2937337"/>
              <a:gd name="connsiteY2" fmla="*/ 1951080 h 3186701"/>
              <a:gd name="connsiteX3" fmla="*/ 776482 w 2937337"/>
              <a:gd name="connsiteY3" fmla="*/ 0 h 3186701"/>
              <a:gd name="connsiteX4" fmla="*/ 2120628 w 2937337"/>
              <a:gd name="connsiteY4" fmla="*/ 1308284 h 3186701"/>
              <a:gd name="connsiteX5" fmla="*/ 2095113 w 2937337"/>
              <a:gd name="connsiteY5" fmla="*/ 702407 h 3186701"/>
              <a:gd name="connsiteX6" fmla="*/ 1821452 w 2937337"/>
              <a:gd name="connsiteY6" fmla="*/ 3186701 h 3186701"/>
              <a:gd name="connsiteX7" fmla="*/ 1187533 w 2937337"/>
              <a:gd name="connsiteY7" fmla="*/ 1143558 h 3186701"/>
              <a:gd name="connsiteX8" fmla="*/ 1080655 w 2937337"/>
              <a:gd name="connsiteY8" fmla="*/ 2046083 h 3186701"/>
              <a:gd name="connsiteX9" fmla="*/ 914400 w 2937337"/>
              <a:gd name="connsiteY9" fmla="*/ 1666073 h 3186701"/>
              <a:gd name="connsiteX10" fmla="*/ 795647 w 2937337"/>
              <a:gd name="connsiteY10" fmla="*/ 3150488 h 3186701"/>
              <a:gd name="connsiteX0" fmla="*/ 795647 w 2937337"/>
              <a:gd name="connsiteY0" fmla="*/ 3150488 h 3186701"/>
              <a:gd name="connsiteX1" fmla="*/ 0 w 2937337"/>
              <a:gd name="connsiteY1" fmla="*/ 1749200 h 3186701"/>
              <a:gd name="connsiteX2" fmla="*/ 463138 w 2937337"/>
              <a:gd name="connsiteY2" fmla="*/ 1951080 h 3186701"/>
              <a:gd name="connsiteX3" fmla="*/ 776482 w 2937337"/>
              <a:gd name="connsiteY3" fmla="*/ 0 h 3186701"/>
              <a:gd name="connsiteX4" fmla="*/ 2120628 w 2937337"/>
              <a:gd name="connsiteY4" fmla="*/ 1308284 h 3186701"/>
              <a:gd name="connsiteX5" fmla="*/ 2095113 w 2937337"/>
              <a:gd name="connsiteY5" fmla="*/ 702407 h 3186701"/>
              <a:gd name="connsiteX6" fmla="*/ 1821452 w 2937337"/>
              <a:gd name="connsiteY6" fmla="*/ 3186701 h 3186701"/>
              <a:gd name="connsiteX7" fmla="*/ 1187533 w 2937337"/>
              <a:gd name="connsiteY7" fmla="*/ 1143558 h 3186701"/>
              <a:gd name="connsiteX8" fmla="*/ 1080655 w 2937337"/>
              <a:gd name="connsiteY8" fmla="*/ 2046083 h 3186701"/>
              <a:gd name="connsiteX9" fmla="*/ 914400 w 2937337"/>
              <a:gd name="connsiteY9" fmla="*/ 1666073 h 3186701"/>
              <a:gd name="connsiteX10" fmla="*/ 795647 w 2937337"/>
              <a:gd name="connsiteY10" fmla="*/ 3150488 h 3186701"/>
              <a:gd name="connsiteX0" fmla="*/ 795647 w 2937337"/>
              <a:gd name="connsiteY0" fmla="*/ 3150488 h 3186701"/>
              <a:gd name="connsiteX1" fmla="*/ 0 w 2937337"/>
              <a:gd name="connsiteY1" fmla="*/ 1749200 h 3186701"/>
              <a:gd name="connsiteX2" fmla="*/ 463138 w 2937337"/>
              <a:gd name="connsiteY2" fmla="*/ 1951080 h 3186701"/>
              <a:gd name="connsiteX3" fmla="*/ 776482 w 2937337"/>
              <a:gd name="connsiteY3" fmla="*/ 0 h 3186701"/>
              <a:gd name="connsiteX4" fmla="*/ 2034620 w 2937337"/>
              <a:gd name="connsiteY4" fmla="*/ 1294704 h 3186701"/>
              <a:gd name="connsiteX5" fmla="*/ 2095113 w 2937337"/>
              <a:gd name="connsiteY5" fmla="*/ 702407 h 3186701"/>
              <a:gd name="connsiteX6" fmla="*/ 1821452 w 2937337"/>
              <a:gd name="connsiteY6" fmla="*/ 3186701 h 3186701"/>
              <a:gd name="connsiteX7" fmla="*/ 1187533 w 2937337"/>
              <a:gd name="connsiteY7" fmla="*/ 1143558 h 3186701"/>
              <a:gd name="connsiteX8" fmla="*/ 1080655 w 2937337"/>
              <a:gd name="connsiteY8" fmla="*/ 2046083 h 3186701"/>
              <a:gd name="connsiteX9" fmla="*/ 914400 w 2937337"/>
              <a:gd name="connsiteY9" fmla="*/ 1666073 h 3186701"/>
              <a:gd name="connsiteX10" fmla="*/ 795647 w 2937337"/>
              <a:gd name="connsiteY10" fmla="*/ 3150488 h 3186701"/>
              <a:gd name="connsiteX0" fmla="*/ 795647 w 2937337"/>
              <a:gd name="connsiteY0" fmla="*/ 3150488 h 3186701"/>
              <a:gd name="connsiteX1" fmla="*/ 0 w 2937337"/>
              <a:gd name="connsiteY1" fmla="*/ 1749200 h 3186701"/>
              <a:gd name="connsiteX2" fmla="*/ 463138 w 2937337"/>
              <a:gd name="connsiteY2" fmla="*/ 1951080 h 3186701"/>
              <a:gd name="connsiteX3" fmla="*/ 776482 w 2937337"/>
              <a:gd name="connsiteY3" fmla="*/ 0 h 3186701"/>
              <a:gd name="connsiteX4" fmla="*/ 2034620 w 2937337"/>
              <a:gd name="connsiteY4" fmla="*/ 1294704 h 3186701"/>
              <a:gd name="connsiteX5" fmla="*/ 2095113 w 2937337"/>
              <a:gd name="connsiteY5" fmla="*/ 702407 h 3186701"/>
              <a:gd name="connsiteX6" fmla="*/ 1821452 w 2937337"/>
              <a:gd name="connsiteY6" fmla="*/ 3186701 h 3186701"/>
              <a:gd name="connsiteX7" fmla="*/ 1187533 w 2937337"/>
              <a:gd name="connsiteY7" fmla="*/ 1143558 h 3186701"/>
              <a:gd name="connsiteX8" fmla="*/ 1080655 w 2937337"/>
              <a:gd name="connsiteY8" fmla="*/ 2046083 h 3186701"/>
              <a:gd name="connsiteX9" fmla="*/ 914400 w 2937337"/>
              <a:gd name="connsiteY9" fmla="*/ 1666073 h 3186701"/>
              <a:gd name="connsiteX10" fmla="*/ 795647 w 2937337"/>
              <a:gd name="connsiteY10" fmla="*/ 3150488 h 3186701"/>
              <a:gd name="connsiteX0" fmla="*/ 795647 w 2937337"/>
              <a:gd name="connsiteY0" fmla="*/ 3150488 h 3186701"/>
              <a:gd name="connsiteX1" fmla="*/ 0 w 2937337"/>
              <a:gd name="connsiteY1" fmla="*/ 1749200 h 3186701"/>
              <a:gd name="connsiteX2" fmla="*/ 463138 w 2937337"/>
              <a:gd name="connsiteY2" fmla="*/ 1951080 h 3186701"/>
              <a:gd name="connsiteX3" fmla="*/ 776482 w 2937337"/>
              <a:gd name="connsiteY3" fmla="*/ 0 h 3186701"/>
              <a:gd name="connsiteX4" fmla="*/ 2034620 w 2937337"/>
              <a:gd name="connsiteY4" fmla="*/ 1294704 h 3186701"/>
              <a:gd name="connsiteX5" fmla="*/ 2095113 w 2937337"/>
              <a:gd name="connsiteY5" fmla="*/ 702407 h 3186701"/>
              <a:gd name="connsiteX6" fmla="*/ 1821452 w 2937337"/>
              <a:gd name="connsiteY6" fmla="*/ 3186701 h 3186701"/>
              <a:gd name="connsiteX7" fmla="*/ 1187533 w 2937337"/>
              <a:gd name="connsiteY7" fmla="*/ 1143558 h 3186701"/>
              <a:gd name="connsiteX8" fmla="*/ 1080655 w 2937337"/>
              <a:gd name="connsiteY8" fmla="*/ 2046083 h 3186701"/>
              <a:gd name="connsiteX9" fmla="*/ 914400 w 2937337"/>
              <a:gd name="connsiteY9" fmla="*/ 1666073 h 3186701"/>
              <a:gd name="connsiteX10" fmla="*/ 795647 w 2937337"/>
              <a:gd name="connsiteY10" fmla="*/ 3150488 h 3186701"/>
              <a:gd name="connsiteX0" fmla="*/ 795647 w 2893849"/>
              <a:gd name="connsiteY0" fmla="*/ 3150488 h 3186701"/>
              <a:gd name="connsiteX1" fmla="*/ 0 w 2893849"/>
              <a:gd name="connsiteY1" fmla="*/ 1749200 h 3186701"/>
              <a:gd name="connsiteX2" fmla="*/ 463138 w 2893849"/>
              <a:gd name="connsiteY2" fmla="*/ 1951080 h 3186701"/>
              <a:gd name="connsiteX3" fmla="*/ 776482 w 2893849"/>
              <a:gd name="connsiteY3" fmla="*/ 0 h 3186701"/>
              <a:gd name="connsiteX4" fmla="*/ 2034620 w 2893849"/>
              <a:gd name="connsiteY4" fmla="*/ 1294704 h 3186701"/>
              <a:gd name="connsiteX5" fmla="*/ 2031739 w 2893849"/>
              <a:gd name="connsiteY5" fmla="*/ 711461 h 3186701"/>
              <a:gd name="connsiteX6" fmla="*/ 1821452 w 2893849"/>
              <a:gd name="connsiteY6" fmla="*/ 3186701 h 3186701"/>
              <a:gd name="connsiteX7" fmla="*/ 1187533 w 2893849"/>
              <a:gd name="connsiteY7" fmla="*/ 1143558 h 3186701"/>
              <a:gd name="connsiteX8" fmla="*/ 1080655 w 2893849"/>
              <a:gd name="connsiteY8" fmla="*/ 2046083 h 3186701"/>
              <a:gd name="connsiteX9" fmla="*/ 914400 w 2893849"/>
              <a:gd name="connsiteY9" fmla="*/ 1666073 h 3186701"/>
              <a:gd name="connsiteX10" fmla="*/ 795647 w 2893849"/>
              <a:gd name="connsiteY10" fmla="*/ 3150488 h 3186701"/>
              <a:gd name="connsiteX0" fmla="*/ 795647 w 2931612"/>
              <a:gd name="connsiteY0" fmla="*/ 3150488 h 3186701"/>
              <a:gd name="connsiteX1" fmla="*/ 0 w 2931612"/>
              <a:gd name="connsiteY1" fmla="*/ 1749200 h 3186701"/>
              <a:gd name="connsiteX2" fmla="*/ 463138 w 2931612"/>
              <a:gd name="connsiteY2" fmla="*/ 1951080 h 3186701"/>
              <a:gd name="connsiteX3" fmla="*/ 776482 w 2931612"/>
              <a:gd name="connsiteY3" fmla="*/ 0 h 3186701"/>
              <a:gd name="connsiteX4" fmla="*/ 2034620 w 2931612"/>
              <a:gd name="connsiteY4" fmla="*/ 1294704 h 3186701"/>
              <a:gd name="connsiteX5" fmla="*/ 2031739 w 2931612"/>
              <a:gd name="connsiteY5" fmla="*/ 711461 h 3186701"/>
              <a:gd name="connsiteX6" fmla="*/ 1821452 w 2931612"/>
              <a:gd name="connsiteY6" fmla="*/ 3186701 h 3186701"/>
              <a:gd name="connsiteX7" fmla="*/ 1187533 w 2931612"/>
              <a:gd name="connsiteY7" fmla="*/ 1143558 h 3186701"/>
              <a:gd name="connsiteX8" fmla="*/ 1080655 w 2931612"/>
              <a:gd name="connsiteY8" fmla="*/ 2046083 h 3186701"/>
              <a:gd name="connsiteX9" fmla="*/ 914400 w 2931612"/>
              <a:gd name="connsiteY9" fmla="*/ 1666073 h 3186701"/>
              <a:gd name="connsiteX10" fmla="*/ 795647 w 2931612"/>
              <a:gd name="connsiteY10" fmla="*/ 3150488 h 3186701"/>
              <a:gd name="connsiteX0" fmla="*/ 795647 w 2931612"/>
              <a:gd name="connsiteY0" fmla="*/ 3150488 h 3186701"/>
              <a:gd name="connsiteX1" fmla="*/ 0 w 2931612"/>
              <a:gd name="connsiteY1" fmla="*/ 1749200 h 3186701"/>
              <a:gd name="connsiteX2" fmla="*/ 463138 w 2931612"/>
              <a:gd name="connsiteY2" fmla="*/ 1951080 h 3186701"/>
              <a:gd name="connsiteX3" fmla="*/ 776482 w 2931612"/>
              <a:gd name="connsiteY3" fmla="*/ 0 h 3186701"/>
              <a:gd name="connsiteX4" fmla="*/ 2034620 w 2931612"/>
              <a:gd name="connsiteY4" fmla="*/ 1294704 h 3186701"/>
              <a:gd name="connsiteX5" fmla="*/ 2031739 w 2931612"/>
              <a:gd name="connsiteY5" fmla="*/ 711461 h 3186701"/>
              <a:gd name="connsiteX6" fmla="*/ 1821452 w 2931612"/>
              <a:gd name="connsiteY6" fmla="*/ 3186701 h 3186701"/>
              <a:gd name="connsiteX7" fmla="*/ 1187533 w 2931612"/>
              <a:gd name="connsiteY7" fmla="*/ 1143558 h 3186701"/>
              <a:gd name="connsiteX8" fmla="*/ 1080655 w 2931612"/>
              <a:gd name="connsiteY8" fmla="*/ 2046083 h 3186701"/>
              <a:gd name="connsiteX9" fmla="*/ 914400 w 2931612"/>
              <a:gd name="connsiteY9" fmla="*/ 1666073 h 3186701"/>
              <a:gd name="connsiteX10" fmla="*/ 795647 w 2931612"/>
              <a:gd name="connsiteY10" fmla="*/ 3150488 h 3186701"/>
              <a:gd name="connsiteX0" fmla="*/ 795647 w 2931612"/>
              <a:gd name="connsiteY0" fmla="*/ 3150488 h 3186701"/>
              <a:gd name="connsiteX1" fmla="*/ 0 w 2931612"/>
              <a:gd name="connsiteY1" fmla="*/ 1749200 h 3186701"/>
              <a:gd name="connsiteX2" fmla="*/ 463138 w 2931612"/>
              <a:gd name="connsiteY2" fmla="*/ 1951080 h 3186701"/>
              <a:gd name="connsiteX3" fmla="*/ 776482 w 2931612"/>
              <a:gd name="connsiteY3" fmla="*/ 0 h 3186701"/>
              <a:gd name="connsiteX4" fmla="*/ 2034620 w 2931612"/>
              <a:gd name="connsiteY4" fmla="*/ 1294704 h 3186701"/>
              <a:gd name="connsiteX5" fmla="*/ 2031739 w 2931612"/>
              <a:gd name="connsiteY5" fmla="*/ 711461 h 3186701"/>
              <a:gd name="connsiteX6" fmla="*/ 1821452 w 2931612"/>
              <a:gd name="connsiteY6" fmla="*/ 3186701 h 3186701"/>
              <a:gd name="connsiteX7" fmla="*/ 1187533 w 2931612"/>
              <a:gd name="connsiteY7" fmla="*/ 1143558 h 3186701"/>
              <a:gd name="connsiteX8" fmla="*/ 1080655 w 2931612"/>
              <a:gd name="connsiteY8" fmla="*/ 2046083 h 3186701"/>
              <a:gd name="connsiteX9" fmla="*/ 914400 w 2931612"/>
              <a:gd name="connsiteY9" fmla="*/ 1666073 h 3186701"/>
              <a:gd name="connsiteX10" fmla="*/ 795647 w 2931612"/>
              <a:gd name="connsiteY10" fmla="*/ 3150488 h 3186701"/>
              <a:gd name="connsiteX0" fmla="*/ 795647 w 2931612"/>
              <a:gd name="connsiteY0" fmla="*/ 3150488 h 3186701"/>
              <a:gd name="connsiteX1" fmla="*/ 0 w 2931612"/>
              <a:gd name="connsiteY1" fmla="*/ 1749200 h 3186701"/>
              <a:gd name="connsiteX2" fmla="*/ 463138 w 2931612"/>
              <a:gd name="connsiteY2" fmla="*/ 1951080 h 3186701"/>
              <a:gd name="connsiteX3" fmla="*/ 776482 w 2931612"/>
              <a:gd name="connsiteY3" fmla="*/ 0 h 3186701"/>
              <a:gd name="connsiteX4" fmla="*/ 2034620 w 2931612"/>
              <a:gd name="connsiteY4" fmla="*/ 1294704 h 3186701"/>
              <a:gd name="connsiteX5" fmla="*/ 2031739 w 2931612"/>
              <a:gd name="connsiteY5" fmla="*/ 711461 h 3186701"/>
              <a:gd name="connsiteX6" fmla="*/ 1821452 w 2931612"/>
              <a:gd name="connsiteY6" fmla="*/ 3186701 h 3186701"/>
              <a:gd name="connsiteX7" fmla="*/ 1187533 w 2931612"/>
              <a:gd name="connsiteY7" fmla="*/ 1143558 h 3186701"/>
              <a:gd name="connsiteX8" fmla="*/ 1080655 w 2931612"/>
              <a:gd name="connsiteY8" fmla="*/ 2046083 h 3186701"/>
              <a:gd name="connsiteX9" fmla="*/ 914400 w 2931612"/>
              <a:gd name="connsiteY9" fmla="*/ 1666073 h 3186701"/>
              <a:gd name="connsiteX10" fmla="*/ 795647 w 2931612"/>
              <a:gd name="connsiteY10" fmla="*/ 3150488 h 3186701"/>
              <a:gd name="connsiteX0" fmla="*/ 795647 w 2931612"/>
              <a:gd name="connsiteY0" fmla="*/ 3150488 h 3186701"/>
              <a:gd name="connsiteX1" fmla="*/ 0 w 2931612"/>
              <a:gd name="connsiteY1" fmla="*/ 1749200 h 3186701"/>
              <a:gd name="connsiteX2" fmla="*/ 463138 w 2931612"/>
              <a:gd name="connsiteY2" fmla="*/ 1951080 h 3186701"/>
              <a:gd name="connsiteX3" fmla="*/ 776482 w 2931612"/>
              <a:gd name="connsiteY3" fmla="*/ 0 h 3186701"/>
              <a:gd name="connsiteX4" fmla="*/ 2034620 w 2931612"/>
              <a:gd name="connsiteY4" fmla="*/ 1294704 h 3186701"/>
              <a:gd name="connsiteX5" fmla="*/ 2031739 w 2931612"/>
              <a:gd name="connsiteY5" fmla="*/ 711461 h 3186701"/>
              <a:gd name="connsiteX6" fmla="*/ 1821452 w 2931612"/>
              <a:gd name="connsiteY6" fmla="*/ 3186701 h 3186701"/>
              <a:gd name="connsiteX7" fmla="*/ 1187533 w 2931612"/>
              <a:gd name="connsiteY7" fmla="*/ 1143558 h 3186701"/>
              <a:gd name="connsiteX8" fmla="*/ 1080655 w 2931612"/>
              <a:gd name="connsiteY8" fmla="*/ 2046083 h 3186701"/>
              <a:gd name="connsiteX9" fmla="*/ 914400 w 2931612"/>
              <a:gd name="connsiteY9" fmla="*/ 1666073 h 3186701"/>
              <a:gd name="connsiteX10" fmla="*/ 795647 w 2931612"/>
              <a:gd name="connsiteY10" fmla="*/ 3150488 h 3186701"/>
              <a:gd name="connsiteX0" fmla="*/ 813754 w 2949719"/>
              <a:gd name="connsiteY0" fmla="*/ 3150488 h 3186701"/>
              <a:gd name="connsiteX1" fmla="*/ 0 w 2949719"/>
              <a:gd name="connsiteY1" fmla="*/ 1726566 h 3186701"/>
              <a:gd name="connsiteX2" fmla="*/ 481245 w 2949719"/>
              <a:gd name="connsiteY2" fmla="*/ 1951080 h 3186701"/>
              <a:gd name="connsiteX3" fmla="*/ 794589 w 2949719"/>
              <a:gd name="connsiteY3" fmla="*/ 0 h 3186701"/>
              <a:gd name="connsiteX4" fmla="*/ 2052727 w 2949719"/>
              <a:gd name="connsiteY4" fmla="*/ 1294704 h 3186701"/>
              <a:gd name="connsiteX5" fmla="*/ 2049846 w 2949719"/>
              <a:gd name="connsiteY5" fmla="*/ 711461 h 3186701"/>
              <a:gd name="connsiteX6" fmla="*/ 1839559 w 2949719"/>
              <a:gd name="connsiteY6" fmla="*/ 3186701 h 3186701"/>
              <a:gd name="connsiteX7" fmla="*/ 1205640 w 2949719"/>
              <a:gd name="connsiteY7" fmla="*/ 1143558 h 3186701"/>
              <a:gd name="connsiteX8" fmla="*/ 1098762 w 2949719"/>
              <a:gd name="connsiteY8" fmla="*/ 2046083 h 3186701"/>
              <a:gd name="connsiteX9" fmla="*/ 932507 w 2949719"/>
              <a:gd name="connsiteY9" fmla="*/ 1666073 h 3186701"/>
              <a:gd name="connsiteX10" fmla="*/ 813754 w 2949719"/>
              <a:gd name="connsiteY10" fmla="*/ 3150488 h 3186701"/>
              <a:gd name="connsiteX0" fmla="*/ 813754 w 2949719"/>
              <a:gd name="connsiteY0" fmla="*/ 3150488 h 3186701"/>
              <a:gd name="connsiteX1" fmla="*/ 0 w 2949719"/>
              <a:gd name="connsiteY1" fmla="*/ 1726566 h 3186701"/>
              <a:gd name="connsiteX2" fmla="*/ 481245 w 2949719"/>
              <a:gd name="connsiteY2" fmla="*/ 1951080 h 3186701"/>
              <a:gd name="connsiteX3" fmla="*/ 794589 w 2949719"/>
              <a:gd name="connsiteY3" fmla="*/ 0 h 3186701"/>
              <a:gd name="connsiteX4" fmla="*/ 2052727 w 2949719"/>
              <a:gd name="connsiteY4" fmla="*/ 1294704 h 3186701"/>
              <a:gd name="connsiteX5" fmla="*/ 2049846 w 2949719"/>
              <a:gd name="connsiteY5" fmla="*/ 711461 h 3186701"/>
              <a:gd name="connsiteX6" fmla="*/ 1839559 w 2949719"/>
              <a:gd name="connsiteY6" fmla="*/ 3186701 h 3186701"/>
              <a:gd name="connsiteX7" fmla="*/ 1205640 w 2949719"/>
              <a:gd name="connsiteY7" fmla="*/ 1143558 h 3186701"/>
              <a:gd name="connsiteX8" fmla="*/ 1098762 w 2949719"/>
              <a:gd name="connsiteY8" fmla="*/ 2046083 h 3186701"/>
              <a:gd name="connsiteX9" fmla="*/ 932507 w 2949719"/>
              <a:gd name="connsiteY9" fmla="*/ 1666073 h 3186701"/>
              <a:gd name="connsiteX10" fmla="*/ 813754 w 2949719"/>
              <a:gd name="connsiteY10" fmla="*/ 3150488 h 3186701"/>
              <a:gd name="connsiteX0" fmla="*/ 813754 w 2949719"/>
              <a:gd name="connsiteY0" fmla="*/ 3150488 h 3186701"/>
              <a:gd name="connsiteX1" fmla="*/ 0 w 2949719"/>
              <a:gd name="connsiteY1" fmla="*/ 1726566 h 3186701"/>
              <a:gd name="connsiteX2" fmla="*/ 481245 w 2949719"/>
              <a:gd name="connsiteY2" fmla="*/ 1951080 h 3186701"/>
              <a:gd name="connsiteX3" fmla="*/ 794589 w 2949719"/>
              <a:gd name="connsiteY3" fmla="*/ 0 h 3186701"/>
              <a:gd name="connsiteX4" fmla="*/ 2052727 w 2949719"/>
              <a:gd name="connsiteY4" fmla="*/ 1294704 h 3186701"/>
              <a:gd name="connsiteX5" fmla="*/ 2049846 w 2949719"/>
              <a:gd name="connsiteY5" fmla="*/ 711461 h 3186701"/>
              <a:gd name="connsiteX6" fmla="*/ 1839559 w 2949719"/>
              <a:gd name="connsiteY6" fmla="*/ 3186701 h 3186701"/>
              <a:gd name="connsiteX7" fmla="*/ 1205640 w 2949719"/>
              <a:gd name="connsiteY7" fmla="*/ 1143558 h 3186701"/>
              <a:gd name="connsiteX8" fmla="*/ 1098762 w 2949719"/>
              <a:gd name="connsiteY8" fmla="*/ 2046083 h 3186701"/>
              <a:gd name="connsiteX9" fmla="*/ 932507 w 2949719"/>
              <a:gd name="connsiteY9" fmla="*/ 1666073 h 3186701"/>
              <a:gd name="connsiteX10" fmla="*/ 813754 w 2949719"/>
              <a:gd name="connsiteY10" fmla="*/ 3150488 h 3186701"/>
              <a:gd name="connsiteX0" fmla="*/ 813754 w 2949719"/>
              <a:gd name="connsiteY0" fmla="*/ 3150488 h 3186701"/>
              <a:gd name="connsiteX1" fmla="*/ 0 w 2949719"/>
              <a:gd name="connsiteY1" fmla="*/ 1726566 h 3186701"/>
              <a:gd name="connsiteX2" fmla="*/ 481245 w 2949719"/>
              <a:gd name="connsiteY2" fmla="*/ 1951080 h 3186701"/>
              <a:gd name="connsiteX3" fmla="*/ 794589 w 2949719"/>
              <a:gd name="connsiteY3" fmla="*/ 0 h 3186701"/>
              <a:gd name="connsiteX4" fmla="*/ 2052727 w 2949719"/>
              <a:gd name="connsiteY4" fmla="*/ 1294704 h 3186701"/>
              <a:gd name="connsiteX5" fmla="*/ 2049846 w 2949719"/>
              <a:gd name="connsiteY5" fmla="*/ 711461 h 3186701"/>
              <a:gd name="connsiteX6" fmla="*/ 1839559 w 2949719"/>
              <a:gd name="connsiteY6" fmla="*/ 3186701 h 3186701"/>
              <a:gd name="connsiteX7" fmla="*/ 1205640 w 2949719"/>
              <a:gd name="connsiteY7" fmla="*/ 1143558 h 3186701"/>
              <a:gd name="connsiteX8" fmla="*/ 1098762 w 2949719"/>
              <a:gd name="connsiteY8" fmla="*/ 2046083 h 3186701"/>
              <a:gd name="connsiteX9" fmla="*/ 932507 w 2949719"/>
              <a:gd name="connsiteY9" fmla="*/ 1666073 h 3186701"/>
              <a:gd name="connsiteX10" fmla="*/ 813754 w 2949719"/>
              <a:gd name="connsiteY10" fmla="*/ 3150488 h 3186701"/>
              <a:gd name="connsiteX0" fmla="*/ 1117045 w 2949719"/>
              <a:gd name="connsiteY0" fmla="*/ 3168594 h 3186701"/>
              <a:gd name="connsiteX1" fmla="*/ 0 w 2949719"/>
              <a:gd name="connsiteY1" fmla="*/ 1726566 h 3186701"/>
              <a:gd name="connsiteX2" fmla="*/ 481245 w 2949719"/>
              <a:gd name="connsiteY2" fmla="*/ 1951080 h 3186701"/>
              <a:gd name="connsiteX3" fmla="*/ 794589 w 2949719"/>
              <a:gd name="connsiteY3" fmla="*/ 0 h 3186701"/>
              <a:gd name="connsiteX4" fmla="*/ 2052727 w 2949719"/>
              <a:gd name="connsiteY4" fmla="*/ 1294704 h 3186701"/>
              <a:gd name="connsiteX5" fmla="*/ 2049846 w 2949719"/>
              <a:gd name="connsiteY5" fmla="*/ 711461 h 3186701"/>
              <a:gd name="connsiteX6" fmla="*/ 1839559 w 2949719"/>
              <a:gd name="connsiteY6" fmla="*/ 3186701 h 3186701"/>
              <a:gd name="connsiteX7" fmla="*/ 1205640 w 2949719"/>
              <a:gd name="connsiteY7" fmla="*/ 1143558 h 3186701"/>
              <a:gd name="connsiteX8" fmla="*/ 1098762 w 2949719"/>
              <a:gd name="connsiteY8" fmla="*/ 2046083 h 3186701"/>
              <a:gd name="connsiteX9" fmla="*/ 932507 w 2949719"/>
              <a:gd name="connsiteY9" fmla="*/ 1666073 h 3186701"/>
              <a:gd name="connsiteX10" fmla="*/ 1117045 w 2949719"/>
              <a:gd name="connsiteY10" fmla="*/ 3168594 h 3186701"/>
              <a:gd name="connsiteX0" fmla="*/ 1117045 w 2949719"/>
              <a:gd name="connsiteY0" fmla="*/ 3168594 h 3186701"/>
              <a:gd name="connsiteX1" fmla="*/ 0 w 2949719"/>
              <a:gd name="connsiteY1" fmla="*/ 1726566 h 3186701"/>
              <a:gd name="connsiteX2" fmla="*/ 481245 w 2949719"/>
              <a:gd name="connsiteY2" fmla="*/ 1951080 h 3186701"/>
              <a:gd name="connsiteX3" fmla="*/ 794589 w 2949719"/>
              <a:gd name="connsiteY3" fmla="*/ 0 h 3186701"/>
              <a:gd name="connsiteX4" fmla="*/ 2052727 w 2949719"/>
              <a:gd name="connsiteY4" fmla="*/ 1294704 h 3186701"/>
              <a:gd name="connsiteX5" fmla="*/ 2049846 w 2949719"/>
              <a:gd name="connsiteY5" fmla="*/ 711461 h 3186701"/>
              <a:gd name="connsiteX6" fmla="*/ 1839559 w 2949719"/>
              <a:gd name="connsiteY6" fmla="*/ 3186701 h 3186701"/>
              <a:gd name="connsiteX7" fmla="*/ 1205640 w 2949719"/>
              <a:gd name="connsiteY7" fmla="*/ 1143558 h 3186701"/>
              <a:gd name="connsiteX8" fmla="*/ 1098762 w 2949719"/>
              <a:gd name="connsiteY8" fmla="*/ 2046083 h 3186701"/>
              <a:gd name="connsiteX9" fmla="*/ 932507 w 2949719"/>
              <a:gd name="connsiteY9" fmla="*/ 1666073 h 3186701"/>
              <a:gd name="connsiteX10" fmla="*/ 1117045 w 2949719"/>
              <a:gd name="connsiteY10" fmla="*/ 3168594 h 3186701"/>
              <a:gd name="connsiteX0" fmla="*/ 1117045 w 2949719"/>
              <a:gd name="connsiteY0" fmla="*/ 3168594 h 3186701"/>
              <a:gd name="connsiteX1" fmla="*/ 0 w 2949719"/>
              <a:gd name="connsiteY1" fmla="*/ 1726566 h 3186701"/>
              <a:gd name="connsiteX2" fmla="*/ 481245 w 2949719"/>
              <a:gd name="connsiteY2" fmla="*/ 1951080 h 3186701"/>
              <a:gd name="connsiteX3" fmla="*/ 794589 w 2949719"/>
              <a:gd name="connsiteY3" fmla="*/ 0 h 3186701"/>
              <a:gd name="connsiteX4" fmla="*/ 2052727 w 2949719"/>
              <a:gd name="connsiteY4" fmla="*/ 1294704 h 3186701"/>
              <a:gd name="connsiteX5" fmla="*/ 2049846 w 2949719"/>
              <a:gd name="connsiteY5" fmla="*/ 711461 h 3186701"/>
              <a:gd name="connsiteX6" fmla="*/ 1839559 w 2949719"/>
              <a:gd name="connsiteY6" fmla="*/ 3186701 h 3186701"/>
              <a:gd name="connsiteX7" fmla="*/ 1205640 w 2949719"/>
              <a:gd name="connsiteY7" fmla="*/ 1143558 h 3186701"/>
              <a:gd name="connsiteX8" fmla="*/ 1098762 w 2949719"/>
              <a:gd name="connsiteY8" fmla="*/ 2046083 h 3186701"/>
              <a:gd name="connsiteX9" fmla="*/ 932507 w 2949719"/>
              <a:gd name="connsiteY9" fmla="*/ 1666073 h 3186701"/>
              <a:gd name="connsiteX10" fmla="*/ 1117045 w 2949719"/>
              <a:gd name="connsiteY10" fmla="*/ 3168594 h 3186701"/>
              <a:gd name="connsiteX0" fmla="*/ 1117045 w 2949719"/>
              <a:gd name="connsiteY0" fmla="*/ 3168594 h 3186701"/>
              <a:gd name="connsiteX1" fmla="*/ 0 w 2949719"/>
              <a:gd name="connsiteY1" fmla="*/ 1726566 h 3186701"/>
              <a:gd name="connsiteX2" fmla="*/ 481245 w 2949719"/>
              <a:gd name="connsiteY2" fmla="*/ 1951080 h 3186701"/>
              <a:gd name="connsiteX3" fmla="*/ 794589 w 2949719"/>
              <a:gd name="connsiteY3" fmla="*/ 0 h 3186701"/>
              <a:gd name="connsiteX4" fmla="*/ 2052727 w 2949719"/>
              <a:gd name="connsiteY4" fmla="*/ 1294704 h 3186701"/>
              <a:gd name="connsiteX5" fmla="*/ 2049846 w 2949719"/>
              <a:gd name="connsiteY5" fmla="*/ 711461 h 3186701"/>
              <a:gd name="connsiteX6" fmla="*/ 1839559 w 2949719"/>
              <a:gd name="connsiteY6" fmla="*/ 3186701 h 3186701"/>
              <a:gd name="connsiteX7" fmla="*/ 1205640 w 2949719"/>
              <a:gd name="connsiteY7" fmla="*/ 1143558 h 3186701"/>
              <a:gd name="connsiteX8" fmla="*/ 1098762 w 2949719"/>
              <a:gd name="connsiteY8" fmla="*/ 2046083 h 3186701"/>
              <a:gd name="connsiteX9" fmla="*/ 932507 w 2949719"/>
              <a:gd name="connsiteY9" fmla="*/ 1666073 h 3186701"/>
              <a:gd name="connsiteX10" fmla="*/ 1117045 w 2949719"/>
              <a:gd name="connsiteY10" fmla="*/ 3168594 h 3186701"/>
              <a:gd name="connsiteX0" fmla="*/ 1117045 w 2949719"/>
              <a:gd name="connsiteY0" fmla="*/ 3168594 h 3186701"/>
              <a:gd name="connsiteX1" fmla="*/ 0 w 2949719"/>
              <a:gd name="connsiteY1" fmla="*/ 1726566 h 3186701"/>
              <a:gd name="connsiteX2" fmla="*/ 417871 w 2949719"/>
              <a:gd name="connsiteY2" fmla="*/ 2009927 h 3186701"/>
              <a:gd name="connsiteX3" fmla="*/ 794589 w 2949719"/>
              <a:gd name="connsiteY3" fmla="*/ 0 h 3186701"/>
              <a:gd name="connsiteX4" fmla="*/ 2052727 w 2949719"/>
              <a:gd name="connsiteY4" fmla="*/ 1294704 h 3186701"/>
              <a:gd name="connsiteX5" fmla="*/ 2049846 w 2949719"/>
              <a:gd name="connsiteY5" fmla="*/ 711461 h 3186701"/>
              <a:gd name="connsiteX6" fmla="*/ 1839559 w 2949719"/>
              <a:gd name="connsiteY6" fmla="*/ 3186701 h 3186701"/>
              <a:gd name="connsiteX7" fmla="*/ 1205640 w 2949719"/>
              <a:gd name="connsiteY7" fmla="*/ 1143558 h 3186701"/>
              <a:gd name="connsiteX8" fmla="*/ 1098762 w 2949719"/>
              <a:gd name="connsiteY8" fmla="*/ 2046083 h 3186701"/>
              <a:gd name="connsiteX9" fmla="*/ 932507 w 2949719"/>
              <a:gd name="connsiteY9" fmla="*/ 1666073 h 3186701"/>
              <a:gd name="connsiteX10" fmla="*/ 1117045 w 2949719"/>
              <a:gd name="connsiteY10" fmla="*/ 3168594 h 3186701"/>
              <a:gd name="connsiteX0" fmla="*/ 1117045 w 2949719"/>
              <a:gd name="connsiteY0" fmla="*/ 3168594 h 3186701"/>
              <a:gd name="connsiteX1" fmla="*/ 0 w 2949719"/>
              <a:gd name="connsiteY1" fmla="*/ 1726566 h 3186701"/>
              <a:gd name="connsiteX2" fmla="*/ 417871 w 2949719"/>
              <a:gd name="connsiteY2" fmla="*/ 2009927 h 3186701"/>
              <a:gd name="connsiteX3" fmla="*/ 794589 w 2949719"/>
              <a:gd name="connsiteY3" fmla="*/ 0 h 3186701"/>
              <a:gd name="connsiteX4" fmla="*/ 2052727 w 2949719"/>
              <a:gd name="connsiteY4" fmla="*/ 1294704 h 3186701"/>
              <a:gd name="connsiteX5" fmla="*/ 2049846 w 2949719"/>
              <a:gd name="connsiteY5" fmla="*/ 711461 h 3186701"/>
              <a:gd name="connsiteX6" fmla="*/ 1839559 w 2949719"/>
              <a:gd name="connsiteY6" fmla="*/ 3186701 h 3186701"/>
              <a:gd name="connsiteX7" fmla="*/ 1205640 w 2949719"/>
              <a:gd name="connsiteY7" fmla="*/ 1143558 h 3186701"/>
              <a:gd name="connsiteX8" fmla="*/ 1098762 w 2949719"/>
              <a:gd name="connsiteY8" fmla="*/ 2046083 h 3186701"/>
              <a:gd name="connsiteX9" fmla="*/ 932507 w 2949719"/>
              <a:gd name="connsiteY9" fmla="*/ 1666073 h 3186701"/>
              <a:gd name="connsiteX10" fmla="*/ 1117045 w 2949719"/>
              <a:gd name="connsiteY10" fmla="*/ 3168594 h 3186701"/>
              <a:gd name="connsiteX0" fmla="*/ 1117045 w 2949719"/>
              <a:gd name="connsiteY0" fmla="*/ 3168594 h 3186701"/>
              <a:gd name="connsiteX1" fmla="*/ 0 w 2949719"/>
              <a:gd name="connsiteY1" fmla="*/ 1726566 h 3186701"/>
              <a:gd name="connsiteX2" fmla="*/ 417871 w 2949719"/>
              <a:gd name="connsiteY2" fmla="*/ 2009927 h 3186701"/>
              <a:gd name="connsiteX3" fmla="*/ 794589 w 2949719"/>
              <a:gd name="connsiteY3" fmla="*/ 0 h 3186701"/>
              <a:gd name="connsiteX4" fmla="*/ 2052727 w 2949719"/>
              <a:gd name="connsiteY4" fmla="*/ 1294704 h 3186701"/>
              <a:gd name="connsiteX5" fmla="*/ 2049846 w 2949719"/>
              <a:gd name="connsiteY5" fmla="*/ 711461 h 3186701"/>
              <a:gd name="connsiteX6" fmla="*/ 1839559 w 2949719"/>
              <a:gd name="connsiteY6" fmla="*/ 3186701 h 3186701"/>
              <a:gd name="connsiteX7" fmla="*/ 1205640 w 2949719"/>
              <a:gd name="connsiteY7" fmla="*/ 1143558 h 3186701"/>
              <a:gd name="connsiteX8" fmla="*/ 1098762 w 2949719"/>
              <a:gd name="connsiteY8" fmla="*/ 2046083 h 3186701"/>
              <a:gd name="connsiteX9" fmla="*/ 932507 w 2949719"/>
              <a:gd name="connsiteY9" fmla="*/ 1666073 h 3186701"/>
              <a:gd name="connsiteX10" fmla="*/ 1117045 w 2949719"/>
              <a:gd name="connsiteY10" fmla="*/ 3168594 h 3186701"/>
              <a:gd name="connsiteX0" fmla="*/ 1117045 w 2949719"/>
              <a:gd name="connsiteY0" fmla="*/ 3168594 h 3186701"/>
              <a:gd name="connsiteX1" fmla="*/ 0 w 2949719"/>
              <a:gd name="connsiteY1" fmla="*/ 1726566 h 3186701"/>
              <a:gd name="connsiteX2" fmla="*/ 417871 w 2949719"/>
              <a:gd name="connsiteY2" fmla="*/ 2009927 h 3186701"/>
              <a:gd name="connsiteX3" fmla="*/ 794589 w 2949719"/>
              <a:gd name="connsiteY3" fmla="*/ 0 h 3186701"/>
              <a:gd name="connsiteX4" fmla="*/ 2052727 w 2949719"/>
              <a:gd name="connsiteY4" fmla="*/ 1294704 h 3186701"/>
              <a:gd name="connsiteX5" fmla="*/ 2049846 w 2949719"/>
              <a:gd name="connsiteY5" fmla="*/ 711461 h 3186701"/>
              <a:gd name="connsiteX6" fmla="*/ 1839559 w 2949719"/>
              <a:gd name="connsiteY6" fmla="*/ 3186701 h 3186701"/>
              <a:gd name="connsiteX7" fmla="*/ 1205640 w 2949719"/>
              <a:gd name="connsiteY7" fmla="*/ 1143558 h 3186701"/>
              <a:gd name="connsiteX8" fmla="*/ 1098762 w 2949719"/>
              <a:gd name="connsiteY8" fmla="*/ 2046083 h 3186701"/>
              <a:gd name="connsiteX9" fmla="*/ 932507 w 2949719"/>
              <a:gd name="connsiteY9" fmla="*/ 1666073 h 3186701"/>
              <a:gd name="connsiteX10" fmla="*/ 1117045 w 2949719"/>
              <a:gd name="connsiteY10" fmla="*/ 3168594 h 3186701"/>
              <a:gd name="connsiteX0" fmla="*/ 1117045 w 2949719"/>
              <a:gd name="connsiteY0" fmla="*/ 3168594 h 3186701"/>
              <a:gd name="connsiteX1" fmla="*/ 0 w 2949719"/>
              <a:gd name="connsiteY1" fmla="*/ 1726566 h 3186701"/>
              <a:gd name="connsiteX2" fmla="*/ 417871 w 2949719"/>
              <a:gd name="connsiteY2" fmla="*/ 2009927 h 3186701"/>
              <a:gd name="connsiteX3" fmla="*/ 794589 w 2949719"/>
              <a:gd name="connsiteY3" fmla="*/ 0 h 3186701"/>
              <a:gd name="connsiteX4" fmla="*/ 2052727 w 2949719"/>
              <a:gd name="connsiteY4" fmla="*/ 1294704 h 3186701"/>
              <a:gd name="connsiteX5" fmla="*/ 2049846 w 2949719"/>
              <a:gd name="connsiteY5" fmla="*/ 711461 h 3186701"/>
              <a:gd name="connsiteX6" fmla="*/ 1839559 w 2949719"/>
              <a:gd name="connsiteY6" fmla="*/ 3186701 h 3186701"/>
              <a:gd name="connsiteX7" fmla="*/ 1205640 w 2949719"/>
              <a:gd name="connsiteY7" fmla="*/ 1143558 h 3186701"/>
              <a:gd name="connsiteX8" fmla="*/ 1098762 w 2949719"/>
              <a:gd name="connsiteY8" fmla="*/ 2046083 h 3186701"/>
              <a:gd name="connsiteX9" fmla="*/ 932507 w 2949719"/>
              <a:gd name="connsiteY9" fmla="*/ 1666073 h 3186701"/>
              <a:gd name="connsiteX10" fmla="*/ 1117045 w 2949719"/>
              <a:gd name="connsiteY10" fmla="*/ 3168594 h 3186701"/>
              <a:gd name="connsiteX0" fmla="*/ 1103465 w 2936139"/>
              <a:gd name="connsiteY0" fmla="*/ 3168594 h 3186701"/>
              <a:gd name="connsiteX1" fmla="*/ 0 w 2936139"/>
              <a:gd name="connsiteY1" fmla="*/ 1726566 h 3186701"/>
              <a:gd name="connsiteX2" fmla="*/ 404291 w 2936139"/>
              <a:gd name="connsiteY2" fmla="*/ 2009927 h 3186701"/>
              <a:gd name="connsiteX3" fmla="*/ 781009 w 2936139"/>
              <a:gd name="connsiteY3" fmla="*/ 0 h 3186701"/>
              <a:gd name="connsiteX4" fmla="*/ 2039147 w 2936139"/>
              <a:gd name="connsiteY4" fmla="*/ 1294704 h 3186701"/>
              <a:gd name="connsiteX5" fmla="*/ 2036266 w 2936139"/>
              <a:gd name="connsiteY5" fmla="*/ 711461 h 3186701"/>
              <a:gd name="connsiteX6" fmla="*/ 1825979 w 2936139"/>
              <a:gd name="connsiteY6" fmla="*/ 3186701 h 3186701"/>
              <a:gd name="connsiteX7" fmla="*/ 1192060 w 2936139"/>
              <a:gd name="connsiteY7" fmla="*/ 1143558 h 3186701"/>
              <a:gd name="connsiteX8" fmla="*/ 1085182 w 2936139"/>
              <a:gd name="connsiteY8" fmla="*/ 2046083 h 3186701"/>
              <a:gd name="connsiteX9" fmla="*/ 918927 w 2936139"/>
              <a:gd name="connsiteY9" fmla="*/ 1666073 h 3186701"/>
              <a:gd name="connsiteX10" fmla="*/ 1103465 w 2936139"/>
              <a:gd name="connsiteY10" fmla="*/ 3168594 h 3186701"/>
              <a:gd name="connsiteX0" fmla="*/ 1148733 w 2981407"/>
              <a:gd name="connsiteY0" fmla="*/ 3168594 h 3186701"/>
              <a:gd name="connsiteX1" fmla="*/ 0 w 2981407"/>
              <a:gd name="connsiteY1" fmla="*/ 1749200 h 3186701"/>
              <a:gd name="connsiteX2" fmla="*/ 449559 w 2981407"/>
              <a:gd name="connsiteY2" fmla="*/ 2009927 h 3186701"/>
              <a:gd name="connsiteX3" fmla="*/ 826277 w 2981407"/>
              <a:gd name="connsiteY3" fmla="*/ 0 h 3186701"/>
              <a:gd name="connsiteX4" fmla="*/ 2084415 w 2981407"/>
              <a:gd name="connsiteY4" fmla="*/ 1294704 h 3186701"/>
              <a:gd name="connsiteX5" fmla="*/ 2081534 w 2981407"/>
              <a:gd name="connsiteY5" fmla="*/ 711461 h 3186701"/>
              <a:gd name="connsiteX6" fmla="*/ 1871247 w 2981407"/>
              <a:gd name="connsiteY6" fmla="*/ 3186701 h 3186701"/>
              <a:gd name="connsiteX7" fmla="*/ 1237328 w 2981407"/>
              <a:gd name="connsiteY7" fmla="*/ 1143558 h 3186701"/>
              <a:gd name="connsiteX8" fmla="*/ 1130450 w 2981407"/>
              <a:gd name="connsiteY8" fmla="*/ 2046083 h 3186701"/>
              <a:gd name="connsiteX9" fmla="*/ 964195 w 2981407"/>
              <a:gd name="connsiteY9" fmla="*/ 1666073 h 3186701"/>
              <a:gd name="connsiteX10" fmla="*/ 1148733 w 2981407"/>
              <a:gd name="connsiteY10" fmla="*/ 3168594 h 3186701"/>
              <a:gd name="connsiteX0" fmla="*/ 1148733 w 2981407"/>
              <a:gd name="connsiteY0" fmla="*/ 3168594 h 3186701"/>
              <a:gd name="connsiteX1" fmla="*/ 0 w 2981407"/>
              <a:gd name="connsiteY1" fmla="*/ 1749200 h 3186701"/>
              <a:gd name="connsiteX2" fmla="*/ 449559 w 2981407"/>
              <a:gd name="connsiteY2" fmla="*/ 2009927 h 3186701"/>
              <a:gd name="connsiteX3" fmla="*/ 826277 w 2981407"/>
              <a:gd name="connsiteY3" fmla="*/ 0 h 3186701"/>
              <a:gd name="connsiteX4" fmla="*/ 2084415 w 2981407"/>
              <a:gd name="connsiteY4" fmla="*/ 1294704 h 3186701"/>
              <a:gd name="connsiteX5" fmla="*/ 2081534 w 2981407"/>
              <a:gd name="connsiteY5" fmla="*/ 711461 h 3186701"/>
              <a:gd name="connsiteX6" fmla="*/ 1871247 w 2981407"/>
              <a:gd name="connsiteY6" fmla="*/ 3186701 h 3186701"/>
              <a:gd name="connsiteX7" fmla="*/ 1237328 w 2981407"/>
              <a:gd name="connsiteY7" fmla="*/ 1143558 h 3186701"/>
              <a:gd name="connsiteX8" fmla="*/ 1130450 w 2981407"/>
              <a:gd name="connsiteY8" fmla="*/ 2046083 h 3186701"/>
              <a:gd name="connsiteX9" fmla="*/ 964195 w 2981407"/>
              <a:gd name="connsiteY9" fmla="*/ 1666073 h 3186701"/>
              <a:gd name="connsiteX10" fmla="*/ 1148733 w 2981407"/>
              <a:gd name="connsiteY10" fmla="*/ 3168594 h 3186701"/>
              <a:gd name="connsiteX0" fmla="*/ 1148733 w 2981407"/>
              <a:gd name="connsiteY0" fmla="*/ 3168594 h 3186701"/>
              <a:gd name="connsiteX1" fmla="*/ 0 w 2981407"/>
              <a:gd name="connsiteY1" fmla="*/ 1749200 h 3186701"/>
              <a:gd name="connsiteX2" fmla="*/ 449559 w 2981407"/>
              <a:gd name="connsiteY2" fmla="*/ 2009927 h 3186701"/>
              <a:gd name="connsiteX3" fmla="*/ 826277 w 2981407"/>
              <a:gd name="connsiteY3" fmla="*/ 0 h 3186701"/>
              <a:gd name="connsiteX4" fmla="*/ 2084415 w 2981407"/>
              <a:gd name="connsiteY4" fmla="*/ 1294704 h 3186701"/>
              <a:gd name="connsiteX5" fmla="*/ 2081534 w 2981407"/>
              <a:gd name="connsiteY5" fmla="*/ 711461 h 3186701"/>
              <a:gd name="connsiteX6" fmla="*/ 1871247 w 2981407"/>
              <a:gd name="connsiteY6" fmla="*/ 3186701 h 3186701"/>
              <a:gd name="connsiteX7" fmla="*/ 1237328 w 2981407"/>
              <a:gd name="connsiteY7" fmla="*/ 1143558 h 3186701"/>
              <a:gd name="connsiteX8" fmla="*/ 1130450 w 2981407"/>
              <a:gd name="connsiteY8" fmla="*/ 2046083 h 3186701"/>
              <a:gd name="connsiteX9" fmla="*/ 964195 w 2981407"/>
              <a:gd name="connsiteY9" fmla="*/ 1666073 h 3186701"/>
              <a:gd name="connsiteX10" fmla="*/ 1148733 w 2981407"/>
              <a:gd name="connsiteY10" fmla="*/ 3168594 h 3186701"/>
              <a:gd name="connsiteX0" fmla="*/ 1148733 w 2981407"/>
              <a:gd name="connsiteY0" fmla="*/ 3168594 h 3186701"/>
              <a:gd name="connsiteX1" fmla="*/ 0 w 2981407"/>
              <a:gd name="connsiteY1" fmla="*/ 1749200 h 3186701"/>
              <a:gd name="connsiteX2" fmla="*/ 449559 w 2981407"/>
              <a:gd name="connsiteY2" fmla="*/ 2009927 h 3186701"/>
              <a:gd name="connsiteX3" fmla="*/ 826277 w 2981407"/>
              <a:gd name="connsiteY3" fmla="*/ 0 h 3186701"/>
              <a:gd name="connsiteX4" fmla="*/ 2084415 w 2981407"/>
              <a:gd name="connsiteY4" fmla="*/ 1294704 h 3186701"/>
              <a:gd name="connsiteX5" fmla="*/ 2081534 w 2981407"/>
              <a:gd name="connsiteY5" fmla="*/ 711461 h 3186701"/>
              <a:gd name="connsiteX6" fmla="*/ 1871247 w 2981407"/>
              <a:gd name="connsiteY6" fmla="*/ 3186701 h 3186701"/>
              <a:gd name="connsiteX7" fmla="*/ 1237328 w 2981407"/>
              <a:gd name="connsiteY7" fmla="*/ 1143558 h 3186701"/>
              <a:gd name="connsiteX8" fmla="*/ 1130450 w 2981407"/>
              <a:gd name="connsiteY8" fmla="*/ 2046083 h 3186701"/>
              <a:gd name="connsiteX9" fmla="*/ 918927 w 2981407"/>
              <a:gd name="connsiteY9" fmla="*/ 1697760 h 3186701"/>
              <a:gd name="connsiteX10" fmla="*/ 1148733 w 2981407"/>
              <a:gd name="connsiteY10" fmla="*/ 3168594 h 3186701"/>
              <a:gd name="connsiteX0" fmla="*/ 1148733 w 2981407"/>
              <a:gd name="connsiteY0" fmla="*/ 3168594 h 3186701"/>
              <a:gd name="connsiteX1" fmla="*/ 0 w 2981407"/>
              <a:gd name="connsiteY1" fmla="*/ 1749200 h 3186701"/>
              <a:gd name="connsiteX2" fmla="*/ 449559 w 2981407"/>
              <a:gd name="connsiteY2" fmla="*/ 2009927 h 3186701"/>
              <a:gd name="connsiteX3" fmla="*/ 826277 w 2981407"/>
              <a:gd name="connsiteY3" fmla="*/ 0 h 3186701"/>
              <a:gd name="connsiteX4" fmla="*/ 2084415 w 2981407"/>
              <a:gd name="connsiteY4" fmla="*/ 1294704 h 3186701"/>
              <a:gd name="connsiteX5" fmla="*/ 2081534 w 2981407"/>
              <a:gd name="connsiteY5" fmla="*/ 711461 h 3186701"/>
              <a:gd name="connsiteX6" fmla="*/ 1871247 w 2981407"/>
              <a:gd name="connsiteY6" fmla="*/ 3186701 h 3186701"/>
              <a:gd name="connsiteX7" fmla="*/ 1237328 w 2981407"/>
              <a:gd name="connsiteY7" fmla="*/ 1143558 h 3186701"/>
              <a:gd name="connsiteX8" fmla="*/ 1130450 w 2981407"/>
              <a:gd name="connsiteY8" fmla="*/ 2046083 h 3186701"/>
              <a:gd name="connsiteX9" fmla="*/ 918927 w 2981407"/>
              <a:gd name="connsiteY9" fmla="*/ 1697760 h 3186701"/>
              <a:gd name="connsiteX10" fmla="*/ 1148733 w 2981407"/>
              <a:gd name="connsiteY10" fmla="*/ 3168594 h 3186701"/>
              <a:gd name="connsiteX0" fmla="*/ 1148733 w 2981407"/>
              <a:gd name="connsiteY0" fmla="*/ 3168594 h 3186701"/>
              <a:gd name="connsiteX1" fmla="*/ 0 w 2981407"/>
              <a:gd name="connsiteY1" fmla="*/ 1749200 h 3186701"/>
              <a:gd name="connsiteX2" fmla="*/ 449559 w 2981407"/>
              <a:gd name="connsiteY2" fmla="*/ 2009927 h 3186701"/>
              <a:gd name="connsiteX3" fmla="*/ 826277 w 2981407"/>
              <a:gd name="connsiteY3" fmla="*/ 0 h 3186701"/>
              <a:gd name="connsiteX4" fmla="*/ 2084415 w 2981407"/>
              <a:gd name="connsiteY4" fmla="*/ 1294704 h 3186701"/>
              <a:gd name="connsiteX5" fmla="*/ 2081534 w 2981407"/>
              <a:gd name="connsiteY5" fmla="*/ 711461 h 3186701"/>
              <a:gd name="connsiteX6" fmla="*/ 1871247 w 2981407"/>
              <a:gd name="connsiteY6" fmla="*/ 3186701 h 3186701"/>
              <a:gd name="connsiteX7" fmla="*/ 1237328 w 2981407"/>
              <a:gd name="connsiteY7" fmla="*/ 1143558 h 3186701"/>
              <a:gd name="connsiteX8" fmla="*/ 1130450 w 2981407"/>
              <a:gd name="connsiteY8" fmla="*/ 2046083 h 3186701"/>
              <a:gd name="connsiteX9" fmla="*/ 918927 w 2981407"/>
              <a:gd name="connsiteY9" fmla="*/ 1697760 h 3186701"/>
              <a:gd name="connsiteX10" fmla="*/ 1148733 w 2981407"/>
              <a:gd name="connsiteY10" fmla="*/ 3168594 h 3186701"/>
              <a:gd name="connsiteX0" fmla="*/ 1148733 w 2981407"/>
              <a:gd name="connsiteY0" fmla="*/ 3168594 h 3186701"/>
              <a:gd name="connsiteX1" fmla="*/ 0 w 2981407"/>
              <a:gd name="connsiteY1" fmla="*/ 1749200 h 3186701"/>
              <a:gd name="connsiteX2" fmla="*/ 449559 w 2981407"/>
              <a:gd name="connsiteY2" fmla="*/ 2009927 h 3186701"/>
              <a:gd name="connsiteX3" fmla="*/ 826277 w 2981407"/>
              <a:gd name="connsiteY3" fmla="*/ 0 h 3186701"/>
              <a:gd name="connsiteX4" fmla="*/ 2084415 w 2981407"/>
              <a:gd name="connsiteY4" fmla="*/ 1294704 h 3186701"/>
              <a:gd name="connsiteX5" fmla="*/ 2081534 w 2981407"/>
              <a:gd name="connsiteY5" fmla="*/ 711461 h 3186701"/>
              <a:gd name="connsiteX6" fmla="*/ 1871247 w 2981407"/>
              <a:gd name="connsiteY6" fmla="*/ 3186701 h 3186701"/>
              <a:gd name="connsiteX7" fmla="*/ 1237328 w 2981407"/>
              <a:gd name="connsiteY7" fmla="*/ 1143558 h 3186701"/>
              <a:gd name="connsiteX8" fmla="*/ 1130450 w 2981407"/>
              <a:gd name="connsiteY8" fmla="*/ 2046083 h 3186701"/>
              <a:gd name="connsiteX9" fmla="*/ 918927 w 2981407"/>
              <a:gd name="connsiteY9" fmla="*/ 1697760 h 3186701"/>
              <a:gd name="connsiteX10" fmla="*/ 1148733 w 2981407"/>
              <a:gd name="connsiteY10" fmla="*/ 3168594 h 3186701"/>
              <a:gd name="connsiteX0" fmla="*/ 1148733 w 2981407"/>
              <a:gd name="connsiteY0" fmla="*/ 3168594 h 3186701"/>
              <a:gd name="connsiteX1" fmla="*/ 0 w 2981407"/>
              <a:gd name="connsiteY1" fmla="*/ 1749200 h 3186701"/>
              <a:gd name="connsiteX2" fmla="*/ 449559 w 2981407"/>
              <a:gd name="connsiteY2" fmla="*/ 2009927 h 3186701"/>
              <a:gd name="connsiteX3" fmla="*/ 826277 w 2981407"/>
              <a:gd name="connsiteY3" fmla="*/ 0 h 3186701"/>
              <a:gd name="connsiteX4" fmla="*/ 2084415 w 2981407"/>
              <a:gd name="connsiteY4" fmla="*/ 1294704 h 3186701"/>
              <a:gd name="connsiteX5" fmla="*/ 2081534 w 2981407"/>
              <a:gd name="connsiteY5" fmla="*/ 711461 h 3186701"/>
              <a:gd name="connsiteX6" fmla="*/ 1871247 w 2981407"/>
              <a:gd name="connsiteY6" fmla="*/ 3186701 h 3186701"/>
              <a:gd name="connsiteX7" fmla="*/ 1237328 w 2981407"/>
              <a:gd name="connsiteY7" fmla="*/ 1143558 h 3186701"/>
              <a:gd name="connsiteX8" fmla="*/ 1130450 w 2981407"/>
              <a:gd name="connsiteY8" fmla="*/ 2046083 h 3186701"/>
              <a:gd name="connsiteX9" fmla="*/ 918927 w 2981407"/>
              <a:gd name="connsiteY9" fmla="*/ 1697760 h 3186701"/>
              <a:gd name="connsiteX10" fmla="*/ 1148733 w 2981407"/>
              <a:gd name="connsiteY10" fmla="*/ 3168594 h 3186701"/>
              <a:gd name="connsiteX0" fmla="*/ 1148733 w 2981407"/>
              <a:gd name="connsiteY0" fmla="*/ 3168594 h 3186701"/>
              <a:gd name="connsiteX1" fmla="*/ 0 w 2981407"/>
              <a:gd name="connsiteY1" fmla="*/ 1749200 h 3186701"/>
              <a:gd name="connsiteX2" fmla="*/ 449559 w 2981407"/>
              <a:gd name="connsiteY2" fmla="*/ 2009927 h 3186701"/>
              <a:gd name="connsiteX3" fmla="*/ 826277 w 2981407"/>
              <a:gd name="connsiteY3" fmla="*/ 0 h 3186701"/>
              <a:gd name="connsiteX4" fmla="*/ 2084415 w 2981407"/>
              <a:gd name="connsiteY4" fmla="*/ 1294704 h 3186701"/>
              <a:gd name="connsiteX5" fmla="*/ 2081534 w 2981407"/>
              <a:gd name="connsiteY5" fmla="*/ 711461 h 3186701"/>
              <a:gd name="connsiteX6" fmla="*/ 1871247 w 2981407"/>
              <a:gd name="connsiteY6" fmla="*/ 3186701 h 3186701"/>
              <a:gd name="connsiteX7" fmla="*/ 1237328 w 2981407"/>
              <a:gd name="connsiteY7" fmla="*/ 1143558 h 3186701"/>
              <a:gd name="connsiteX8" fmla="*/ 1130450 w 2981407"/>
              <a:gd name="connsiteY8" fmla="*/ 2046083 h 3186701"/>
              <a:gd name="connsiteX9" fmla="*/ 918927 w 2981407"/>
              <a:gd name="connsiteY9" fmla="*/ 1697760 h 3186701"/>
              <a:gd name="connsiteX10" fmla="*/ 1148733 w 2981407"/>
              <a:gd name="connsiteY10" fmla="*/ 3168594 h 3186701"/>
              <a:gd name="connsiteX0" fmla="*/ 1148733 w 2981407"/>
              <a:gd name="connsiteY0" fmla="*/ 3168594 h 3186701"/>
              <a:gd name="connsiteX1" fmla="*/ 0 w 2981407"/>
              <a:gd name="connsiteY1" fmla="*/ 1749200 h 3186701"/>
              <a:gd name="connsiteX2" fmla="*/ 449559 w 2981407"/>
              <a:gd name="connsiteY2" fmla="*/ 2009927 h 3186701"/>
              <a:gd name="connsiteX3" fmla="*/ 826277 w 2981407"/>
              <a:gd name="connsiteY3" fmla="*/ 0 h 3186701"/>
              <a:gd name="connsiteX4" fmla="*/ 2084415 w 2981407"/>
              <a:gd name="connsiteY4" fmla="*/ 1294704 h 3186701"/>
              <a:gd name="connsiteX5" fmla="*/ 2081534 w 2981407"/>
              <a:gd name="connsiteY5" fmla="*/ 711461 h 3186701"/>
              <a:gd name="connsiteX6" fmla="*/ 1871247 w 2981407"/>
              <a:gd name="connsiteY6" fmla="*/ 3186701 h 3186701"/>
              <a:gd name="connsiteX7" fmla="*/ 1237328 w 2981407"/>
              <a:gd name="connsiteY7" fmla="*/ 1143558 h 3186701"/>
              <a:gd name="connsiteX8" fmla="*/ 1130450 w 2981407"/>
              <a:gd name="connsiteY8" fmla="*/ 2046083 h 3186701"/>
              <a:gd name="connsiteX9" fmla="*/ 918927 w 2981407"/>
              <a:gd name="connsiteY9" fmla="*/ 1697760 h 3186701"/>
              <a:gd name="connsiteX10" fmla="*/ 1148733 w 2981407"/>
              <a:gd name="connsiteY10" fmla="*/ 3168594 h 3186701"/>
              <a:gd name="connsiteX0" fmla="*/ 1148733 w 2897156"/>
              <a:gd name="connsiteY0" fmla="*/ 3168594 h 3173121"/>
              <a:gd name="connsiteX1" fmla="*/ 0 w 2897156"/>
              <a:gd name="connsiteY1" fmla="*/ 1749200 h 3173121"/>
              <a:gd name="connsiteX2" fmla="*/ 449559 w 2897156"/>
              <a:gd name="connsiteY2" fmla="*/ 2009927 h 3173121"/>
              <a:gd name="connsiteX3" fmla="*/ 826277 w 2897156"/>
              <a:gd name="connsiteY3" fmla="*/ 0 h 3173121"/>
              <a:gd name="connsiteX4" fmla="*/ 2084415 w 2897156"/>
              <a:gd name="connsiteY4" fmla="*/ 1294704 h 3173121"/>
              <a:gd name="connsiteX5" fmla="*/ 2081534 w 2897156"/>
              <a:gd name="connsiteY5" fmla="*/ 711461 h 3173121"/>
              <a:gd name="connsiteX6" fmla="*/ 1581537 w 2897156"/>
              <a:gd name="connsiteY6" fmla="*/ 3173121 h 3173121"/>
              <a:gd name="connsiteX7" fmla="*/ 1237328 w 2897156"/>
              <a:gd name="connsiteY7" fmla="*/ 1143558 h 3173121"/>
              <a:gd name="connsiteX8" fmla="*/ 1130450 w 2897156"/>
              <a:gd name="connsiteY8" fmla="*/ 2046083 h 3173121"/>
              <a:gd name="connsiteX9" fmla="*/ 918927 w 2897156"/>
              <a:gd name="connsiteY9" fmla="*/ 1697760 h 3173121"/>
              <a:gd name="connsiteX10" fmla="*/ 1148733 w 2897156"/>
              <a:gd name="connsiteY10" fmla="*/ 3168594 h 3173121"/>
              <a:gd name="connsiteX0" fmla="*/ 1148733 w 2969045"/>
              <a:gd name="connsiteY0" fmla="*/ 3168594 h 3173121"/>
              <a:gd name="connsiteX1" fmla="*/ 0 w 2969045"/>
              <a:gd name="connsiteY1" fmla="*/ 1749200 h 3173121"/>
              <a:gd name="connsiteX2" fmla="*/ 449559 w 2969045"/>
              <a:gd name="connsiteY2" fmla="*/ 2009927 h 3173121"/>
              <a:gd name="connsiteX3" fmla="*/ 826277 w 2969045"/>
              <a:gd name="connsiteY3" fmla="*/ 0 h 3173121"/>
              <a:gd name="connsiteX4" fmla="*/ 2084415 w 2969045"/>
              <a:gd name="connsiteY4" fmla="*/ 1294704 h 3173121"/>
              <a:gd name="connsiteX5" fmla="*/ 2081534 w 2969045"/>
              <a:gd name="connsiteY5" fmla="*/ 711461 h 3173121"/>
              <a:gd name="connsiteX6" fmla="*/ 1581537 w 2969045"/>
              <a:gd name="connsiteY6" fmla="*/ 3173121 h 3173121"/>
              <a:gd name="connsiteX7" fmla="*/ 1237328 w 2969045"/>
              <a:gd name="connsiteY7" fmla="*/ 1143558 h 3173121"/>
              <a:gd name="connsiteX8" fmla="*/ 1130450 w 2969045"/>
              <a:gd name="connsiteY8" fmla="*/ 2046083 h 3173121"/>
              <a:gd name="connsiteX9" fmla="*/ 918927 w 2969045"/>
              <a:gd name="connsiteY9" fmla="*/ 1697760 h 3173121"/>
              <a:gd name="connsiteX10" fmla="*/ 1148733 w 2969045"/>
              <a:gd name="connsiteY10" fmla="*/ 3168594 h 3173121"/>
              <a:gd name="connsiteX0" fmla="*/ 1148733 w 2969045"/>
              <a:gd name="connsiteY0" fmla="*/ 3168594 h 3173121"/>
              <a:gd name="connsiteX1" fmla="*/ 0 w 2969045"/>
              <a:gd name="connsiteY1" fmla="*/ 1749200 h 3173121"/>
              <a:gd name="connsiteX2" fmla="*/ 449559 w 2969045"/>
              <a:gd name="connsiteY2" fmla="*/ 2009927 h 3173121"/>
              <a:gd name="connsiteX3" fmla="*/ 826277 w 2969045"/>
              <a:gd name="connsiteY3" fmla="*/ 0 h 3173121"/>
              <a:gd name="connsiteX4" fmla="*/ 2084415 w 2969045"/>
              <a:gd name="connsiteY4" fmla="*/ 1294704 h 3173121"/>
              <a:gd name="connsiteX5" fmla="*/ 2081534 w 2969045"/>
              <a:gd name="connsiteY5" fmla="*/ 711461 h 3173121"/>
              <a:gd name="connsiteX6" fmla="*/ 1581537 w 2969045"/>
              <a:gd name="connsiteY6" fmla="*/ 3173121 h 3173121"/>
              <a:gd name="connsiteX7" fmla="*/ 1237328 w 2969045"/>
              <a:gd name="connsiteY7" fmla="*/ 1143558 h 3173121"/>
              <a:gd name="connsiteX8" fmla="*/ 1130450 w 2969045"/>
              <a:gd name="connsiteY8" fmla="*/ 2046083 h 3173121"/>
              <a:gd name="connsiteX9" fmla="*/ 918927 w 2969045"/>
              <a:gd name="connsiteY9" fmla="*/ 1697760 h 3173121"/>
              <a:gd name="connsiteX10" fmla="*/ 1148733 w 2969045"/>
              <a:gd name="connsiteY10" fmla="*/ 3168594 h 3173121"/>
              <a:gd name="connsiteX0" fmla="*/ 1148733 w 2969045"/>
              <a:gd name="connsiteY0" fmla="*/ 3168594 h 3173121"/>
              <a:gd name="connsiteX1" fmla="*/ 0 w 2969045"/>
              <a:gd name="connsiteY1" fmla="*/ 1749200 h 3173121"/>
              <a:gd name="connsiteX2" fmla="*/ 449559 w 2969045"/>
              <a:gd name="connsiteY2" fmla="*/ 2009927 h 3173121"/>
              <a:gd name="connsiteX3" fmla="*/ 826277 w 2969045"/>
              <a:gd name="connsiteY3" fmla="*/ 0 h 3173121"/>
              <a:gd name="connsiteX4" fmla="*/ 2084415 w 2969045"/>
              <a:gd name="connsiteY4" fmla="*/ 1294704 h 3173121"/>
              <a:gd name="connsiteX5" fmla="*/ 2081534 w 2969045"/>
              <a:gd name="connsiteY5" fmla="*/ 711461 h 3173121"/>
              <a:gd name="connsiteX6" fmla="*/ 1581537 w 2969045"/>
              <a:gd name="connsiteY6" fmla="*/ 3173121 h 3173121"/>
              <a:gd name="connsiteX7" fmla="*/ 1237328 w 2969045"/>
              <a:gd name="connsiteY7" fmla="*/ 1143558 h 3173121"/>
              <a:gd name="connsiteX8" fmla="*/ 1288886 w 2969045"/>
              <a:gd name="connsiteY8" fmla="*/ 2367481 h 3173121"/>
              <a:gd name="connsiteX9" fmla="*/ 918927 w 2969045"/>
              <a:gd name="connsiteY9" fmla="*/ 1697760 h 3173121"/>
              <a:gd name="connsiteX10" fmla="*/ 1148733 w 2969045"/>
              <a:gd name="connsiteY10" fmla="*/ 3168594 h 3173121"/>
              <a:gd name="connsiteX0" fmla="*/ 1148733 w 2969045"/>
              <a:gd name="connsiteY0" fmla="*/ 3168594 h 3173121"/>
              <a:gd name="connsiteX1" fmla="*/ 0 w 2969045"/>
              <a:gd name="connsiteY1" fmla="*/ 1749200 h 3173121"/>
              <a:gd name="connsiteX2" fmla="*/ 449559 w 2969045"/>
              <a:gd name="connsiteY2" fmla="*/ 2009927 h 3173121"/>
              <a:gd name="connsiteX3" fmla="*/ 826277 w 2969045"/>
              <a:gd name="connsiteY3" fmla="*/ 0 h 3173121"/>
              <a:gd name="connsiteX4" fmla="*/ 2084415 w 2969045"/>
              <a:gd name="connsiteY4" fmla="*/ 1294704 h 3173121"/>
              <a:gd name="connsiteX5" fmla="*/ 2081534 w 2969045"/>
              <a:gd name="connsiteY5" fmla="*/ 711461 h 3173121"/>
              <a:gd name="connsiteX6" fmla="*/ 1581537 w 2969045"/>
              <a:gd name="connsiteY6" fmla="*/ 3173121 h 3173121"/>
              <a:gd name="connsiteX7" fmla="*/ 1237328 w 2969045"/>
              <a:gd name="connsiteY7" fmla="*/ 1143558 h 3173121"/>
              <a:gd name="connsiteX8" fmla="*/ 1162138 w 2969045"/>
              <a:gd name="connsiteY8" fmla="*/ 2408222 h 3173121"/>
              <a:gd name="connsiteX9" fmla="*/ 918927 w 2969045"/>
              <a:gd name="connsiteY9" fmla="*/ 1697760 h 3173121"/>
              <a:gd name="connsiteX10" fmla="*/ 1148733 w 2969045"/>
              <a:gd name="connsiteY10" fmla="*/ 3168594 h 3173121"/>
              <a:gd name="connsiteX0" fmla="*/ 1148733 w 2969045"/>
              <a:gd name="connsiteY0" fmla="*/ 3168594 h 3173121"/>
              <a:gd name="connsiteX1" fmla="*/ 0 w 2969045"/>
              <a:gd name="connsiteY1" fmla="*/ 1749200 h 3173121"/>
              <a:gd name="connsiteX2" fmla="*/ 449559 w 2969045"/>
              <a:gd name="connsiteY2" fmla="*/ 2009927 h 3173121"/>
              <a:gd name="connsiteX3" fmla="*/ 826277 w 2969045"/>
              <a:gd name="connsiteY3" fmla="*/ 0 h 3173121"/>
              <a:gd name="connsiteX4" fmla="*/ 2084415 w 2969045"/>
              <a:gd name="connsiteY4" fmla="*/ 1294704 h 3173121"/>
              <a:gd name="connsiteX5" fmla="*/ 2081534 w 2969045"/>
              <a:gd name="connsiteY5" fmla="*/ 711461 h 3173121"/>
              <a:gd name="connsiteX6" fmla="*/ 1581537 w 2969045"/>
              <a:gd name="connsiteY6" fmla="*/ 3173121 h 3173121"/>
              <a:gd name="connsiteX7" fmla="*/ 1237328 w 2969045"/>
              <a:gd name="connsiteY7" fmla="*/ 1143558 h 3173121"/>
              <a:gd name="connsiteX8" fmla="*/ 1162138 w 2969045"/>
              <a:gd name="connsiteY8" fmla="*/ 2408222 h 3173121"/>
              <a:gd name="connsiteX9" fmla="*/ 918927 w 2969045"/>
              <a:gd name="connsiteY9" fmla="*/ 1697760 h 3173121"/>
              <a:gd name="connsiteX10" fmla="*/ 1148733 w 2969045"/>
              <a:gd name="connsiteY10" fmla="*/ 3168594 h 3173121"/>
              <a:gd name="connsiteX0" fmla="*/ 1148733 w 2969045"/>
              <a:gd name="connsiteY0" fmla="*/ 3168594 h 3173121"/>
              <a:gd name="connsiteX1" fmla="*/ 0 w 2969045"/>
              <a:gd name="connsiteY1" fmla="*/ 1749200 h 3173121"/>
              <a:gd name="connsiteX2" fmla="*/ 449559 w 2969045"/>
              <a:gd name="connsiteY2" fmla="*/ 2009927 h 3173121"/>
              <a:gd name="connsiteX3" fmla="*/ 826277 w 2969045"/>
              <a:gd name="connsiteY3" fmla="*/ 0 h 3173121"/>
              <a:gd name="connsiteX4" fmla="*/ 2084415 w 2969045"/>
              <a:gd name="connsiteY4" fmla="*/ 1294704 h 3173121"/>
              <a:gd name="connsiteX5" fmla="*/ 2081534 w 2969045"/>
              <a:gd name="connsiteY5" fmla="*/ 711461 h 3173121"/>
              <a:gd name="connsiteX6" fmla="*/ 1581537 w 2969045"/>
              <a:gd name="connsiteY6" fmla="*/ 3173121 h 3173121"/>
              <a:gd name="connsiteX7" fmla="*/ 1237328 w 2969045"/>
              <a:gd name="connsiteY7" fmla="*/ 1143558 h 3173121"/>
              <a:gd name="connsiteX8" fmla="*/ 1162138 w 2969045"/>
              <a:gd name="connsiteY8" fmla="*/ 2408222 h 3173121"/>
              <a:gd name="connsiteX9" fmla="*/ 918927 w 2969045"/>
              <a:gd name="connsiteY9" fmla="*/ 1697760 h 3173121"/>
              <a:gd name="connsiteX10" fmla="*/ 1148733 w 2969045"/>
              <a:gd name="connsiteY10" fmla="*/ 3168594 h 3173121"/>
              <a:gd name="connsiteX0" fmla="*/ 1148733 w 2969045"/>
              <a:gd name="connsiteY0" fmla="*/ 3168594 h 3173121"/>
              <a:gd name="connsiteX1" fmla="*/ 0 w 2969045"/>
              <a:gd name="connsiteY1" fmla="*/ 1749200 h 3173121"/>
              <a:gd name="connsiteX2" fmla="*/ 449559 w 2969045"/>
              <a:gd name="connsiteY2" fmla="*/ 2009927 h 3173121"/>
              <a:gd name="connsiteX3" fmla="*/ 826277 w 2969045"/>
              <a:gd name="connsiteY3" fmla="*/ 0 h 3173121"/>
              <a:gd name="connsiteX4" fmla="*/ 2084415 w 2969045"/>
              <a:gd name="connsiteY4" fmla="*/ 1294704 h 3173121"/>
              <a:gd name="connsiteX5" fmla="*/ 2081534 w 2969045"/>
              <a:gd name="connsiteY5" fmla="*/ 711461 h 3173121"/>
              <a:gd name="connsiteX6" fmla="*/ 1581537 w 2969045"/>
              <a:gd name="connsiteY6" fmla="*/ 3173121 h 3173121"/>
              <a:gd name="connsiteX7" fmla="*/ 1237328 w 2969045"/>
              <a:gd name="connsiteY7" fmla="*/ 1143558 h 3173121"/>
              <a:gd name="connsiteX8" fmla="*/ 1162138 w 2969045"/>
              <a:gd name="connsiteY8" fmla="*/ 2408222 h 3173121"/>
              <a:gd name="connsiteX9" fmla="*/ 918927 w 2969045"/>
              <a:gd name="connsiteY9" fmla="*/ 1697760 h 3173121"/>
              <a:gd name="connsiteX10" fmla="*/ 1148733 w 2969045"/>
              <a:gd name="connsiteY10" fmla="*/ 3168594 h 3173121"/>
              <a:gd name="connsiteX0" fmla="*/ 1148733 w 2969045"/>
              <a:gd name="connsiteY0" fmla="*/ 3168594 h 3173121"/>
              <a:gd name="connsiteX1" fmla="*/ 0 w 2969045"/>
              <a:gd name="connsiteY1" fmla="*/ 1749200 h 3173121"/>
              <a:gd name="connsiteX2" fmla="*/ 449559 w 2969045"/>
              <a:gd name="connsiteY2" fmla="*/ 2009927 h 3173121"/>
              <a:gd name="connsiteX3" fmla="*/ 826277 w 2969045"/>
              <a:gd name="connsiteY3" fmla="*/ 0 h 3173121"/>
              <a:gd name="connsiteX4" fmla="*/ 2084415 w 2969045"/>
              <a:gd name="connsiteY4" fmla="*/ 1294704 h 3173121"/>
              <a:gd name="connsiteX5" fmla="*/ 2081534 w 2969045"/>
              <a:gd name="connsiteY5" fmla="*/ 711461 h 3173121"/>
              <a:gd name="connsiteX6" fmla="*/ 1581537 w 2969045"/>
              <a:gd name="connsiteY6" fmla="*/ 3173121 h 3173121"/>
              <a:gd name="connsiteX7" fmla="*/ 1237328 w 2969045"/>
              <a:gd name="connsiteY7" fmla="*/ 1143558 h 3173121"/>
              <a:gd name="connsiteX8" fmla="*/ 1162138 w 2969045"/>
              <a:gd name="connsiteY8" fmla="*/ 2408222 h 3173121"/>
              <a:gd name="connsiteX9" fmla="*/ 918927 w 2969045"/>
              <a:gd name="connsiteY9" fmla="*/ 1697760 h 3173121"/>
              <a:gd name="connsiteX10" fmla="*/ 1148733 w 2969045"/>
              <a:gd name="connsiteY10" fmla="*/ 3168594 h 3173121"/>
              <a:gd name="connsiteX0" fmla="*/ 1148733 w 2969045"/>
              <a:gd name="connsiteY0" fmla="*/ 3168594 h 3173121"/>
              <a:gd name="connsiteX1" fmla="*/ 0 w 2969045"/>
              <a:gd name="connsiteY1" fmla="*/ 1749200 h 3173121"/>
              <a:gd name="connsiteX2" fmla="*/ 449559 w 2969045"/>
              <a:gd name="connsiteY2" fmla="*/ 2009927 h 3173121"/>
              <a:gd name="connsiteX3" fmla="*/ 826277 w 2969045"/>
              <a:gd name="connsiteY3" fmla="*/ 0 h 3173121"/>
              <a:gd name="connsiteX4" fmla="*/ 2084415 w 2969045"/>
              <a:gd name="connsiteY4" fmla="*/ 1294704 h 3173121"/>
              <a:gd name="connsiteX5" fmla="*/ 2081534 w 2969045"/>
              <a:gd name="connsiteY5" fmla="*/ 711461 h 3173121"/>
              <a:gd name="connsiteX6" fmla="*/ 1581537 w 2969045"/>
              <a:gd name="connsiteY6" fmla="*/ 3173121 h 3173121"/>
              <a:gd name="connsiteX7" fmla="*/ 1237328 w 2969045"/>
              <a:gd name="connsiteY7" fmla="*/ 1143558 h 3173121"/>
              <a:gd name="connsiteX8" fmla="*/ 1162138 w 2969045"/>
              <a:gd name="connsiteY8" fmla="*/ 2408222 h 3173121"/>
              <a:gd name="connsiteX9" fmla="*/ 918927 w 2969045"/>
              <a:gd name="connsiteY9" fmla="*/ 1697760 h 3173121"/>
              <a:gd name="connsiteX10" fmla="*/ 1148733 w 2969045"/>
              <a:gd name="connsiteY10" fmla="*/ 3168594 h 3173121"/>
              <a:gd name="connsiteX0" fmla="*/ 1148733 w 2969045"/>
              <a:gd name="connsiteY0" fmla="*/ 3168594 h 3173121"/>
              <a:gd name="connsiteX1" fmla="*/ 0 w 2969045"/>
              <a:gd name="connsiteY1" fmla="*/ 1749200 h 3173121"/>
              <a:gd name="connsiteX2" fmla="*/ 449559 w 2969045"/>
              <a:gd name="connsiteY2" fmla="*/ 2009927 h 3173121"/>
              <a:gd name="connsiteX3" fmla="*/ 826277 w 2969045"/>
              <a:gd name="connsiteY3" fmla="*/ 0 h 3173121"/>
              <a:gd name="connsiteX4" fmla="*/ 2084415 w 2969045"/>
              <a:gd name="connsiteY4" fmla="*/ 1294704 h 3173121"/>
              <a:gd name="connsiteX5" fmla="*/ 2081534 w 2969045"/>
              <a:gd name="connsiteY5" fmla="*/ 711461 h 3173121"/>
              <a:gd name="connsiteX6" fmla="*/ 1581537 w 2969045"/>
              <a:gd name="connsiteY6" fmla="*/ 3173121 h 3173121"/>
              <a:gd name="connsiteX7" fmla="*/ 1237328 w 2969045"/>
              <a:gd name="connsiteY7" fmla="*/ 1143558 h 3173121"/>
              <a:gd name="connsiteX8" fmla="*/ 1162138 w 2969045"/>
              <a:gd name="connsiteY8" fmla="*/ 2408222 h 3173121"/>
              <a:gd name="connsiteX9" fmla="*/ 918927 w 2969045"/>
              <a:gd name="connsiteY9" fmla="*/ 1697760 h 3173121"/>
              <a:gd name="connsiteX10" fmla="*/ 1148733 w 2969045"/>
              <a:gd name="connsiteY10" fmla="*/ 3168594 h 3173121"/>
              <a:gd name="connsiteX0" fmla="*/ 1148733 w 2969045"/>
              <a:gd name="connsiteY0" fmla="*/ 3168594 h 3173121"/>
              <a:gd name="connsiteX1" fmla="*/ 0 w 2969045"/>
              <a:gd name="connsiteY1" fmla="*/ 1749200 h 3173121"/>
              <a:gd name="connsiteX2" fmla="*/ 449559 w 2969045"/>
              <a:gd name="connsiteY2" fmla="*/ 2009927 h 3173121"/>
              <a:gd name="connsiteX3" fmla="*/ 826277 w 2969045"/>
              <a:gd name="connsiteY3" fmla="*/ 0 h 3173121"/>
              <a:gd name="connsiteX4" fmla="*/ 2084415 w 2969045"/>
              <a:gd name="connsiteY4" fmla="*/ 1294704 h 3173121"/>
              <a:gd name="connsiteX5" fmla="*/ 2081534 w 2969045"/>
              <a:gd name="connsiteY5" fmla="*/ 711461 h 3173121"/>
              <a:gd name="connsiteX6" fmla="*/ 1581537 w 2969045"/>
              <a:gd name="connsiteY6" fmla="*/ 3173121 h 3173121"/>
              <a:gd name="connsiteX7" fmla="*/ 1237328 w 2969045"/>
              <a:gd name="connsiteY7" fmla="*/ 1143558 h 3173121"/>
              <a:gd name="connsiteX8" fmla="*/ 1162138 w 2969045"/>
              <a:gd name="connsiteY8" fmla="*/ 2408222 h 3173121"/>
              <a:gd name="connsiteX9" fmla="*/ 918927 w 2969045"/>
              <a:gd name="connsiteY9" fmla="*/ 1697760 h 3173121"/>
              <a:gd name="connsiteX10" fmla="*/ 1148733 w 2969045"/>
              <a:gd name="connsiteY10" fmla="*/ 3168594 h 3173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969045" h="3173121">
                <a:moveTo>
                  <a:pt x="1148733" y="3168594"/>
                </a:moveTo>
                <a:cubicBezTo>
                  <a:pt x="-68605" y="2992718"/>
                  <a:pt x="289357" y="2373225"/>
                  <a:pt x="0" y="1749200"/>
                </a:cubicBezTo>
                <a:cubicBezTo>
                  <a:pt x="211718" y="1712379"/>
                  <a:pt x="518500" y="2277611"/>
                  <a:pt x="449559" y="2009927"/>
                </a:cubicBezTo>
                <a:cubicBezTo>
                  <a:pt x="87752" y="952162"/>
                  <a:pt x="1169975" y="921963"/>
                  <a:pt x="826277" y="0"/>
                </a:cubicBezTo>
                <a:cubicBezTo>
                  <a:pt x="1894489" y="60376"/>
                  <a:pt x="1582046" y="1053258"/>
                  <a:pt x="2084415" y="1294704"/>
                </a:cubicBezTo>
                <a:cubicBezTo>
                  <a:pt x="2220765" y="1319082"/>
                  <a:pt x="2384277" y="1207659"/>
                  <a:pt x="2081534" y="711461"/>
                </a:cubicBezTo>
                <a:cubicBezTo>
                  <a:pt x="3844765" y="2025429"/>
                  <a:pt x="2606774" y="3099478"/>
                  <a:pt x="1581537" y="3173121"/>
                </a:cubicBezTo>
                <a:cubicBezTo>
                  <a:pt x="2049242" y="2917586"/>
                  <a:pt x="2204598" y="1824606"/>
                  <a:pt x="1237328" y="1143558"/>
                </a:cubicBezTo>
                <a:cubicBezTo>
                  <a:pt x="1479342" y="1777869"/>
                  <a:pt x="1318476" y="2090782"/>
                  <a:pt x="1162138" y="2408222"/>
                </a:cubicBezTo>
                <a:cubicBezTo>
                  <a:pt x="1159532" y="2246847"/>
                  <a:pt x="1324413" y="1899876"/>
                  <a:pt x="918927" y="1697760"/>
                </a:cubicBezTo>
                <a:cubicBezTo>
                  <a:pt x="1108697" y="2305733"/>
                  <a:pt x="307113" y="2497246"/>
                  <a:pt x="1148733" y="3168594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61" name="Rounded Rectangle 25">
            <a:extLst>
              <a:ext uri="{FF2B5EF4-FFF2-40B4-BE49-F238E27FC236}">
                <a16:creationId xmlns:a16="http://schemas.microsoft.com/office/drawing/2014/main" id="{52251A18-A73B-4A26-9FEC-6B831E23205B}"/>
              </a:ext>
            </a:extLst>
          </p:cNvPr>
          <p:cNvSpPr/>
          <p:nvPr/>
        </p:nvSpPr>
        <p:spPr>
          <a:xfrm>
            <a:off x="10972939" y="2640819"/>
            <a:ext cx="586980" cy="430164"/>
          </a:xfrm>
          <a:custGeom>
            <a:avLst/>
            <a:gdLst/>
            <a:ahLst/>
            <a:cxnLst/>
            <a:rect l="l" t="t" r="r" b="b"/>
            <a:pathLst>
              <a:path w="3248842" h="2380886">
                <a:moveTo>
                  <a:pt x="1194785" y="1472263"/>
                </a:moveTo>
                <a:cubicBezTo>
                  <a:pt x="1150014" y="1472263"/>
                  <a:pt x="1113720" y="1508557"/>
                  <a:pt x="1113720" y="1553328"/>
                </a:cubicBezTo>
                <a:lnTo>
                  <a:pt x="1113720" y="1600880"/>
                </a:lnTo>
                <a:cubicBezTo>
                  <a:pt x="1113720" y="1645651"/>
                  <a:pt x="1150014" y="1681945"/>
                  <a:pt x="1194785" y="1681945"/>
                </a:cubicBezTo>
                <a:lnTo>
                  <a:pt x="2067186" y="1681945"/>
                </a:lnTo>
                <a:cubicBezTo>
                  <a:pt x="2111957" y="1681945"/>
                  <a:pt x="2148251" y="1645651"/>
                  <a:pt x="2148251" y="1600880"/>
                </a:cubicBezTo>
                <a:lnTo>
                  <a:pt x="2148251" y="1553328"/>
                </a:lnTo>
                <a:cubicBezTo>
                  <a:pt x="2148251" y="1508557"/>
                  <a:pt x="2111957" y="1472263"/>
                  <a:pt x="2067186" y="1472263"/>
                </a:cubicBezTo>
                <a:close/>
                <a:moveTo>
                  <a:pt x="2582402" y="986449"/>
                </a:moveTo>
                <a:cubicBezTo>
                  <a:pt x="2477247" y="986449"/>
                  <a:pt x="2392002" y="1071694"/>
                  <a:pt x="2392002" y="1176848"/>
                </a:cubicBezTo>
                <a:cubicBezTo>
                  <a:pt x="2392002" y="1282003"/>
                  <a:pt x="2477247" y="1367248"/>
                  <a:pt x="2582402" y="1367248"/>
                </a:cubicBezTo>
                <a:cubicBezTo>
                  <a:pt x="2687557" y="1367248"/>
                  <a:pt x="2772801" y="1282003"/>
                  <a:pt x="2772801" y="1176848"/>
                </a:cubicBezTo>
                <a:cubicBezTo>
                  <a:pt x="2772801" y="1071694"/>
                  <a:pt x="2687557" y="986449"/>
                  <a:pt x="2582402" y="986449"/>
                </a:cubicBezTo>
                <a:close/>
                <a:moveTo>
                  <a:pt x="679570" y="986449"/>
                </a:moveTo>
                <a:cubicBezTo>
                  <a:pt x="574415" y="986449"/>
                  <a:pt x="489171" y="1071694"/>
                  <a:pt x="489171" y="1176848"/>
                </a:cubicBezTo>
                <a:cubicBezTo>
                  <a:pt x="489171" y="1282003"/>
                  <a:pt x="574415" y="1367248"/>
                  <a:pt x="679570" y="1367248"/>
                </a:cubicBezTo>
                <a:cubicBezTo>
                  <a:pt x="784725" y="1367248"/>
                  <a:pt x="869970" y="1282003"/>
                  <a:pt x="869970" y="1176848"/>
                </a:cubicBezTo>
                <a:cubicBezTo>
                  <a:pt x="869970" y="1071694"/>
                  <a:pt x="784725" y="986449"/>
                  <a:pt x="679570" y="986449"/>
                </a:cubicBezTo>
                <a:close/>
                <a:moveTo>
                  <a:pt x="867954" y="155801"/>
                </a:moveTo>
                <a:lnTo>
                  <a:pt x="726849" y="858549"/>
                </a:lnTo>
                <a:lnTo>
                  <a:pt x="2535122" y="858549"/>
                </a:lnTo>
                <a:lnTo>
                  <a:pt x="2394017" y="155801"/>
                </a:lnTo>
                <a:close/>
                <a:moveTo>
                  <a:pt x="677268" y="0"/>
                </a:moveTo>
                <a:lnTo>
                  <a:pt x="2584703" y="0"/>
                </a:lnTo>
                <a:lnTo>
                  <a:pt x="2736658" y="607820"/>
                </a:lnTo>
                <a:cubicBezTo>
                  <a:pt x="2766265" y="579906"/>
                  <a:pt x="2806392" y="564164"/>
                  <a:pt x="2850195" y="564164"/>
                </a:cubicBezTo>
                <a:lnTo>
                  <a:pt x="3069929" y="564164"/>
                </a:lnTo>
                <a:cubicBezTo>
                  <a:pt x="3168740" y="564164"/>
                  <a:pt x="3248842" y="644266"/>
                  <a:pt x="3248842" y="743077"/>
                </a:cubicBezTo>
                <a:lnTo>
                  <a:pt x="3248842" y="792706"/>
                </a:lnTo>
                <a:cubicBezTo>
                  <a:pt x="3248842" y="891517"/>
                  <a:pt x="3168740" y="971619"/>
                  <a:pt x="3069929" y="971619"/>
                </a:cubicBezTo>
                <a:lnTo>
                  <a:pt x="3054536" y="971619"/>
                </a:lnTo>
                <a:cubicBezTo>
                  <a:pt x="3060628" y="989042"/>
                  <a:pt x="3063411" y="1007758"/>
                  <a:pt x="3063411" y="1027125"/>
                </a:cubicBezTo>
                <a:lnTo>
                  <a:pt x="3063411" y="2015961"/>
                </a:lnTo>
                <a:lnTo>
                  <a:pt x="2889080" y="2015961"/>
                </a:lnTo>
                <a:lnTo>
                  <a:pt x="2889080" y="2260325"/>
                </a:lnTo>
                <a:cubicBezTo>
                  <a:pt x="2889080" y="2326909"/>
                  <a:pt x="2835102" y="2380886"/>
                  <a:pt x="2768518" y="2380886"/>
                </a:cubicBezTo>
                <a:lnTo>
                  <a:pt x="2286284" y="2380886"/>
                </a:lnTo>
                <a:cubicBezTo>
                  <a:pt x="2219700" y="2380886"/>
                  <a:pt x="2165723" y="2326909"/>
                  <a:pt x="2165723" y="2260325"/>
                </a:cubicBezTo>
                <a:lnTo>
                  <a:pt x="2165723" y="2015961"/>
                </a:lnTo>
                <a:lnTo>
                  <a:pt x="1096248" y="2015961"/>
                </a:lnTo>
                <a:lnTo>
                  <a:pt x="1096248" y="2260325"/>
                </a:lnTo>
                <a:cubicBezTo>
                  <a:pt x="1096248" y="2326909"/>
                  <a:pt x="1042270" y="2380886"/>
                  <a:pt x="975686" y="2380886"/>
                </a:cubicBezTo>
                <a:lnTo>
                  <a:pt x="493453" y="2380886"/>
                </a:lnTo>
                <a:cubicBezTo>
                  <a:pt x="426869" y="2380886"/>
                  <a:pt x="372891" y="2326909"/>
                  <a:pt x="372891" y="2260325"/>
                </a:cubicBezTo>
                <a:lnTo>
                  <a:pt x="372891" y="2015961"/>
                </a:lnTo>
                <a:lnTo>
                  <a:pt x="198560" y="2015961"/>
                </a:lnTo>
                <a:lnTo>
                  <a:pt x="198560" y="1027125"/>
                </a:lnTo>
                <a:cubicBezTo>
                  <a:pt x="198560" y="1007758"/>
                  <a:pt x="201343" y="989042"/>
                  <a:pt x="207435" y="971619"/>
                </a:cubicBezTo>
                <a:lnTo>
                  <a:pt x="178913" y="971619"/>
                </a:lnTo>
                <a:cubicBezTo>
                  <a:pt x="80102" y="971619"/>
                  <a:pt x="0" y="891517"/>
                  <a:pt x="0" y="792706"/>
                </a:cubicBezTo>
                <a:lnTo>
                  <a:pt x="0" y="743077"/>
                </a:lnTo>
                <a:cubicBezTo>
                  <a:pt x="0" y="644266"/>
                  <a:pt x="80102" y="564164"/>
                  <a:pt x="178913" y="564164"/>
                </a:cubicBezTo>
                <a:lnTo>
                  <a:pt x="398647" y="564164"/>
                </a:lnTo>
                <a:cubicBezTo>
                  <a:pt x="447310" y="564164"/>
                  <a:pt x="491436" y="583593"/>
                  <a:pt x="523419" y="615395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62" name="Block Arc 41">
            <a:extLst>
              <a:ext uri="{FF2B5EF4-FFF2-40B4-BE49-F238E27FC236}">
                <a16:creationId xmlns:a16="http://schemas.microsoft.com/office/drawing/2014/main" id="{36DCD789-FED8-401C-8C81-CF9F331DAB6D}"/>
              </a:ext>
            </a:extLst>
          </p:cNvPr>
          <p:cNvSpPr/>
          <p:nvPr/>
        </p:nvSpPr>
        <p:spPr>
          <a:xfrm>
            <a:off x="9454085" y="5654191"/>
            <a:ext cx="563324" cy="570461"/>
          </a:xfrm>
          <a:custGeom>
            <a:avLst/>
            <a:gdLst/>
            <a:ahLst/>
            <a:cxnLst/>
            <a:rect l="l" t="t" r="r" b="b"/>
            <a:pathLst>
              <a:path w="2844151" h="2880180">
                <a:moveTo>
                  <a:pt x="2390187" y="1502145"/>
                </a:moveTo>
                <a:lnTo>
                  <a:pt x="2844151" y="1530794"/>
                </a:lnTo>
                <a:cubicBezTo>
                  <a:pt x="2804784" y="2154619"/>
                  <a:pt x="2367464" y="2681809"/>
                  <a:pt x="1761650" y="2835749"/>
                </a:cubicBezTo>
                <a:cubicBezTo>
                  <a:pt x="1191486" y="2980631"/>
                  <a:pt x="594633" y="2763755"/>
                  <a:pt x="252983" y="2293680"/>
                </a:cubicBezTo>
                <a:lnTo>
                  <a:pt x="102982" y="2380283"/>
                </a:lnTo>
                <a:lnTo>
                  <a:pt x="104524" y="1603708"/>
                </a:lnTo>
                <a:lnTo>
                  <a:pt x="777828" y="1990661"/>
                </a:lnTo>
                <a:lnTo>
                  <a:pt x="648358" y="2065410"/>
                </a:lnTo>
                <a:cubicBezTo>
                  <a:pt x="886760" y="2358087"/>
                  <a:pt x="1276546" y="2489694"/>
                  <a:pt x="1649627" y="2394891"/>
                </a:cubicBezTo>
                <a:cubicBezTo>
                  <a:pt x="2064076" y="2289577"/>
                  <a:pt x="2363256" y="1928916"/>
                  <a:pt x="2390187" y="1502145"/>
                </a:cubicBezTo>
                <a:close/>
                <a:moveTo>
                  <a:pt x="1424249" y="58"/>
                </a:moveTo>
                <a:cubicBezTo>
                  <a:pt x="1880498" y="-4073"/>
                  <a:pt x="2318325" y="209551"/>
                  <a:pt x="2591169" y="586524"/>
                </a:cubicBezTo>
                <a:lnTo>
                  <a:pt x="2741170" y="499921"/>
                </a:lnTo>
                <a:lnTo>
                  <a:pt x="2739628" y="1276497"/>
                </a:lnTo>
                <a:lnTo>
                  <a:pt x="2066324" y="889544"/>
                </a:lnTo>
                <a:lnTo>
                  <a:pt x="2195793" y="814795"/>
                </a:lnTo>
                <a:cubicBezTo>
                  <a:pt x="1957391" y="522118"/>
                  <a:pt x="1567606" y="390511"/>
                  <a:pt x="1194524" y="485313"/>
                </a:cubicBezTo>
                <a:cubicBezTo>
                  <a:pt x="780075" y="590627"/>
                  <a:pt x="480895" y="951288"/>
                  <a:pt x="453964" y="1378059"/>
                </a:cubicBezTo>
                <a:lnTo>
                  <a:pt x="0" y="1349410"/>
                </a:lnTo>
                <a:cubicBezTo>
                  <a:pt x="39367" y="725585"/>
                  <a:pt x="476687" y="198395"/>
                  <a:pt x="1082501" y="44455"/>
                </a:cubicBezTo>
                <a:cubicBezTo>
                  <a:pt x="1196091" y="15591"/>
                  <a:pt x="1310740" y="1086"/>
                  <a:pt x="1424249" y="5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63" name="Round Same Side Corner Rectangle 11">
            <a:extLst>
              <a:ext uri="{FF2B5EF4-FFF2-40B4-BE49-F238E27FC236}">
                <a16:creationId xmlns:a16="http://schemas.microsoft.com/office/drawing/2014/main" id="{AFBCEF67-A3DE-45DE-97FD-374E910A67D8}"/>
              </a:ext>
            </a:extLst>
          </p:cNvPr>
          <p:cNvSpPr/>
          <p:nvPr/>
        </p:nvSpPr>
        <p:spPr>
          <a:xfrm rot="9900000">
            <a:off x="10208910" y="1534987"/>
            <a:ext cx="579867" cy="492485"/>
          </a:xfrm>
          <a:custGeom>
            <a:avLst/>
            <a:gdLst/>
            <a:ahLst/>
            <a:cxnLst/>
            <a:rect l="l" t="t" r="r" b="b"/>
            <a:pathLst>
              <a:path w="2911009" h="2472345">
                <a:moveTo>
                  <a:pt x="2219598" y="1335309"/>
                </a:moveTo>
                <a:lnTo>
                  <a:pt x="2219598" y="1222573"/>
                </a:lnTo>
                <a:cubicBezTo>
                  <a:pt x="2219598" y="1176944"/>
                  <a:pt x="2241926" y="1136530"/>
                  <a:pt x="2277694" y="1113650"/>
                </a:cubicBezTo>
                <a:lnTo>
                  <a:pt x="2277694" y="137786"/>
                </a:lnTo>
                <a:cubicBezTo>
                  <a:pt x="2277694" y="61689"/>
                  <a:pt x="2339383" y="0"/>
                  <a:pt x="2415480" y="0"/>
                </a:cubicBezTo>
                <a:lnTo>
                  <a:pt x="2545196" y="0"/>
                </a:lnTo>
                <a:cubicBezTo>
                  <a:pt x="2621293" y="0"/>
                  <a:pt x="2682982" y="61689"/>
                  <a:pt x="2682982" y="137786"/>
                </a:cubicBezTo>
                <a:lnTo>
                  <a:pt x="2682982" y="1099067"/>
                </a:lnTo>
                <a:cubicBezTo>
                  <a:pt x="2730197" y="1120049"/>
                  <a:pt x="2762708" y="1167515"/>
                  <a:pt x="2762708" y="1222573"/>
                </a:cubicBezTo>
                <a:lnTo>
                  <a:pt x="2762708" y="1480834"/>
                </a:lnTo>
                <a:close/>
                <a:moveTo>
                  <a:pt x="241900" y="1676361"/>
                </a:moveTo>
                <a:cubicBezTo>
                  <a:pt x="69371" y="1631107"/>
                  <a:pt x="-34146" y="1454930"/>
                  <a:pt x="10296" y="1282189"/>
                </a:cubicBezTo>
                <a:cubicBezTo>
                  <a:pt x="54739" y="1109449"/>
                  <a:pt x="230428" y="1005105"/>
                  <a:pt x="403375" y="1048736"/>
                </a:cubicBezTo>
                <a:cubicBezTo>
                  <a:pt x="349550" y="1257945"/>
                  <a:pt x="295726" y="1467153"/>
                  <a:pt x="241900" y="1676361"/>
                </a:cubicBezTo>
                <a:close/>
                <a:moveTo>
                  <a:pt x="2578947" y="2467929"/>
                </a:moveTo>
                <a:lnTo>
                  <a:pt x="1957545" y="2301425"/>
                </a:lnTo>
                <a:lnTo>
                  <a:pt x="2194209" y="1418183"/>
                </a:lnTo>
                <a:lnTo>
                  <a:pt x="2815611" y="1584687"/>
                </a:lnTo>
                <a:cubicBezTo>
                  <a:pt x="2884250" y="1603079"/>
                  <a:pt x="2924985" y="1673632"/>
                  <a:pt x="2906593" y="1742272"/>
                </a:cubicBezTo>
                <a:lnTo>
                  <a:pt x="2736532" y="2376947"/>
                </a:lnTo>
                <a:cubicBezTo>
                  <a:pt x="2718140" y="2445587"/>
                  <a:pt x="2647586" y="2486321"/>
                  <a:pt x="2578947" y="2467929"/>
                </a:cubicBezTo>
                <a:close/>
                <a:moveTo>
                  <a:pt x="610249" y="2287120"/>
                </a:moveTo>
                <a:lnTo>
                  <a:pt x="1020264" y="756923"/>
                </a:lnTo>
                <a:lnTo>
                  <a:pt x="2107356" y="1398691"/>
                </a:lnTo>
                <a:lnTo>
                  <a:pt x="1872582" y="2274879"/>
                </a:lnTo>
                <a:close/>
                <a:moveTo>
                  <a:pt x="426016" y="2349577"/>
                </a:moveTo>
                <a:lnTo>
                  <a:pt x="243978" y="2300800"/>
                </a:lnTo>
                <a:cubicBezTo>
                  <a:pt x="205115" y="2290387"/>
                  <a:pt x="182051" y="2250439"/>
                  <a:pt x="192464" y="2211576"/>
                </a:cubicBezTo>
                <a:lnTo>
                  <a:pt x="620679" y="613455"/>
                </a:lnTo>
                <a:cubicBezTo>
                  <a:pt x="631093" y="574592"/>
                  <a:pt x="671040" y="551528"/>
                  <a:pt x="709903" y="561941"/>
                </a:cubicBezTo>
                <a:lnTo>
                  <a:pt x="891942" y="610718"/>
                </a:lnTo>
                <a:cubicBezTo>
                  <a:pt x="930805" y="621132"/>
                  <a:pt x="953869" y="661079"/>
                  <a:pt x="943455" y="699942"/>
                </a:cubicBezTo>
                <a:lnTo>
                  <a:pt x="515240" y="2298064"/>
                </a:lnTo>
                <a:cubicBezTo>
                  <a:pt x="504827" y="2336927"/>
                  <a:pt x="464879" y="2359990"/>
                  <a:pt x="426016" y="234957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64" name="Donut 39">
            <a:extLst>
              <a:ext uri="{FF2B5EF4-FFF2-40B4-BE49-F238E27FC236}">
                <a16:creationId xmlns:a16="http://schemas.microsoft.com/office/drawing/2014/main" id="{439297A1-2150-467C-8B3E-08A8C9E0E56F}"/>
              </a:ext>
            </a:extLst>
          </p:cNvPr>
          <p:cNvSpPr/>
          <p:nvPr/>
        </p:nvSpPr>
        <p:spPr>
          <a:xfrm>
            <a:off x="4246301" y="4666128"/>
            <a:ext cx="575536" cy="575536"/>
          </a:xfrm>
          <a:custGeom>
            <a:avLst/>
            <a:gdLst/>
            <a:ahLst/>
            <a:cxnLst/>
            <a:rect l="l" t="t" r="r" b="b"/>
            <a:pathLst>
              <a:path w="3240000" h="3240000">
                <a:moveTo>
                  <a:pt x="1152300" y="922782"/>
                </a:moveTo>
                <a:lnTo>
                  <a:pt x="2354400" y="1620000"/>
                </a:lnTo>
                <a:lnTo>
                  <a:pt x="1152300" y="2317218"/>
                </a:lnTo>
                <a:close/>
                <a:moveTo>
                  <a:pt x="1620000" y="342403"/>
                </a:moveTo>
                <a:cubicBezTo>
                  <a:pt x="914403" y="342403"/>
                  <a:pt x="342403" y="914403"/>
                  <a:pt x="342403" y="1620000"/>
                </a:cubicBezTo>
                <a:cubicBezTo>
                  <a:pt x="342403" y="2325597"/>
                  <a:pt x="914403" y="2897597"/>
                  <a:pt x="1620000" y="2897597"/>
                </a:cubicBezTo>
                <a:cubicBezTo>
                  <a:pt x="2325597" y="2897597"/>
                  <a:pt x="2897597" y="2325597"/>
                  <a:pt x="2897597" y="1620000"/>
                </a:cubicBezTo>
                <a:cubicBezTo>
                  <a:pt x="2897597" y="914403"/>
                  <a:pt x="2325597" y="342403"/>
                  <a:pt x="1620000" y="342403"/>
                </a:cubicBezTo>
                <a:close/>
                <a:moveTo>
                  <a:pt x="1620000" y="0"/>
                </a:moveTo>
                <a:cubicBezTo>
                  <a:pt x="2514701" y="0"/>
                  <a:pt x="3240000" y="725299"/>
                  <a:pt x="3240000" y="1620000"/>
                </a:cubicBezTo>
                <a:cubicBezTo>
                  <a:pt x="3240000" y="2514701"/>
                  <a:pt x="2514701" y="3240000"/>
                  <a:pt x="1620000" y="3240000"/>
                </a:cubicBezTo>
                <a:cubicBezTo>
                  <a:pt x="725299" y="3240000"/>
                  <a:pt x="0" y="2514701"/>
                  <a:pt x="0" y="1620000"/>
                </a:cubicBezTo>
                <a:cubicBezTo>
                  <a:pt x="0" y="725299"/>
                  <a:pt x="725299" y="0"/>
                  <a:pt x="162000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65" name="Freeform 25">
            <a:extLst>
              <a:ext uri="{FF2B5EF4-FFF2-40B4-BE49-F238E27FC236}">
                <a16:creationId xmlns:a16="http://schemas.microsoft.com/office/drawing/2014/main" id="{115A3EAB-6A86-45ED-8F48-A7797A2D6676}"/>
              </a:ext>
            </a:extLst>
          </p:cNvPr>
          <p:cNvSpPr/>
          <p:nvPr/>
        </p:nvSpPr>
        <p:spPr>
          <a:xfrm>
            <a:off x="8766358" y="3640606"/>
            <a:ext cx="417857" cy="517071"/>
          </a:xfrm>
          <a:custGeom>
            <a:avLst/>
            <a:gdLst>
              <a:gd name="connsiteX0" fmla="*/ 371475 w 1600200"/>
              <a:gd name="connsiteY0" fmla="*/ 0 h 1857375"/>
              <a:gd name="connsiteX1" fmla="*/ 628650 w 1600200"/>
              <a:gd name="connsiteY1" fmla="*/ 523875 h 1857375"/>
              <a:gd name="connsiteX2" fmla="*/ 400050 w 1600200"/>
              <a:gd name="connsiteY2" fmla="*/ 561975 h 1857375"/>
              <a:gd name="connsiteX3" fmla="*/ 1019175 w 1600200"/>
              <a:gd name="connsiteY3" fmla="*/ 1438275 h 1857375"/>
              <a:gd name="connsiteX4" fmla="*/ 1219200 w 1600200"/>
              <a:gd name="connsiteY4" fmla="*/ 1238250 h 1857375"/>
              <a:gd name="connsiteX5" fmla="*/ 1600200 w 1600200"/>
              <a:gd name="connsiteY5" fmla="*/ 1666875 h 1857375"/>
              <a:gd name="connsiteX6" fmla="*/ 1038225 w 1600200"/>
              <a:gd name="connsiteY6" fmla="*/ 1857375 h 1857375"/>
              <a:gd name="connsiteX7" fmla="*/ 0 w 1600200"/>
              <a:gd name="connsiteY7" fmla="*/ 314325 h 1857375"/>
              <a:gd name="connsiteX8" fmla="*/ 371475 w 1600200"/>
              <a:gd name="connsiteY8" fmla="*/ 0 h 1857375"/>
              <a:gd name="connsiteX0" fmla="*/ 371475 w 1600200"/>
              <a:gd name="connsiteY0" fmla="*/ 0 h 1917951"/>
              <a:gd name="connsiteX1" fmla="*/ 628650 w 1600200"/>
              <a:gd name="connsiteY1" fmla="*/ 584451 h 1917951"/>
              <a:gd name="connsiteX2" fmla="*/ 400050 w 1600200"/>
              <a:gd name="connsiteY2" fmla="*/ 622551 h 1917951"/>
              <a:gd name="connsiteX3" fmla="*/ 1019175 w 1600200"/>
              <a:gd name="connsiteY3" fmla="*/ 1498851 h 1917951"/>
              <a:gd name="connsiteX4" fmla="*/ 1219200 w 1600200"/>
              <a:gd name="connsiteY4" fmla="*/ 1298826 h 1917951"/>
              <a:gd name="connsiteX5" fmla="*/ 1600200 w 1600200"/>
              <a:gd name="connsiteY5" fmla="*/ 1727451 h 1917951"/>
              <a:gd name="connsiteX6" fmla="*/ 1038225 w 1600200"/>
              <a:gd name="connsiteY6" fmla="*/ 1917951 h 1917951"/>
              <a:gd name="connsiteX7" fmla="*/ 0 w 1600200"/>
              <a:gd name="connsiteY7" fmla="*/ 374901 h 1917951"/>
              <a:gd name="connsiteX8" fmla="*/ 371475 w 1600200"/>
              <a:gd name="connsiteY8" fmla="*/ 0 h 1917951"/>
              <a:gd name="connsiteX0" fmla="*/ 371475 w 1600200"/>
              <a:gd name="connsiteY0" fmla="*/ 1277 h 1919228"/>
              <a:gd name="connsiteX1" fmla="*/ 628650 w 1600200"/>
              <a:gd name="connsiteY1" fmla="*/ 585728 h 1919228"/>
              <a:gd name="connsiteX2" fmla="*/ 400050 w 1600200"/>
              <a:gd name="connsiteY2" fmla="*/ 623828 h 1919228"/>
              <a:gd name="connsiteX3" fmla="*/ 1019175 w 1600200"/>
              <a:gd name="connsiteY3" fmla="*/ 1500128 h 1919228"/>
              <a:gd name="connsiteX4" fmla="*/ 1219200 w 1600200"/>
              <a:gd name="connsiteY4" fmla="*/ 1300103 h 1919228"/>
              <a:gd name="connsiteX5" fmla="*/ 1600200 w 1600200"/>
              <a:gd name="connsiteY5" fmla="*/ 1728728 h 1919228"/>
              <a:gd name="connsiteX6" fmla="*/ 1038225 w 1600200"/>
              <a:gd name="connsiteY6" fmla="*/ 1919228 h 1919228"/>
              <a:gd name="connsiteX7" fmla="*/ 0 w 1600200"/>
              <a:gd name="connsiteY7" fmla="*/ 376178 h 1919228"/>
              <a:gd name="connsiteX8" fmla="*/ 371475 w 1600200"/>
              <a:gd name="connsiteY8" fmla="*/ 1277 h 1919228"/>
              <a:gd name="connsiteX0" fmla="*/ 371475 w 1600200"/>
              <a:gd name="connsiteY0" fmla="*/ 1277 h 1919228"/>
              <a:gd name="connsiteX1" fmla="*/ 628650 w 1600200"/>
              <a:gd name="connsiteY1" fmla="*/ 585728 h 1919228"/>
              <a:gd name="connsiteX2" fmla="*/ 400050 w 1600200"/>
              <a:gd name="connsiteY2" fmla="*/ 623828 h 1919228"/>
              <a:gd name="connsiteX3" fmla="*/ 1019175 w 1600200"/>
              <a:gd name="connsiteY3" fmla="*/ 1500128 h 1919228"/>
              <a:gd name="connsiteX4" fmla="*/ 1219200 w 1600200"/>
              <a:gd name="connsiteY4" fmla="*/ 1300103 h 1919228"/>
              <a:gd name="connsiteX5" fmla="*/ 1600200 w 1600200"/>
              <a:gd name="connsiteY5" fmla="*/ 1728728 h 1919228"/>
              <a:gd name="connsiteX6" fmla="*/ 1038225 w 1600200"/>
              <a:gd name="connsiteY6" fmla="*/ 1919228 h 1919228"/>
              <a:gd name="connsiteX7" fmla="*/ 0 w 1600200"/>
              <a:gd name="connsiteY7" fmla="*/ 376178 h 1919228"/>
              <a:gd name="connsiteX8" fmla="*/ 371475 w 1600200"/>
              <a:gd name="connsiteY8" fmla="*/ 1277 h 1919228"/>
              <a:gd name="connsiteX0" fmla="*/ 371475 w 1600200"/>
              <a:gd name="connsiteY0" fmla="*/ 1544 h 1919495"/>
              <a:gd name="connsiteX1" fmla="*/ 628650 w 1600200"/>
              <a:gd name="connsiteY1" fmla="*/ 585995 h 1919495"/>
              <a:gd name="connsiteX2" fmla="*/ 400050 w 1600200"/>
              <a:gd name="connsiteY2" fmla="*/ 624095 h 1919495"/>
              <a:gd name="connsiteX3" fmla="*/ 1019175 w 1600200"/>
              <a:gd name="connsiteY3" fmla="*/ 1500395 h 1919495"/>
              <a:gd name="connsiteX4" fmla="*/ 1219200 w 1600200"/>
              <a:gd name="connsiteY4" fmla="*/ 1300370 h 1919495"/>
              <a:gd name="connsiteX5" fmla="*/ 1600200 w 1600200"/>
              <a:gd name="connsiteY5" fmla="*/ 1728995 h 1919495"/>
              <a:gd name="connsiteX6" fmla="*/ 1038225 w 1600200"/>
              <a:gd name="connsiteY6" fmla="*/ 1919495 h 1919495"/>
              <a:gd name="connsiteX7" fmla="*/ 0 w 1600200"/>
              <a:gd name="connsiteY7" fmla="*/ 376445 h 1919495"/>
              <a:gd name="connsiteX8" fmla="*/ 371475 w 1600200"/>
              <a:gd name="connsiteY8" fmla="*/ 1544 h 1919495"/>
              <a:gd name="connsiteX0" fmla="*/ 371475 w 1600200"/>
              <a:gd name="connsiteY0" fmla="*/ 1487 h 1919438"/>
              <a:gd name="connsiteX1" fmla="*/ 568075 w 1600200"/>
              <a:gd name="connsiteY1" fmla="*/ 603245 h 1919438"/>
              <a:gd name="connsiteX2" fmla="*/ 400050 w 1600200"/>
              <a:gd name="connsiteY2" fmla="*/ 624038 h 1919438"/>
              <a:gd name="connsiteX3" fmla="*/ 1019175 w 1600200"/>
              <a:gd name="connsiteY3" fmla="*/ 1500338 h 1919438"/>
              <a:gd name="connsiteX4" fmla="*/ 1219200 w 1600200"/>
              <a:gd name="connsiteY4" fmla="*/ 1300313 h 1919438"/>
              <a:gd name="connsiteX5" fmla="*/ 1600200 w 1600200"/>
              <a:gd name="connsiteY5" fmla="*/ 1728938 h 1919438"/>
              <a:gd name="connsiteX6" fmla="*/ 1038225 w 1600200"/>
              <a:gd name="connsiteY6" fmla="*/ 1919438 h 1919438"/>
              <a:gd name="connsiteX7" fmla="*/ 0 w 1600200"/>
              <a:gd name="connsiteY7" fmla="*/ 376388 h 1919438"/>
              <a:gd name="connsiteX8" fmla="*/ 371475 w 1600200"/>
              <a:gd name="connsiteY8" fmla="*/ 1487 h 1919438"/>
              <a:gd name="connsiteX0" fmla="*/ 371475 w 1600200"/>
              <a:gd name="connsiteY0" fmla="*/ 1032 h 1918983"/>
              <a:gd name="connsiteX1" fmla="*/ 568075 w 1600200"/>
              <a:gd name="connsiteY1" fmla="*/ 602790 h 1918983"/>
              <a:gd name="connsiteX2" fmla="*/ 400050 w 1600200"/>
              <a:gd name="connsiteY2" fmla="*/ 623583 h 1918983"/>
              <a:gd name="connsiteX3" fmla="*/ 1019175 w 1600200"/>
              <a:gd name="connsiteY3" fmla="*/ 1499883 h 1918983"/>
              <a:gd name="connsiteX4" fmla="*/ 1219200 w 1600200"/>
              <a:gd name="connsiteY4" fmla="*/ 1299858 h 1918983"/>
              <a:gd name="connsiteX5" fmla="*/ 1600200 w 1600200"/>
              <a:gd name="connsiteY5" fmla="*/ 1728483 h 1918983"/>
              <a:gd name="connsiteX6" fmla="*/ 1038225 w 1600200"/>
              <a:gd name="connsiteY6" fmla="*/ 1918983 h 1918983"/>
              <a:gd name="connsiteX7" fmla="*/ 0 w 1600200"/>
              <a:gd name="connsiteY7" fmla="*/ 375933 h 1918983"/>
              <a:gd name="connsiteX8" fmla="*/ 371475 w 1600200"/>
              <a:gd name="connsiteY8" fmla="*/ 1032 h 1918983"/>
              <a:gd name="connsiteX0" fmla="*/ 371475 w 1600200"/>
              <a:gd name="connsiteY0" fmla="*/ 1088 h 1919039"/>
              <a:gd name="connsiteX1" fmla="*/ 568075 w 1600200"/>
              <a:gd name="connsiteY1" fmla="*/ 602846 h 1919039"/>
              <a:gd name="connsiteX2" fmla="*/ 400050 w 1600200"/>
              <a:gd name="connsiteY2" fmla="*/ 623639 h 1919039"/>
              <a:gd name="connsiteX3" fmla="*/ 1019175 w 1600200"/>
              <a:gd name="connsiteY3" fmla="*/ 1499939 h 1919039"/>
              <a:gd name="connsiteX4" fmla="*/ 1219200 w 1600200"/>
              <a:gd name="connsiteY4" fmla="*/ 1299914 h 1919039"/>
              <a:gd name="connsiteX5" fmla="*/ 1600200 w 1600200"/>
              <a:gd name="connsiteY5" fmla="*/ 1728539 h 1919039"/>
              <a:gd name="connsiteX6" fmla="*/ 1038225 w 1600200"/>
              <a:gd name="connsiteY6" fmla="*/ 1919039 h 1919039"/>
              <a:gd name="connsiteX7" fmla="*/ 0 w 1600200"/>
              <a:gd name="connsiteY7" fmla="*/ 375989 h 1919039"/>
              <a:gd name="connsiteX8" fmla="*/ 371475 w 1600200"/>
              <a:gd name="connsiteY8" fmla="*/ 1088 h 1919039"/>
              <a:gd name="connsiteX0" fmla="*/ 371475 w 1600200"/>
              <a:gd name="connsiteY0" fmla="*/ 1088 h 1919039"/>
              <a:gd name="connsiteX1" fmla="*/ 568075 w 1600200"/>
              <a:gd name="connsiteY1" fmla="*/ 602846 h 1919039"/>
              <a:gd name="connsiteX2" fmla="*/ 400050 w 1600200"/>
              <a:gd name="connsiteY2" fmla="*/ 623639 h 1919039"/>
              <a:gd name="connsiteX3" fmla="*/ 1019175 w 1600200"/>
              <a:gd name="connsiteY3" fmla="*/ 1499939 h 1919039"/>
              <a:gd name="connsiteX4" fmla="*/ 1219200 w 1600200"/>
              <a:gd name="connsiteY4" fmla="*/ 1299914 h 1919039"/>
              <a:gd name="connsiteX5" fmla="*/ 1600200 w 1600200"/>
              <a:gd name="connsiteY5" fmla="*/ 1728539 h 1919039"/>
              <a:gd name="connsiteX6" fmla="*/ 1038225 w 1600200"/>
              <a:gd name="connsiteY6" fmla="*/ 1919039 h 1919039"/>
              <a:gd name="connsiteX7" fmla="*/ 0 w 1600200"/>
              <a:gd name="connsiteY7" fmla="*/ 375989 h 1919039"/>
              <a:gd name="connsiteX8" fmla="*/ 371475 w 1600200"/>
              <a:gd name="connsiteY8" fmla="*/ 1088 h 1919039"/>
              <a:gd name="connsiteX0" fmla="*/ 371475 w 1600200"/>
              <a:gd name="connsiteY0" fmla="*/ 1118 h 1919069"/>
              <a:gd name="connsiteX1" fmla="*/ 568075 w 1600200"/>
              <a:gd name="connsiteY1" fmla="*/ 602876 h 1919069"/>
              <a:gd name="connsiteX2" fmla="*/ 400050 w 1600200"/>
              <a:gd name="connsiteY2" fmla="*/ 623669 h 1919069"/>
              <a:gd name="connsiteX3" fmla="*/ 1019175 w 1600200"/>
              <a:gd name="connsiteY3" fmla="*/ 1499969 h 1919069"/>
              <a:gd name="connsiteX4" fmla="*/ 1219200 w 1600200"/>
              <a:gd name="connsiteY4" fmla="*/ 1299944 h 1919069"/>
              <a:gd name="connsiteX5" fmla="*/ 1600200 w 1600200"/>
              <a:gd name="connsiteY5" fmla="*/ 1728569 h 1919069"/>
              <a:gd name="connsiteX6" fmla="*/ 1038225 w 1600200"/>
              <a:gd name="connsiteY6" fmla="*/ 1919069 h 1919069"/>
              <a:gd name="connsiteX7" fmla="*/ 0 w 1600200"/>
              <a:gd name="connsiteY7" fmla="*/ 376019 h 1919069"/>
              <a:gd name="connsiteX8" fmla="*/ 371475 w 1600200"/>
              <a:gd name="connsiteY8" fmla="*/ 1118 h 1919069"/>
              <a:gd name="connsiteX0" fmla="*/ 371475 w 1600200"/>
              <a:gd name="connsiteY0" fmla="*/ 1118 h 1919069"/>
              <a:gd name="connsiteX1" fmla="*/ 568075 w 1600200"/>
              <a:gd name="connsiteY1" fmla="*/ 602876 h 1919069"/>
              <a:gd name="connsiteX2" fmla="*/ 408703 w 1600200"/>
              <a:gd name="connsiteY2" fmla="*/ 643860 h 1919069"/>
              <a:gd name="connsiteX3" fmla="*/ 1019175 w 1600200"/>
              <a:gd name="connsiteY3" fmla="*/ 1499969 h 1919069"/>
              <a:gd name="connsiteX4" fmla="*/ 1219200 w 1600200"/>
              <a:gd name="connsiteY4" fmla="*/ 1299944 h 1919069"/>
              <a:gd name="connsiteX5" fmla="*/ 1600200 w 1600200"/>
              <a:gd name="connsiteY5" fmla="*/ 1728569 h 1919069"/>
              <a:gd name="connsiteX6" fmla="*/ 1038225 w 1600200"/>
              <a:gd name="connsiteY6" fmla="*/ 1919069 h 1919069"/>
              <a:gd name="connsiteX7" fmla="*/ 0 w 1600200"/>
              <a:gd name="connsiteY7" fmla="*/ 376019 h 1919069"/>
              <a:gd name="connsiteX8" fmla="*/ 371475 w 1600200"/>
              <a:gd name="connsiteY8" fmla="*/ 1118 h 1919069"/>
              <a:gd name="connsiteX0" fmla="*/ 371475 w 1600200"/>
              <a:gd name="connsiteY0" fmla="*/ 1118 h 1919069"/>
              <a:gd name="connsiteX1" fmla="*/ 568075 w 1600200"/>
              <a:gd name="connsiteY1" fmla="*/ 602876 h 1919069"/>
              <a:gd name="connsiteX2" fmla="*/ 359666 w 1600200"/>
              <a:gd name="connsiteY2" fmla="*/ 643860 h 1919069"/>
              <a:gd name="connsiteX3" fmla="*/ 1019175 w 1600200"/>
              <a:gd name="connsiteY3" fmla="*/ 1499969 h 1919069"/>
              <a:gd name="connsiteX4" fmla="*/ 1219200 w 1600200"/>
              <a:gd name="connsiteY4" fmla="*/ 1299944 h 1919069"/>
              <a:gd name="connsiteX5" fmla="*/ 1600200 w 1600200"/>
              <a:gd name="connsiteY5" fmla="*/ 1728569 h 1919069"/>
              <a:gd name="connsiteX6" fmla="*/ 1038225 w 1600200"/>
              <a:gd name="connsiteY6" fmla="*/ 1919069 h 1919069"/>
              <a:gd name="connsiteX7" fmla="*/ 0 w 1600200"/>
              <a:gd name="connsiteY7" fmla="*/ 376019 h 1919069"/>
              <a:gd name="connsiteX8" fmla="*/ 371475 w 1600200"/>
              <a:gd name="connsiteY8" fmla="*/ 1118 h 1919069"/>
              <a:gd name="connsiteX0" fmla="*/ 371475 w 1600200"/>
              <a:gd name="connsiteY0" fmla="*/ 1118 h 1919069"/>
              <a:gd name="connsiteX1" fmla="*/ 568075 w 1600200"/>
              <a:gd name="connsiteY1" fmla="*/ 602876 h 1919069"/>
              <a:gd name="connsiteX2" fmla="*/ 374089 w 1600200"/>
              <a:gd name="connsiteY2" fmla="*/ 646744 h 1919069"/>
              <a:gd name="connsiteX3" fmla="*/ 1019175 w 1600200"/>
              <a:gd name="connsiteY3" fmla="*/ 1499969 h 1919069"/>
              <a:gd name="connsiteX4" fmla="*/ 1219200 w 1600200"/>
              <a:gd name="connsiteY4" fmla="*/ 1299944 h 1919069"/>
              <a:gd name="connsiteX5" fmla="*/ 1600200 w 1600200"/>
              <a:gd name="connsiteY5" fmla="*/ 1728569 h 1919069"/>
              <a:gd name="connsiteX6" fmla="*/ 1038225 w 1600200"/>
              <a:gd name="connsiteY6" fmla="*/ 1919069 h 1919069"/>
              <a:gd name="connsiteX7" fmla="*/ 0 w 1600200"/>
              <a:gd name="connsiteY7" fmla="*/ 376019 h 1919069"/>
              <a:gd name="connsiteX8" fmla="*/ 371475 w 1600200"/>
              <a:gd name="connsiteY8" fmla="*/ 1118 h 1919069"/>
              <a:gd name="connsiteX0" fmla="*/ 371475 w 1600200"/>
              <a:gd name="connsiteY0" fmla="*/ 1118 h 1919069"/>
              <a:gd name="connsiteX1" fmla="*/ 568075 w 1600200"/>
              <a:gd name="connsiteY1" fmla="*/ 602876 h 1919069"/>
              <a:gd name="connsiteX2" fmla="*/ 374089 w 1600200"/>
              <a:gd name="connsiteY2" fmla="*/ 646744 h 1919069"/>
              <a:gd name="connsiteX3" fmla="*/ 1019175 w 1600200"/>
              <a:gd name="connsiteY3" fmla="*/ 1499969 h 1919069"/>
              <a:gd name="connsiteX4" fmla="*/ 1219200 w 1600200"/>
              <a:gd name="connsiteY4" fmla="*/ 1299944 h 1919069"/>
              <a:gd name="connsiteX5" fmla="*/ 1600200 w 1600200"/>
              <a:gd name="connsiteY5" fmla="*/ 1728569 h 1919069"/>
              <a:gd name="connsiteX6" fmla="*/ 1038225 w 1600200"/>
              <a:gd name="connsiteY6" fmla="*/ 1919069 h 1919069"/>
              <a:gd name="connsiteX7" fmla="*/ 0 w 1600200"/>
              <a:gd name="connsiteY7" fmla="*/ 376019 h 1919069"/>
              <a:gd name="connsiteX8" fmla="*/ 371475 w 1600200"/>
              <a:gd name="connsiteY8" fmla="*/ 1118 h 1919069"/>
              <a:gd name="connsiteX0" fmla="*/ 371475 w 1600200"/>
              <a:gd name="connsiteY0" fmla="*/ 1118 h 1919069"/>
              <a:gd name="connsiteX1" fmla="*/ 568075 w 1600200"/>
              <a:gd name="connsiteY1" fmla="*/ 602876 h 1919069"/>
              <a:gd name="connsiteX2" fmla="*/ 374089 w 1600200"/>
              <a:gd name="connsiteY2" fmla="*/ 646744 h 1919069"/>
              <a:gd name="connsiteX3" fmla="*/ 1019175 w 1600200"/>
              <a:gd name="connsiteY3" fmla="*/ 1499969 h 1919069"/>
              <a:gd name="connsiteX4" fmla="*/ 1219200 w 1600200"/>
              <a:gd name="connsiteY4" fmla="*/ 1299944 h 1919069"/>
              <a:gd name="connsiteX5" fmla="*/ 1600200 w 1600200"/>
              <a:gd name="connsiteY5" fmla="*/ 1728569 h 1919069"/>
              <a:gd name="connsiteX6" fmla="*/ 1038225 w 1600200"/>
              <a:gd name="connsiteY6" fmla="*/ 1919069 h 1919069"/>
              <a:gd name="connsiteX7" fmla="*/ 0 w 1600200"/>
              <a:gd name="connsiteY7" fmla="*/ 376019 h 1919069"/>
              <a:gd name="connsiteX8" fmla="*/ 371475 w 1600200"/>
              <a:gd name="connsiteY8" fmla="*/ 1118 h 1919069"/>
              <a:gd name="connsiteX0" fmla="*/ 371475 w 1600200"/>
              <a:gd name="connsiteY0" fmla="*/ 1118 h 1919069"/>
              <a:gd name="connsiteX1" fmla="*/ 568075 w 1600200"/>
              <a:gd name="connsiteY1" fmla="*/ 602876 h 1919069"/>
              <a:gd name="connsiteX2" fmla="*/ 374089 w 1600200"/>
              <a:gd name="connsiteY2" fmla="*/ 646744 h 1919069"/>
              <a:gd name="connsiteX3" fmla="*/ 1019175 w 1600200"/>
              <a:gd name="connsiteY3" fmla="*/ 1499969 h 1919069"/>
              <a:gd name="connsiteX4" fmla="*/ 1219200 w 1600200"/>
              <a:gd name="connsiteY4" fmla="*/ 1299944 h 1919069"/>
              <a:gd name="connsiteX5" fmla="*/ 1600200 w 1600200"/>
              <a:gd name="connsiteY5" fmla="*/ 1728569 h 1919069"/>
              <a:gd name="connsiteX6" fmla="*/ 1038225 w 1600200"/>
              <a:gd name="connsiteY6" fmla="*/ 1919069 h 1919069"/>
              <a:gd name="connsiteX7" fmla="*/ 0 w 1600200"/>
              <a:gd name="connsiteY7" fmla="*/ 376019 h 1919069"/>
              <a:gd name="connsiteX8" fmla="*/ 371475 w 1600200"/>
              <a:gd name="connsiteY8" fmla="*/ 1118 h 1919069"/>
              <a:gd name="connsiteX0" fmla="*/ 371475 w 1600200"/>
              <a:gd name="connsiteY0" fmla="*/ 1118 h 1919069"/>
              <a:gd name="connsiteX1" fmla="*/ 568075 w 1600200"/>
              <a:gd name="connsiteY1" fmla="*/ 602876 h 1919069"/>
              <a:gd name="connsiteX2" fmla="*/ 374089 w 1600200"/>
              <a:gd name="connsiteY2" fmla="*/ 646744 h 1919069"/>
              <a:gd name="connsiteX3" fmla="*/ 1019175 w 1600200"/>
              <a:gd name="connsiteY3" fmla="*/ 1499969 h 1919069"/>
              <a:gd name="connsiteX4" fmla="*/ 1219200 w 1600200"/>
              <a:gd name="connsiteY4" fmla="*/ 1299944 h 1919069"/>
              <a:gd name="connsiteX5" fmla="*/ 1600200 w 1600200"/>
              <a:gd name="connsiteY5" fmla="*/ 1728569 h 1919069"/>
              <a:gd name="connsiteX6" fmla="*/ 1038225 w 1600200"/>
              <a:gd name="connsiteY6" fmla="*/ 1919069 h 1919069"/>
              <a:gd name="connsiteX7" fmla="*/ 0 w 1600200"/>
              <a:gd name="connsiteY7" fmla="*/ 376019 h 1919069"/>
              <a:gd name="connsiteX8" fmla="*/ 371475 w 1600200"/>
              <a:gd name="connsiteY8" fmla="*/ 1118 h 1919069"/>
              <a:gd name="connsiteX0" fmla="*/ 371475 w 1600200"/>
              <a:gd name="connsiteY0" fmla="*/ 1118 h 1919069"/>
              <a:gd name="connsiteX1" fmla="*/ 568075 w 1600200"/>
              <a:gd name="connsiteY1" fmla="*/ 602876 h 1919069"/>
              <a:gd name="connsiteX2" fmla="*/ 374089 w 1600200"/>
              <a:gd name="connsiteY2" fmla="*/ 646744 h 1919069"/>
              <a:gd name="connsiteX3" fmla="*/ 1019175 w 1600200"/>
              <a:gd name="connsiteY3" fmla="*/ 1499969 h 1919069"/>
              <a:gd name="connsiteX4" fmla="*/ 1219200 w 1600200"/>
              <a:gd name="connsiteY4" fmla="*/ 1299944 h 1919069"/>
              <a:gd name="connsiteX5" fmla="*/ 1600200 w 1600200"/>
              <a:gd name="connsiteY5" fmla="*/ 1728569 h 1919069"/>
              <a:gd name="connsiteX6" fmla="*/ 1038225 w 1600200"/>
              <a:gd name="connsiteY6" fmla="*/ 1919069 h 1919069"/>
              <a:gd name="connsiteX7" fmla="*/ 0 w 1600200"/>
              <a:gd name="connsiteY7" fmla="*/ 376019 h 1919069"/>
              <a:gd name="connsiteX8" fmla="*/ 371475 w 1600200"/>
              <a:gd name="connsiteY8" fmla="*/ 1118 h 1919069"/>
              <a:gd name="connsiteX0" fmla="*/ 371475 w 1600200"/>
              <a:gd name="connsiteY0" fmla="*/ 1118 h 1919069"/>
              <a:gd name="connsiteX1" fmla="*/ 568075 w 1600200"/>
              <a:gd name="connsiteY1" fmla="*/ 602876 h 1919069"/>
              <a:gd name="connsiteX2" fmla="*/ 374089 w 1600200"/>
              <a:gd name="connsiteY2" fmla="*/ 646744 h 1919069"/>
              <a:gd name="connsiteX3" fmla="*/ 1019175 w 1600200"/>
              <a:gd name="connsiteY3" fmla="*/ 1499969 h 1919069"/>
              <a:gd name="connsiteX4" fmla="*/ 1219200 w 1600200"/>
              <a:gd name="connsiteY4" fmla="*/ 1299944 h 1919069"/>
              <a:gd name="connsiteX5" fmla="*/ 1600200 w 1600200"/>
              <a:gd name="connsiteY5" fmla="*/ 1728569 h 1919069"/>
              <a:gd name="connsiteX6" fmla="*/ 1038225 w 1600200"/>
              <a:gd name="connsiteY6" fmla="*/ 1919069 h 1919069"/>
              <a:gd name="connsiteX7" fmla="*/ 0 w 1600200"/>
              <a:gd name="connsiteY7" fmla="*/ 376019 h 1919069"/>
              <a:gd name="connsiteX8" fmla="*/ 371475 w 1600200"/>
              <a:gd name="connsiteY8" fmla="*/ 1118 h 1919069"/>
              <a:gd name="connsiteX0" fmla="*/ 371475 w 1600200"/>
              <a:gd name="connsiteY0" fmla="*/ 1118 h 1919069"/>
              <a:gd name="connsiteX1" fmla="*/ 568075 w 1600200"/>
              <a:gd name="connsiteY1" fmla="*/ 602876 h 1919069"/>
              <a:gd name="connsiteX2" fmla="*/ 374089 w 1600200"/>
              <a:gd name="connsiteY2" fmla="*/ 646744 h 1919069"/>
              <a:gd name="connsiteX3" fmla="*/ 970138 w 1600200"/>
              <a:gd name="connsiteY3" fmla="*/ 1517276 h 1919069"/>
              <a:gd name="connsiteX4" fmla="*/ 1219200 w 1600200"/>
              <a:gd name="connsiteY4" fmla="*/ 1299944 h 1919069"/>
              <a:gd name="connsiteX5" fmla="*/ 1600200 w 1600200"/>
              <a:gd name="connsiteY5" fmla="*/ 1728569 h 1919069"/>
              <a:gd name="connsiteX6" fmla="*/ 1038225 w 1600200"/>
              <a:gd name="connsiteY6" fmla="*/ 1919069 h 1919069"/>
              <a:gd name="connsiteX7" fmla="*/ 0 w 1600200"/>
              <a:gd name="connsiteY7" fmla="*/ 376019 h 1919069"/>
              <a:gd name="connsiteX8" fmla="*/ 371475 w 1600200"/>
              <a:gd name="connsiteY8" fmla="*/ 1118 h 1919069"/>
              <a:gd name="connsiteX0" fmla="*/ 371475 w 1600200"/>
              <a:gd name="connsiteY0" fmla="*/ 1118 h 1919069"/>
              <a:gd name="connsiteX1" fmla="*/ 568075 w 1600200"/>
              <a:gd name="connsiteY1" fmla="*/ 602876 h 1919069"/>
              <a:gd name="connsiteX2" fmla="*/ 374089 w 1600200"/>
              <a:gd name="connsiteY2" fmla="*/ 646744 h 1919069"/>
              <a:gd name="connsiteX3" fmla="*/ 1010522 w 1600200"/>
              <a:gd name="connsiteY3" fmla="*/ 1534584 h 1919069"/>
              <a:gd name="connsiteX4" fmla="*/ 1219200 w 1600200"/>
              <a:gd name="connsiteY4" fmla="*/ 1299944 h 1919069"/>
              <a:gd name="connsiteX5" fmla="*/ 1600200 w 1600200"/>
              <a:gd name="connsiteY5" fmla="*/ 1728569 h 1919069"/>
              <a:gd name="connsiteX6" fmla="*/ 1038225 w 1600200"/>
              <a:gd name="connsiteY6" fmla="*/ 1919069 h 1919069"/>
              <a:gd name="connsiteX7" fmla="*/ 0 w 1600200"/>
              <a:gd name="connsiteY7" fmla="*/ 376019 h 1919069"/>
              <a:gd name="connsiteX8" fmla="*/ 371475 w 1600200"/>
              <a:gd name="connsiteY8" fmla="*/ 1118 h 1919069"/>
              <a:gd name="connsiteX0" fmla="*/ 371475 w 1600200"/>
              <a:gd name="connsiteY0" fmla="*/ 1118 h 1919069"/>
              <a:gd name="connsiteX1" fmla="*/ 568075 w 1600200"/>
              <a:gd name="connsiteY1" fmla="*/ 602876 h 1919069"/>
              <a:gd name="connsiteX2" fmla="*/ 374089 w 1600200"/>
              <a:gd name="connsiteY2" fmla="*/ 646744 h 1919069"/>
              <a:gd name="connsiteX3" fmla="*/ 996099 w 1600200"/>
              <a:gd name="connsiteY3" fmla="*/ 1546122 h 1919069"/>
              <a:gd name="connsiteX4" fmla="*/ 1219200 w 1600200"/>
              <a:gd name="connsiteY4" fmla="*/ 1299944 h 1919069"/>
              <a:gd name="connsiteX5" fmla="*/ 1600200 w 1600200"/>
              <a:gd name="connsiteY5" fmla="*/ 1728569 h 1919069"/>
              <a:gd name="connsiteX6" fmla="*/ 1038225 w 1600200"/>
              <a:gd name="connsiteY6" fmla="*/ 1919069 h 1919069"/>
              <a:gd name="connsiteX7" fmla="*/ 0 w 1600200"/>
              <a:gd name="connsiteY7" fmla="*/ 376019 h 1919069"/>
              <a:gd name="connsiteX8" fmla="*/ 371475 w 1600200"/>
              <a:gd name="connsiteY8" fmla="*/ 1118 h 1919069"/>
              <a:gd name="connsiteX0" fmla="*/ 371475 w 1600200"/>
              <a:gd name="connsiteY0" fmla="*/ 1118 h 1919069"/>
              <a:gd name="connsiteX1" fmla="*/ 568075 w 1600200"/>
              <a:gd name="connsiteY1" fmla="*/ 602876 h 1919069"/>
              <a:gd name="connsiteX2" fmla="*/ 374089 w 1600200"/>
              <a:gd name="connsiteY2" fmla="*/ 646744 h 1919069"/>
              <a:gd name="connsiteX3" fmla="*/ 987445 w 1600200"/>
              <a:gd name="connsiteY3" fmla="*/ 1528815 h 1919069"/>
              <a:gd name="connsiteX4" fmla="*/ 1219200 w 1600200"/>
              <a:gd name="connsiteY4" fmla="*/ 1299944 h 1919069"/>
              <a:gd name="connsiteX5" fmla="*/ 1600200 w 1600200"/>
              <a:gd name="connsiteY5" fmla="*/ 1728569 h 1919069"/>
              <a:gd name="connsiteX6" fmla="*/ 1038225 w 1600200"/>
              <a:gd name="connsiteY6" fmla="*/ 1919069 h 1919069"/>
              <a:gd name="connsiteX7" fmla="*/ 0 w 1600200"/>
              <a:gd name="connsiteY7" fmla="*/ 376019 h 1919069"/>
              <a:gd name="connsiteX8" fmla="*/ 371475 w 1600200"/>
              <a:gd name="connsiteY8" fmla="*/ 1118 h 1919069"/>
              <a:gd name="connsiteX0" fmla="*/ 371475 w 1600200"/>
              <a:gd name="connsiteY0" fmla="*/ 1118 h 1919069"/>
              <a:gd name="connsiteX1" fmla="*/ 568075 w 1600200"/>
              <a:gd name="connsiteY1" fmla="*/ 602876 h 1919069"/>
              <a:gd name="connsiteX2" fmla="*/ 374089 w 1600200"/>
              <a:gd name="connsiteY2" fmla="*/ 646744 h 1919069"/>
              <a:gd name="connsiteX3" fmla="*/ 987445 w 1600200"/>
              <a:gd name="connsiteY3" fmla="*/ 1528815 h 1919069"/>
              <a:gd name="connsiteX4" fmla="*/ 1219200 w 1600200"/>
              <a:gd name="connsiteY4" fmla="*/ 1299944 h 1919069"/>
              <a:gd name="connsiteX5" fmla="*/ 1600200 w 1600200"/>
              <a:gd name="connsiteY5" fmla="*/ 1728569 h 1919069"/>
              <a:gd name="connsiteX6" fmla="*/ 1038225 w 1600200"/>
              <a:gd name="connsiteY6" fmla="*/ 1919069 h 1919069"/>
              <a:gd name="connsiteX7" fmla="*/ 0 w 1600200"/>
              <a:gd name="connsiteY7" fmla="*/ 376019 h 1919069"/>
              <a:gd name="connsiteX8" fmla="*/ 371475 w 1600200"/>
              <a:gd name="connsiteY8" fmla="*/ 1118 h 1919069"/>
              <a:gd name="connsiteX0" fmla="*/ 371475 w 1600200"/>
              <a:gd name="connsiteY0" fmla="*/ 1118 h 1919069"/>
              <a:gd name="connsiteX1" fmla="*/ 568075 w 1600200"/>
              <a:gd name="connsiteY1" fmla="*/ 602876 h 1919069"/>
              <a:gd name="connsiteX2" fmla="*/ 374089 w 1600200"/>
              <a:gd name="connsiteY2" fmla="*/ 646744 h 1919069"/>
              <a:gd name="connsiteX3" fmla="*/ 987445 w 1600200"/>
              <a:gd name="connsiteY3" fmla="*/ 1528815 h 1919069"/>
              <a:gd name="connsiteX4" fmla="*/ 1219200 w 1600200"/>
              <a:gd name="connsiteY4" fmla="*/ 1299944 h 1919069"/>
              <a:gd name="connsiteX5" fmla="*/ 1600200 w 1600200"/>
              <a:gd name="connsiteY5" fmla="*/ 1728569 h 1919069"/>
              <a:gd name="connsiteX6" fmla="*/ 1038225 w 1600200"/>
              <a:gd name="connsiteY6" fmla="*/ 1919069 h 1919069"/>
              <a:gd name="connsiteX7" fmla="*/ 0 w 1600200"/>
              <a:gd name="connsiteY7" fmla="*/ 376019 h 1919069"/>
              <a:gd name="connsiteX8" fmla="*/ 371475 w 1600200"/>
              <a:gd name="connsiteY8" fmla="*/ 1118 h 1919069"/>
              <a:gd name="connsiteX0" fmla="*/ 371475 w 1600200"/>
              <a:gd name="connsiteY0" fmla="*/ 1118 h 1919069"/>
              <a:gd name="connsiteX1" fmla="*/ 568075 w 1600200"/>
              <a:gd name="connsiteY1" fmla="*/ 602876 h 1919069"/>
              <a:gd name="connsiteX2" fmla="*/ 374089 w 1600200"/>
              <a:gd name="connsiteY2" fmla="*/ 646744 h 1919069"/>
              <a:gd name="connsiteX3" fmla="*/ 987445 w 1600200"/>
              <a:gd name="connsiteY3" fmla="*/ 1528815 h 1919069"/>
              <a:gd name="connsiteX4" fmla="*/ 1219200 w 1600200"/>
              <a:gd name="connsiteY4" fmla="*/ 1299944 h 1919069"/>
              <a:gd name="connsiteX5" fmla="*/ 1600200 w 1600200"/>
              <a:gd name="connsiteY5" fmla="*/ 1728569 h 1919069"/>
              <a:gd name="connsiteX6" fmla="*/ 1038225 w 1600200"/>
              <a:gd name="connsiteY6" fmla="*/ 1919069 h 1919069"/>
              <a:gd name="connsiteX7" fmla="*/ 0 w 1600200"/>
              <a:gd name="connsiteY7" fmla="*/ 376019 h 1919069"/>
              <a:gd name="connsiteX8" fmla="*/ 371475 w 1600200"/>
              <a:gd name="connsiteY8" fmla="*/ 1118 h 1919069"/>
              <a:gd name="connsiteX0" fmla="*/ 371475 w 1600200"/>
              <a:gd name="connsiteY0" fmla="*/ 1118 h 1919069"/>
              <a:gd name="connsiteX1" fmla="*/ 568075 w 1600200"/>
              <a:gd name="connsiteY1" fmla="*/ 602876 h 1919069"/>
              <a:gd name="connsiteX2" fmla="*/ 374089 w 1600200"/>
              <a:gd name="connsiteY2" fmla="*/ 646744 h 1919069"/>
              <a:gd name="connsiteX3" fmla="*/ 987445 w 1600200"/>
              <a:gd name="connsiteY3" fmla="*/ 1528815 h 1919069"/>
              <a:gd name="connsiteX4" fmla="*/ 1173048 w 1600200"/>
              <a:gd name="connsiteY4" fmla="*/ 1311482 h 1919069"/>
              <a:gd name="connsiteX5" fmla="*/ 1600200 w 1600200"/>
              <a:gd name="connsiteY5" fmla="*/ 1728569 h 1919069"/>
              <a:gd name="connsiteX6" fmla="*/ 1038225 w 1600200"/>
              <a:gd name="connsiteY6" fmla="*/ 1919069 h 1919069"/>
              <a:gd name="connsiteX7" fmla="*/ 0 w 1600200"/>
              <a:gd name="connsiteY7" fmla="*/ 376019 h 1919069"/>
              <a:gd name="connsiteX8" fmla="*/ 371475 w 1600200"/>
              <a:gd name="connsiteY8" fmla="*/ 1118 h 1919069"/>
              <a:gd name="connsiteX0" fmla="*/ 371475 w 1600200"/>
              <a:gd name="connsiteY0" fmla="*/ 1118 h 1919069"/>
              <a:gd name="connsiteX1" fmla="*/ 568075 w 1600200"/>
              <a:gd name="connsiteY1" fmla="*/ 602876 h 1919069"/>
              <a:gd name="connsiteX2" fmla="*/ 374089 w 1600200"/>
              <a:gd name="connsiteY2" fmla="*/ 646744 h 1919069"/>
              <a:gd name="connsiteX3" fmla="*/ 987445 w 1600200"/>
              <a:gd name="connsiteY3" fmla="*/ 1528815 h 1919069"/>
              <a:gd name="connsiteX4" fmla="*/ 1173048 w 1600200"/>
              <a:gd name="connsiteY4" fmla="*/ 1311482 h 1919069"/>
              <a:gd name="connsiteX5" fmla="*/ 1600200 w 1600200"/>
              <a:gd name="connsiteY5" fmla="*/ 1728569 h 1919069"/>
              <a:gd name="connsiteX6" fmla="*/ 1038225 w 1600200"/>
              <a:gd name="connsiteY6" fmla="*/ 1919069 h 1919069"/>
              <a:gd name="connsiteX7" fmla="*/ 0 w 1600200"/>
              <a:gd name="connsiteY7" fmla="*/ 376019 h 1919069"/>
              <a:gd name="connsiteX8" fmla="*/ 371475 w 1600200"/>
              <a:gd name="connsiteY8" fmla="*/ 1118 h 1919069"/>
              <a:gd name="connsiteX0" fmla="*/ 371475 w 1600200"/>
              <a:gd name="connsiteY0" fmla="*/ 1118 h 1919069"/>
              <a:gd name="connsiteX1" fmla="*/ 568075 w 1600200"/>
              <a:gd name="connsiteY1" fmla="*/ 602876 h 1919069"/>
              <a:gd name="connsiteX2" fmla="*/ 374089 w 1600200"/>
              <a:gd name="connsiteY2" fmla="*/ 646744 h 1919069"/>
              <a:gd name="connsiteX3" fmla="*/ 987445 w 1600200"/>
              <a:gd name="connsiteY3" fmla="*/ 1528815 h 1919069"/>
              <a:gd name="connsiteX4" fmla="*/ 1173048 w 1600200"/>
              <a:gd name="connsiteY4" fmla="*/ 1311482 h 1919069"/>
              <a:gd name="connsiteX5" fmla="*/ 1600200 w 1600200"/>
              <a:gd name="connsiteY5" fmla="*/ 1728569 h 1919069"/>
              <a:gd name="connsiteX6" fmla="*/ 1038225 w 1600200"/>
              <a:gd name="connsiteY6" fmla="*/ 1919069 h 1919069"/>
              <a:gd name="connsiteX7" fmla="*/ 0 w 1600200"/>
              <a:gd name="connsiteY7" fmla="*/ 376019 h 1919069"/>
              <a:gd name="connsiteX8" fmla="*/ 371475 w 1600200"/>
              <a:gd name="connsiteY8" fmla="*/ 1118 h 1919069"/>
              <a:gd name="connsiteX0" fmla="*/ 371475 w 1600200"/>
              <a:gd name="connsiteY0" fmla="*/ 1118 h 1919069"/>
              <a:gd name="connsiteX1" fmla="*/ 568075 w 1600200"/>
              <a:gd name="connsiteY1" fmla="*/ 602876 h 1919069"/>
              <a:gd name="connsiteX2" fmla="*/ 374089 w 1600200"/>
              <a:gd name="connsiteY2" fmla="*/ 646744 h 1919069"/>
              <a:gd name="connsiteX3" fmla="*/ 987445 w 1600200"/>
              <a:gd name="connsiteY3" fmla="*/ 1528815 h 1919069"/>
              <a:gd name="connsiteX4" fmla="*/ 1173048 w 1600200"/>
              <a:gd name="connsiteY4" fmla="*/ 1311482 h 1919069"/>
              <a:gd name="connsiteX5" fmla="*/ 1600200 w 1600200"/>
              <a:gd name="connsiteY5" fmla="*/ 1728569 h 1919069"/>
              <a:gd name="connsiteX6" fmla="*/ 1038225 w 1600200"/>
              <a:gd name="connsiteY6" fmla="*/ 1919069 h 1919069"/>
              <a:gd name="connsiteX7" fmla="*/ 0 w 1600200"/>
              <a:gd name="connsiteY7" fmla="*/ 376019 h 1919069"/>
              <a:gd name="connsiteX8" fmla="*/ 371475 w 1600200"/>
              <a:gd name="connsiteY8" fmla="*/ 1118 h 1919069"/>
              <a:gd name="connsiteX0" fmla="*/ 371475 w 1588662"/>
              <a:gd name="connsiteY0" fmla="*/ 1118 h 1919069"/>
              <a:gd name="connsiteX1" fmla="*/ 568075 w 1588662"/>
              <a:gd name="connsiteY1" fmla="*/ 602876 h 1919069"/>
              <a:gd name="connsiteX2" fmla="*/ 374089 w 1588662"/>
              <a:gd name="connsiteY2" fmla="*/ 646744 h 1919069"/>
              <a:gd name="connsiteX3" fmla="*/ 987445 w 1588662"/>
              <a:gd name="connsiteY3" fmla="*/ 1528815 h 1919069"/>
              <a:gd name="connsiteX4" fmla="*/ 1173048 w 1588662"/>
              <a:gd name="connsiteY4" fmla="*/ 1311482 h 1919069"/>
              <a:gd name="connsiteX5" fmla="*/ 1588662 w 1588662"/>
              <a:gd name="connsiteY5" fmla="*/ 1699723 h 1919069"/>
              <a:gd name="connsiteX6" fmla="*/ 1038225 w 1588662"/>
              <a:gd name="connsiteY6" fmla="*/ 1919069 h 1919069"/>
              <a:gd name="connsiteX7" fmla="*/ 0 w 1588662"/>
              <a:gd name="connsiteY7" fmla="*/ 376019 h 1919069"/>
              <a:gd name="connsiteX8" fmla="*/ 371475 w 1588662"/>
              <a:gd name="connsiteY8" fmla="*/ 1118 h 1919069"/>
              <a:gd name="connsiteX0" fmla="*/ 371475 w 1600166"/>
              <a:gd name="connsiteY0" fmla="*/ 1118 h 1919069"/>
              <a:gd name="connsiteX1" fmla="*/ 568075 w 1600166"/>
              <a:gd name="connsiteY1" fmla="*/ 602876 h 1919069"/>
              <a:gd name="connsiteX2" fmla="*/ 374089 w 1600166"/>
              <a:gd name="connsiteY2" fmla="*/ 646744 h 1919069"/>
              <a:gd name="connsiteX3" fmla="*/ 987445 w 1600166"/>
              <a:gd name="connsiteY3" fmla="*/ 1528815 h 1919069"/>
              <a:gd name="connsiteX4" fmla="*/ 1173048 w 1600166"/>
              <a:gd name="connsiteY4" fmla="*/ 1311482 h 1919069"/>
              <a:gd name="connsiteX5" fmla="*/ 1588662 w 1600166"/>
              <a:gd name="connsiteY5" fmla="*/ 1699723 h 1919069"/>
              <a:gd name="connsiteX6" fmla="*/ 1038225 w 1600166"/>
              <a:gd name="connsiteY6" fmla="*/ 1919069 h 1919069"/>
              <a:gd name="connsiteX7" fmla="*/ 0 w 1600166"/>
              <a:gd name="connsiteY7" fmla="*/ 376019 h 1919069"/>
              <a:gd name="connsiteX8" fmla="*/ 371475 w 1600166"/>
              <a:gd name="connsiteY8" fmla="*/ 1118 h 1919069"/>
              <a:gd name="connsiteX0" fmla="*/ 371475 w 1600166"/>
              <a:gd name="connsiteY0" fmla="*/ 1118 h 1919069"/>
              <a:gd name="connsiteX1" fmla="*/ 568075 w 1600166"/>
              <a:gd name="connsiteY1" fmla="*/ 602876 h 1919069"/>
              <a:gd name="connsiteX2" fmla="*/ 374089 w 1600166"/>
              <a:gd name="connsiteY2" fmla="*/ 646744 h 1919069"/>
              <a:gd name="connsiteX3" fmla="*/ 987445 w 1600166"/>
              <a:gd name="connsiteY3" fmla="*/ 1528815 h 1919069"/>
              <a:gd name="connsiteX4" fmla="*/ 1173048 w 1600166"/>
              <a:gd name="connsiteY4" fmla="*/ 1311482 h 1919069"/>
              <a:gd name="connsiteX5" fmla="*/ 1588662 w 1600166"/>
              <a:gd name="connsiteY5" fmla="*/ 1699723 h 1919069"/>
              <a:gd name="connsiteX6" fmla="*/ 1038225 w 1600166"/>
              <a:gd name="connsiteY6" fmla="*/ 1919069 h 1919069"/>
              <a:gd name="connsiteX7" fmla="*/ 0 w 1600166"/>
              <a:gd name="connsiteY7" fmla="*/ 376019 h 1919069"/>
              <a:gd name="connsiteX8" fmla="*/ 371475 w 1600166"/>
              <a:gd name="connsiteY8" fmla="*/ 1118 h 1919069"/>
              <a:gd name="connsiteX0" fmla="*/ 371475 w 1596260"/>
              <a:gd name="connsiteY0" fmla="*/ 1118 h 1919069"/>
              <a:gd name="connsiteX1" fmla="*/ 568075 w 1596260"/>
              <a:gd name="connsiteY1" fmla="*/ 602876 h 1919069"/>
              <a:gd name="connsiteX2" fmla="*/ 374089 w 1596260"/>
              <a:gd name="connsiteY2" fmla="*/ 646744 h 1919069"/>
              <a:gd name="connsiteX3" fmla="*/ 987445 w 1596260"/>
              <a:gd name="connsiteY3" fmla="*/ 1528815 h 1919069"/>
              <a:gd name="connsiteX4" fmla="*/ 1173048 w 1596260"/>
              <a:gd name="connsiteY4" fmla="*/ 1311482 h 1919069"/>
              <a:gd name="connsiteX5" fmla="*/ 1588662 w 1596260"/>
              <a:gd name="connsiteY5" fmla="*/ 1699723 h 1919069"/>
              <a:gd name="connsiteX6" fmla="*/ 1038225 w 1596260"/>
              <a:gd name="connsiteY6" fmla="*/ 1919069 h 1919069"/>
              <a:gd name="connsiteX7" fmla="*/ 0 w 1596260"/>
              <a:gd name="connsiteY7" fmla="*/ 376019 h 1919069"/>
              <a:gd name="connsiteX8" fmla="*/ 371475 w 1596260"/>
              <a:gd name="connsiteY8" fmla="*/ 1118 h 1919069"/>
              <a:gd name="connsiteX0" fmla="*/ 371475 w 1596260"/>
              <a:gd name="connsiteY0" fmla="*/ 1118 h 1919069"/>
              <a:gd name="connsiteX1" fmla="*/ 568075 w 1596260"/>
              <a:gd name="connsiteY1" fmla="*/ 602876 h 1919069"/>
              <a:gd name="connsiteX2" fmla="*/ 374089 w 1596260"/>
              <a:gd name="connsiteY2" fmla="*/ 646744 h 1919069"/>
              <a:gd name="connsiteX3" fmla="*/ 987445 w 1596260"/>
              <a:gd name="connsiteY3" fmla="*/ 1528815 h 1919069"/>
              <a:gd name="connsiteX4" fmla="*/ 1173048 w 1596260"/>
              <a:gd name="connsiteY4" fmla="*/ 1311482 h 1919069"/>
              <a:gd name="connsiteX5" fmla="*/ 1588662 w 1596260"/>
              <a:gd name="connsiteY5" fmla="*/ 1699723 h 1919069"/>
              <a:gd name="connsiteX6" fmla="*/ 1038225 w 1596260"/>
              <a:gd name="connsiteY6" fmla="*/ 1919069 h 1919069"/>
              <a:gd name="connsiteX7" fmla="*/ 0 w 1596260"/>
              <a:gd name="connsiteY7" fmla="*/ 376019 h 1919069"/>
              <a:gd name="connsiteX8" fmla="*/ 371475 w 1596260"/>
              <a:gd name="connsiteY8" fmla="*/ 1118 h 1919069"/>
              <a:gd name="connsiteX0" fmla="*/ 371475 w 1596260"/>
              <a:gd name="connsiteY0" fmla="*/ 1118 h 1946976"/>
              <a:gd name="connsiteX1" fmla="*/ 568075 w 1596260"/>
              <a:gd name="connsiteY1" fmla="*/ 602876 h 1946976"/>
              <a:gd name="connsiteX2" fmla="*/ 374089 w 1596260"/>
              <a:gd name="connsiteY2" fmla="*/ 646744 h 1946976"/>
              <a:gd name="connsiteX3" fmla="*/ 987445 w 1596260"/>
              <a:gd name="connsiteY3" fmla="*/ 1528815 h 1946976"/>
              <a:gd name="connsiteX4" fmla="*/ 1173048 w 1596260"/>
              <a:gd name="connsiteY4" fmla="*/ 1311482 h 1946976"/>
              <a:gd name="connsiteX5" fmla="*/ 1588662 w 1596260"/>
              <a:gd name="connsiteY5" fmla="*/ 1699723 h 1946976"/>
              <a:gd name="connsiteX6" fmla="*/ 1038225 w 1596260"/>
              <a:gd name="connsiteY6" fmla="*/ 1919069 h 1946976"/>
              <a:gd name="connsiteX7" fmla="*/ 0 w 1596260"/>
              <a:gd name="connsiteY7" fmla="*/ 376019 h 1946976"/>
              <a:gd name="connsiteX8" fmla="*/ 371475 w 1596260"/>
              <a:gd name="connsiteY8" fmla="*/ 1118 h 1946976"/>
              <a:gd name="connsiteX0" fmla="*/ 357053 w 1581838"/>
              <a:gd name="connsiteY0" fmla="*/ 1118 h 1946976"/>
              <a:gd name="connsiteX1" fmla="*/ 553653 w 1581838"/>
              <a:gd name="connsiteY1" fmla="*/ 602876 h 1946976"/>
              <a:gd name="connsiteX2" fmla="*/ 359667 w 1581838"/>
              <a:gd name="connsiteY2" fmla="*/ 646744 h 1946976"/>
              <a:gd name="connsiteX3" fmla="*/ 973023 w 1581838"/>
              <a:gd name="connsiteY3" fmla="*/ 1528815 h 1946976"/>
              <a:gd name="connsiteX4" fmla="*/ 1158626 w 1581838"/>
              <a:gd name="connsiteY4" fmla="*/ 1311482 h 1946976"/>
              <a:gd name="connsiteX5" fmla="*/ 1574240 w 1581838"/>
              <a:gd name="connsiteY5" fmla="*/ 1699723 h 1946976"/>
              <a:gd name="connsiteX6" fmla="*/ 1023803 w 1581838"/>
              <a:gd name="connsiteY6" fmla="*/ 1919069 h 1946976"/>
              <a:gd name="connsiteX7" fmla="*/ 0 w 1581838"/>
              <a:gd name="connsiteY7" fmla="*/ 378903 h 1946976"/>
              <a:gd name="connsiteX8" fmla="*/ 357053 w 1581838"/>
              <a:gd name="connsiteY8" fmla="*/ 1118 h 1946976"/>
              <a:gd name="connsiteX0" fmla="*/ 357053 w 1581838"/>
              <a:gd name="connsiteY0" fmla="*/ 1118 h 1946976"/>
              <a:gd name="connsiteX1" fmla="*/ 553653 w 1581838"/>
              <a:gd name="connsiteY1" fmla="*/ 602876 h 1946976"/>
              <a:gd name="connsiteX2" fmla="*/ 359667 w 1581838"/>
              <a:gd name="connsiteY2" fmla="*/ 646744 h 1946976"/>
              <a:gd name="connsiteX3" fmla="*/ 973023 w 1581838"/>
              <a:gd name="connsiteY3" fmla="*/ 1528815 h 1946976"/>
              <a:gd name="connsiteX4" fmla="*/ 1158626 w 1581838"/>
              <a:gd name="connsiteY4" fmla="*/ 1311482 h 1946976"/>
              <a:gd name="connsiteX5" fmla="*/ 1574240 w 1581838"/>
              <a:gd name="connsiteY5" fmla="*/ 1699723 h 1946976"/>
              <a:gd name="connsiteX6" fmla="*/ 1023803 w 1581838"/>
              <a:gd name="connsiteY6" fmla="*/ 1919069 h 1946976"/>
              <a:gd name="connsiteX7" fmla="*/ 0 w 1581838"/>
              <a:gd name="connsiteY7" fmla="*/ 378903 h 1946976"/>
              <a:gd name="connsiteX8" fmla="*/ 357053 w 1581838"/>
              <a:gd name="connsiteY8" fmla="*/ 1118 h 1946976"/>
              <a:gd name="connsiteX0" fmla="*/ 357053 w 1581838"/>
              <a:gd name="connsiteY0" fmla="*/ 1118 h 1946976"/>
              <a:gd name="connsiteX1" fmla="*/ 553653 w 1581838"/>
              <a:gd name="connsiteY1" fmla="*/ 602876 h 1946976"/>
              <a:gd name="connsiteX2" fmla="*/ 359667 w 1581838"/>
              <a:gd name="connsiteY2" fmla="*/ 646744 h 1946976"/>
              <a:gd name="connsiteX3" fmla="*/ 973023 w 1581838"/>
              <a:gd name="connsiteY3" fmla="*/ 1528815 h 1946976"/>
              <a:gd name="connsiteX4" fmla="*/ 1158626 w 1581838"/>
              <a:gd name="connsiteY4" fmla="*/ 1311482 h 1946976"/>
              <a:gd name="connsiteX5" fmla="*/ 1574240 w 1581838"/>
              <a:gd name="connsiteY5" fmla="*/ 1699723 h 1946976"/>
              <a:gd name="connsiteX6" fmla="*/ 1023803 w 1581838"/>
              <a:gd name="connsiteY6" fmla="*/ 1919069 h 1946976"/>
              <a:gd name="connsiteX7" fmla="*/ 0 w 1581838"/>
              <a:gd name="connsiteY7" fmla="*/ 378903 h 1946976"/>
              <a:gd name="connsiteX8" fmla="*/ 357053 w 1581838"/>
              <a:gd name="connsiteY8" fmla="*/ 1118 h 1946976"/>
              <a:gd name="connsiteX0" fmla="*/ 333976 w 1558761"/>
              <a:gd name="connsiteY0" fmla="*/ 1118 h 1946976"/>
              <a:gd name="connsiteX1" fmla="*/ 530576 w 1558761"/>
              <a:gd name="connsiteY1" fmla="*/ 602876 h 1946976"/>
              <a:gd name="connsiteX2" fmla="*/ 336590 w 1558761"/>
              <a:gd name="connsiteY2" fmla="*/ 646744 h 1946976"/>
              <a:gd name="connsiteX3" fmla="*/ 949946 w 1558761"/>
              <a:gd name="connsiteY3" fmla="*/ 1528815 h 1946976"/>
              <a:gd name="connsiteX4" fmla="*/ 1135549 w 1558761"/>
              <a:gd name="connsiteY4" fmla="*/ 1311482 h 1946976"/>
              <a:gd name="connsiteX5" fmla="*/ 1551163 w 1558761"/>
              <a:gd name="connsiteY5" fmla="*/ 1699723 h 1946976"/>
              <a:gd name="connsiteX6" fmla="*/ 1000726 w 1558761"/>
              <a:gd name="connsiteY6" fmla="*/ 1919069 h 1946976"/>
              <a:gd name="connsiteX7" fmla="*/ 0 w 1558761"/>
              <a:gd name="connsiteY7" fmla="*/ 390441 h 1946976"/>
              <a:gd name="connsiteX8" fmla="*/ 333976 w 1558761"/>
              <a:gd name="connsiteY8" fmla="*/ 1118 h 1946976"/>
              <a:gd name="connsiteX0" fmla="*/ 335877 w 1560662"/>
              <a:gd name="connsiteY0" fmla="*/ 1118 h 1946976"/>
              <a:gd name="connsiteX1" fmla="*/ 532477 w 1560662"/>
              <a:gd name="connsiteY1" fmla="*/ 602876 h 1946976"/>
              <a:gd name="connsiteX2" fmla="*/ 338491 w 1560662"/>
              <a:gd name="connsiteY2" fmla="*/ 646744 h 1946976"/>
              <a:gd name="connsiteX3" fmla="*/ 951847 w 1560662"/>
              <a:gd name="connsiteY3" fmla="*/ 1528815 h 1946976"/>
              <a:gd name="connsiteX4" fmla="*/ 1137450 w 1560662"/>
              <a:gd name="connsiteY4" fmla="*/ 1311482 h 1946976"/>
              <a:gd name="connsiteX5" fmla="*/ 1553064 w 1560662"/>
              <a:gd name="connsiteY5" fmla="*/ 1699723 h 1946976"/>
              <a:gd name="connsiteX6" fmla="*/ 1002627 w 1560662"/>
              <a:gd name="connsiteY6" fmla="*/ 1919069 h 1946976"/>
              <a:gd name="connsiteX7" fmla="*/ 1901 w 1560662"/>
              <a:gd name="connsiteY7" fmla="*/ 390441 h 1946976"/>
              <a:gd name="connsiteX8" fmla="*/ 335877 w 1560662"/>
              <a:gd name="connsiteY8" fmla="*/ 1118 h 1946976"/>
              <a:gd name="connsiteX0" fmla="*/ 335877 w 1560662"/>
              <a:gd name="connsiteY0" fmla="*/ 1118 h 1946976"/>
              <a:gd name="connsiteX1" fmla="*/ 532477 w 1560662"/>
              <a:gd name="connsiteY1" fmla="*/ 602876 h 1946976"/>
              <a:gd name="connsiteX2" fmla="*/ 338491 w 1560662"/>
              <a:gd name="connsiteY2" fmla="*/ 646744 h 1946976"/>
              <a:gd name="connsiteX3" fmla="*/ 951847 w 1560662"/>
              <a:gd name="connsiteY3" fmla="*/ 1528815 h 1946976"/>
              <a:gd name="connsiteX4" fmla="*/ 1137450 w 1560662"/>
              <a:gd name="connsiteY4" fmla="*/ 1311482 h 1946976"/>
              <a:gd name="connsiteX5" fmla="*/ 1553064 w 1560662"/>
              <a:gd name="connsiteY5" fmla="*/ 1699723 h 1946976"/>
              <a:gd name="connsiteX6" fmla="*/ 1002627 w 1560662"/>
              <a:gd name="connsiteY6" fmla="*/ 1919069 h 1946976"/>
              <a:gd name="connsiteX7" fmla="*/ 1901 w 1560662"/>
              <a:gd name="connsiteY7" fmla="*/ 390441 h 1946976"/>
              <a:gd name="connsiteX8" fmla="*/ 335877 w 1560662"/>
              <a:gd name="connsiteY8" fmla="*/ 1118 h 1946976"/>
              <a:gd name="connsiteX0" fmla="*/ 335877 w 1560662"/>
              <a:gd name="connsiteY0" fmla="*/ 1118 h 1946976"/>
              <a:gd name="connsiteX1" fmla="*/ 532477 w 1560662"/>
              <a:gd name="connsiteY1" fmla="*/ 602876 h 1946976"/>
              <a:gd name="connsiteX2" fmla="*/ 338491 w 1560662"/>
              <a:gd name="connsiteY2" fmla="*/ 646744 h 1946976"/>
              <a:gd name="connsiteX3" fmla="*/ 951847 w 1560662"/>
              <a:gd name="connsiteY3" fmla="*/ 1528815 h 1946976"/>
              <a:gd name="connsiteX4" fmla="*/ 1137450 w 1560662"/>
              <a:gd name="connsiteY4" fmla="*/ 1311482 h 1946976"/>
              <a:gd name="connsiteX5" fmla="*/ 1553064 w 1560662"/>
              <a:gd name="connsiteY5" fmla="*/ 1699723 h 1946976"/>
              <a:gd name="connsiteX6" fmla="*/ 1002627 w 1560662"/>
              <a:gd name="connsiteY6" fmla="*/ 1919069 h 1946976"/>
              <a:gd name="connsiteX7" fmla="*/ 1901 w 1560662"/>
              <a:gd name="connsiteY7" fmla="*/ 390441 h 1946976"/>
              <a:gd name="connsiteX8" fmla="*/ 335877 w 1560662"/>
              <a:gd name="connsiteY8" fmla="*/ 1118 h 1946976"/>
              <a:gd name="connsiteX0" fmla="*/ 335877 w 1560662"/>
              <a:gd name="connsiteY0" fmla="*/ 1118 h 1946976"/>
              <a:gd name="connsiteX1" fmla="*/ 532477 w 1560662"/>
              <a:gd name="connsiteY1" fmla="*/ 602876 h 1946976"/>
              <a:gd name="connsiteX2" fmla="*/ 344260 w 1560662"/>
              <a:gd name="connsiteY2" fmla="*/ 655398 h 1946976"/>
              <a:gd name="connsiteX3" fmla="*/ 951847 w 1560662"/>
              <a:gd name="connsiteY3" fmla="*/ 1528815 h 1946976"/>
              <a:gd name="connsiteX4" fmla="*/ 1137450 w 1560662"/>
              <a:gd name="connsiteY4" fmla="*/ 1311482 h 1946976"/>
              <a:gd name="connsiteX5" fmla="*/ 1553064 w 1560662"/>
              <a:gd name="connsiteY5" fmla="*/ 1699723 h 1946976"/>
              <a:gd name="connsiteX6" fmla="*/ 1002627 w 1560662"/>
              <a:gd name="connsiteY6" fmla="*/ 1919069 h 1946976"/>
              <a:gd name="connsiteX7" fmla="*/ 1901 w 1560662"/>
              <a:gd name="connsiteY7" fmla="*/ 390441 h 1946976"/>
              <a:gd name="connsiteX8" fmla="*/ 335877 w 1560662"/>
              <a:gd name="connsiteY8" fmla="*/ 1118 h 1946976"/>
              <a:gd name="connsiteX0" fmla="*/ 335877 w 1560662"/>
              <a:gd name="connsiteY0" fmla="*/ 196 h 1946054"/>
              <a:gd name="connsiteX1" fmla="*/ 532477 w 1560662"/>
              <a:gd name="connsiteY1" fmla="*/ 601954 h 1946054"/>
              <a:gd name="connsiteX2" fmla="*/ 344260 w 1560662"/>
              <a:gd name="connsiteY2" fmla="*/ 654476 h 1946054"/>
              <a:gd name="connsiteX3" fmla="*/ 951847 w 1560662"/>
              <a:gd name="connsiteY3" fmla="*/ 1527893 h 1946054"/>
              <a:gd name="connsiteX4" fmla="*/ 1137450 w 1560662"/>
              <a:gd name="connsiteY4" fmla="*/ 1310560 h 1946054"/>
              <a:gd name="connsiteX5" fmla="*/ 1553064 w 1560662"/>
              <a:gd name="connsiteY5" fmla="*/ 1698801 h 1946054"/>
              <a:gd name="connsiteX6" fmla="*/ 1002627 w 1560662"/>
              <a:gd name="connsiteY6" fmla="*/ 1918147 h 1946054"/>
              <a:gd name="connsiteX7" fmla="*/ 1901 w 1560662"/>
              <a:gd name="connsiteY7" fmla="*/ 389519 h 1946054"/>
              <a:gd name="connsiteX8" fmla="*/ 335877 w 1560662"/>
              <a:gd name="connsiteY8" fmla="*/ 196 h 1946054"/>
              <a:gd name="connsiteX0" fmla="*/ 332898 w 1560662"/>
              <a:gd name="connsiteY0" fmla="*/ 199 h 1937121"/>
              <a:gd name="connsiteX1" fmla="*/ 532477 w 1560662"/>
              <a:gd name="connsiteY1" fmla="*/ 593021 h 1937121"/>
              <a:gd name="connsiteX2" fmla="*/ 344260 w 1560662"/>
              <a:gd name="connsiteY2" fmla="*/ 645543 h 1937121"/>
              <a:gd name="connsiteX3" fmla="*/ 951847 w 1560662"/>
              <a:gd name="connsiteY3" fmla="*/ 1518960 h 1937121"/>
              <a:gd name="connsiteX4" fmla="*/ 1137450 w 1560662"/>
              <a:gd name="connsiteY4" fmla="*/ 1301627 h 1937121"/>
              <a:gd name="connsiteX5" fmla="*/ 1553064 w 1560662"/>
              <a:gd name="connsiteY5" fmla="*/ 1689868 h 1937121"/>
              <a:gd name="connsiteX6" fmla="*/ 1002627 w 1560662"/>
              <a:gd name="connsiteY6" fmla="*/ 1909214 h 1937121"/>
              <a:gd name="connsiteX7" fmla="*/ 1901 w 1560662"/>
              <a:gd name="connsiteY7" fmla="*/ 380586 h 1937121"/>
              <a:gd name="connsiteX8" fmla="*/ 332898 w 1560662"/>
              <a:gd name="connsiteY8" fmla="*/ 199 h 1937121"/>
              <a:gd name="connsiteX0" fmla="*/ 332898 w 1560662"/>
              <a:gd name="connsiteY0" fmla="*/ 199 h 1937121"/>
              <a:gd name="connsiteX1" fmla="*/ 532477 w 1560662"/>
              <a:gd name="connsiteY1" fmla="*/ 593021 h 1937121"/>
              <a:gd name="connsiteX2" fmla="*/ 344260 w 1560662"/>
              <a:gd name="connsiteY2" fmla="*/ 645543 h 1937121"/>
              <a:gd name="connsiteX3" fmla="*/ 951847 w 1560662"/>
              <a:gd name="connsiteY3" fmla="*/ 1518960 h 1937121"/>
              <a:gd name="connsiteX4" fmla="*/ 1137450 w 1560662"/>
              <a:gd name="connsiteY4" fmla="*/ 1301627 h 1937121"/>
              <a:gd name="connsiteX5" fmla="*/ 1553064 w 1560662"/>
              <a:gd name="connsiteY5" fmla="*/ 1689868 h 1937121"/>
              <a:gd name="connsiteX6" fmla="*/ 1002627 w 1560662"/>
              <a:gd name="connsiteY6" fmla="*/ 1909214 h 1937121"/>
              <a:gd name="connsiteX7" fmla="*/ 1901 w 1560662"/>
              <a:gd name="connsiteY7" fmla="*/ 380586 h 1937121"/>
              <a:gd name="connsiteX8" fmla="*/ 332898 w 1560662"/>
              <a:gd name="connsiteY8" fmla="*/ 199 h 1937121"/>
              <a:gd name="connsiteX0" fmla="*/ 332898 w 1560662"/>
              <a:gd name="connsiteY0" fmla="*/ 199 h 1937121"/>
              <a:gd name="connsiteX1" fmla="*/ 532477 w 1560662"/>
              <a:gd name="connsiteY1" fmla="*/ 593021 h 1937121"/>
              <a:gd name="connsiteX2" fmla="*/ 344260 w 1560662"/>
              <a:gd name="connsiteY2" fmla="*/ 645543 h 1937121"/>
              <a:gd name="connsiteX3" fmla="*/ 951847 w 1560662"/>
              <a:gd name="connsiteY3" fmla="*/ 1518960 h 1937121"/>
              <a:gd name="connsiteX4" fmla="*/ 1137450 w 1560662"/>
              <a:gd name="connsiteY4" fmla="*/ 1301627 h 1937121"/>
              <a:gd name="connsiteX5" fmla="*/ 1553064 w 1560662"/>
              <a:gd name="connsiteY5" fmla="*/ 1689868 h 1937121"/>
              <a:gd name="connsiteX6" fmla="*/ 1002627 w 1560662"/>
              <a:gd name="connsiteY6" fmla="*/ 1909214 h 1937121"/>
              <a:gd name="connsiteX7" fmla="*/ 1901 w 1560662"/>
              <a:gd name="connsiteY7" fmla="*/ 380586 h 1937121"/>
              <a:gd name="connsiteX8" fmla="*/ 332898 w 1560662"/>
              <a:gd name="connsiteY8" fmla="*/ 199 h 1937121"/>
              <a:gd name="connsiteX0" fmla="*/ 332898 w 1565431"/>
              <a:gd name="connsiteY0" fmla="*/ 199 h 1937121"/>
              <a:gd name="connsiteX1" fmla="*/ 532477 w 1565431"/>
              <a:gd name="connsiteY1" fmla="*/ 593021 h 1937121"/>
              <a:gd name="connsiteX2" fmla="*/ 344260 w 1565431"/>
              <a:gd name="connsiteY2" fmla="*/ 645543 h 1937121"/>
              <a:gd name="connsiteX3" fmla="*/ 951847 w 1565431"/>
              <a:gd name="connsiteY3" fmla="*/ 1518960 h 1937121"/>
              <a:gd name="connsiteX4" fmla="*/ 1137450 w 1565431"/>
              <a:gd name="connsiteY4" fmla="*/ 1301627 h 1937121"/>
              <a:gd name="connsiteX5" fmla="*/ 1553064 w 1565431"/>
              <a:gd name="connsiteY5" fmla="*/ 1689868 h 1937121"/>
              <a:gd name="connsiteX6" fmla="*/ 1002627 w 1565431"/>
              <a:gd name="connsiteY6" fmla="*/ 1909214 h 1937121"/>
              <a:gd name="connsiteX7" fmla="*/ 1901 w 1565431"/>
              <a:gd name="connsiteY7" fmla="*/ 380586 h 1937121"/>
              <a:gd name="connsiteX8" fmla="*/ 332898 w 1565431"/>
              <a:gd name="connsiteY8" fmla="*/ 199 h 1937121"/>
              <a:gd name="connsiteX0" fmla="*/ 332898 w 1565431"/>
              <a:gd name="connsiteY0" fmla="*/ 199 h 1937121"/>
              <a:gd name="connsiteX1" fmla="*/ 532477 w 1565431"/>
              <a:gd name="connsiteY1" fmla="*/ 593021 h 1937121"/>
              <a:gd name="connsiteX2" fmla="*/ 344260 w 1565431"/>
              <a:gd name="connsiteY2" fmla="*/ 645543 h 1937121"/>
              <a:gd name="connsiteX3" fmla="*/ 951847 w 1565431"/>
              <a:gd name="connsiteY3" fmla="*/ 1518960 h 1937121"/>
              <a:gd name="connsiteX4" fmla="*/ 1137450 w 1565431"/>
              <a:gd name="connsiteY4" fmla="*/ 1301627 h 1937121"/>
              <a:gd name="connsiteX5" fmla="*/ 1553064 w 1565431"/>
              <a:gd name="connsiteY5" fmla="*/ 1689868 h 1937121"/>
              <a:gd name="connsiteX6" fmla="*/ 1002627 w 1565431"/>
              <a:gd name="connsiteY6" fmla="*/ 1909214 h 1937121"/>
              <a:gd name="connsiteX7" fmla="*/ 1901 w 1565431"/>
              <a:gd name="connsiteY7" fmla="*/ 380586 h 1937121"/>
              <a:gd name="connsiteX8" fmla="*/ 332898 w 1565431"/>
              <a:gd name="connsiteY8" fmla="*/ 199 h 1937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65431" h="1937121">
                <a:moveTo>
                  <a:pt x="332898" y="199"/>
                </a:moveTo>
                <a:cubicBezTo>
                  <a:pt x="480797" y="-12106"/>
                  <a:pt x="712130" y="551085"/>
                  <a:pt x="532477" y="593021"/>
                </a:cubicBezTo>
                <a:lnTo>
                  <a:pt x="344260" y="645543"/>
                </a:lnTo>
                <a:cubicBezTo>
                  <a:pt x="475639" y="1163599"/>
                  <a:pt x="690666" y="1300897"/>
                  <a:pt x="951847" y="1518960"/>
                </a:cubicBezTo>
                <a:cubicBezTo>
                  <a:pt x="1003138" y="1396518"/>
                  <a:pt x="1042046" y="1291100"/>
                  <a:pt x="1137450" y="1301627"/>
                </a:cubicBezTo>
                <a:cubicBezTo>
                  <a:pt x="1276950" y="1299313"/>
                  <a:pt x="1636332" y="1564228"/>
                  <a:pt x="1553064" y="1689868"/>
                </a:cubicBezTo>
                <a:cubicBezTo>
                  <a:pt x="1389777" y="1941825"/>
                  <a:pt x="1145722" y="1971673"/>
                  <a:pt x="1002627" y="1909214"/>
                </a:cubicBezTo>
                <a:cubicBezTo>
                  <a:pt x="545977" y="1690048"/>
                  <a:pt x="-37590" y="1110316"/>
                  <a:pt x="1901" y="380586"/>
                </a:cubicBezTo>
                <a:cubicBezTo>
                  <a:pt x="36305" y="148891"/>
                  <a:pt x="133416" y="23363"/>
                  <a:pt x="332898" y="199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66" name="Rectangle 36">
            <a:extLst>
              <a:ext uri="{FF2B5EF4-FFF2-40B4-BE49-F238E27FC236}">
                <a16:creationId xmlns:a16="http://schemas.microsoft.com/office/drawing/2014/main" id="{11A06711-0A15-47E5-AAA2-F0E6DC05BD1B}"/>
              </a:ext>
            </a:extLst>
          </p:cNvPr>
          <p:cNvSpPr/>
          <p:nvPr/>
        </p:nvSpPr>
        <p:spPr>
          <a:xfrm>
            <a:off x="5164740" y="4708915"/>
            <a:ext cx="586136" cy="489963"/>
          </a:xfrm>
          <a:custGeom>
            <a:avLst/>
            <a:gdLst/>
            <a:ahLst/>
            <a:cxnLst/>
            <a:rect l="l" t="t" r="r" b="b"/>
            <a:pathLst>
              <a:path w="3186824" h="2663936">
                <a:moveTo>
                  <a:pt x="2624444" y="2376100"/>
                </a:moveTo>
                <a:lnTo>
                  <a:pt x="2624444" y="2520100"/>
                </a:lnTo>
                <a:lnTo>
                  <a:pt x="2952463" y="2520100"/>
                </a:lnTo>
                <a:lnTo>
                  <a:pt x="2952463" y="2376100"/>
                </a:lnTo>
                <a:close/>
                <a:moveTo>
                  <a:pt x="210911" y="2376100"/>
                </a:moveTo>
                <a:lnTo>
                  <a:pt x="210911" y="2520100"/>
                </a:lnTo>
                <a:lnTo>
                  <a:pt x="538930" y="2520100"/>
                </a:lnTo>
                <a:lnTo>
                  <a:pt x="538930" y="2376100"/>
                </a:lnTo>
                <a:close/>
                <a:moveTo>
                  <a:pt x="2624444" y="2095269"/>
                </a:moveTo>
                <a:lnTo>
                  <a:pt x="2624444" y="2239269"/>
                </a:lnTo>
                <a:lnTo>
                  <a:pt x="2952463" y="2239269"/>
                </a:lnTo>
                <a:lnTo>
                  <a:pt x="2952463" y="2095269"/>
                </a:lnTo>
                <a:close/>
                <a:moveTo>
                  <a:pt x="210911" y="2095269"/>
                </a:moveTo>
                <a:lnTo>
                  <a:pt x="210911" y="2239269"/>
                </a:lnTo>
                <a:lnTo>
                  <a:pt x="538930" y="2239269"/>
                </a:lnTo>
                <a:lnTo>
                  <a:pt x="538930" y="2095269"/>
                </a:lnTo>
                <a:close/>
                <a:moveTo>
                  <a:pt x="2624444" y="1814436"/>
                </a:moveTo>
                <a:lnTo>
                  <a:pt x="2624444" y="1958436"/>
                </a:lnTo>
                <a:lnTo>
                  <a:pt x="2952463" y="1958436"/>
                </a:lnTo>
                <a:lnTo>
                  <a:pt x="2952463" y="1814436"/>
                </a:lnTo>
                <a:close/>
                <a:moveTo>
                  <a:pt x="210911" y="1814436"/>
                </a:moveTo>
                <a:lnTo>
                  <a:pt x="210911" y="1958436"/>
                </a:lnTo>
                <a:lnTo>
                  <a:pt x="538930" y="1958436"/>
                </a:lnTo>
                <a:lnTo>
                  <a:pt x="538930" y="1814436"/>
                </a:lnTo>
                <a:close/>
                <a:moveTo>
                  <a:pt x="2624444" y="1533603"/>
                </a:moveTo>
                <a:lnTo>
                  <a:pt x="2624444" y="1677603"/>
                </a:lnTo>
                <a:lnTo>
                  <a:pt x="2952463" y="1677603"/>
                </a:lnTo>
                <a:lnTo>
                  <a:pt x="2952463" y="1533603"/>
                </a:lnTo>
                <a:close/>
                <a:moveTo>
                  <a:pt x="210911" y="1533603"/>
                </a:moveTo>
                <a:lnTo>
                  <a:pt x="210911" y="1677603"/>
                </a:lnTo>
                <a:lnTo>
                  <a:pt x="538930" y="1677603"/>
                </a:lnTo>
                <a:lnTo>
                  <a:pt x="538930" y="1533603"/>
                </a:lnTo>
                <a:close/>
                <a:moveTo>
                  <a:pt x="2624444" y="1252770"/>
                </a:moveTo>
                <a:lnTo>
                  <a:pt x="2624444" y="1396770"/>
                </a:lnTo>
                <a:lnTo>
                  <a:pt x="2952463" y="1396770"/>
                </a:lnTo>
                <a:lnTo>
                  <a:pt x="2952463" y="1252770"/>
                </a:lnTo>
                <a:close/>
                <a:moveTo>
                  <a:pt x="210911" y="1252770"/>
                </a:moveTo>
                <a:lnTo>
                  <a:pt x="210911" y="1396770"/>
                </a:lnTo>
                <a:lnTo>
                  <a:pt x="538930" y="1396770"/>
                </a:lnTo>
                <a:lnTo>
                  <a:pt x="538930" y="1252770"/>
                </a:lnTo>
                <a:close/>
                <a:moveTo>
                  <a:pt x="2624444" y="971937"/>
                </a:moveTo>
                <a:lnTo>
                  <a:pt x="2624444" y="1115937"/>
                </a:lnTo>
                <a:lnTo>
                  <a:pt x="2952463" y="1115937"/>
                </a:lnTo>
                <a:lnTo>
                  <a:pt x="2952463" y="971937"/>
                </a:lnTo>
                <a:close/>
                <a:moveTo>
                  <a:pt x="210911" y="971937"/>
                </a:moveTo>
                <a:lnTo>
                  <a:pt x="210911" y="1115937"/>
                </a:lnTo>
                <a:lnTo>
                  <a:pt x="538930" y="1115937"/>
                </a:lnTo>
                <a:lnTo>
                  <a:pt x="538930" y="971937"/>
                </a:lnTo>
                <a:close/>
                <a:moveTo>
                  <a:pt x="2624444" y="691104"/>
                </a:moveTo>
                <a:lnTo>
                  <a:pt x="2624444" y="835104"/>
                </a:lnTo>
                <a:lnTo>
                  <a:pt x="2952463" y="835104"/>
                </a:lnTo>
                <a:lnTo>
                  <a:pt x="2952463" y="691104"/>
                </a:lnTo>
                <a:close/>
                <a:moveTo>
                  <a:pt x="210911" y="691104"/>
                </a:moveTo>
                <a:lnTo>
                  <a:pt x="210911" y="835104"/>
                </a:lnTo>
                <a:lnTo>
                  <a:pt x="538930" y="835104"/>
                </a:lnTo>
                <a:lnTo>
                  <a:pt x="538930" y="691104"/>
                </a:lnTo>
                <a:close/>
                <a:moveTo>
                  <a:pt x="988006" y="552354"/>
                </a:moveTo>
                <a:lnTo>
                  <a:pt x="988006" y="2111583"/>
                </a:lnTo>
                <a:lnTo>
                  <a:pt x="2332169" y="1331969"/>
                </a:lnTo>
                <a:close/>
                <a:moveTo>
                  <a:pt x="2624444" y="410271"/>
                </a:moveTo>
                <a:lnTo>
                  <a:pt x="2624444" y="554271"/>
                </a:lnTo>
                <a:lnTo>
                  <a:pt x="2952463" y="554271"/>
                </a:lnTo>
                <a:lnTo>
                  <a:pt x="2952463" y="410271"/>
                </a:lnTo>
                <a:close/>
                <a:moveTo>
                  <a:pt x="210911" y="410271"/>
                </a:moveTo>
                <a:lnTo>
                  <a:pt x="210911" y="554271"/>
                </a:lnTo>
                <a:lnTo>
                  <a:pt x="538930" y="554271"/>
                </a:lnTo>
                <a:lnTo>
                  <a:pt x="538930" y="410271"/>
                </a:lnTo>
                <a:close/>
                <a:moveTo>
                  <a:pt x="2624444" y="129438"/>
                </a:moveTo>
                <a:lnTo>
                  <a:pt x="2624444" y="273438"/>
                </a:lnTo>
                <a:lnTo>
                  <a:pt x="2952463" y="273438"/>
                </a:lnTo>
                <a:lnTo>
                  <a:pt x="2952463" y="129438"/>
                </a:lnTo>
                <a:close/>
                <a:moveTo>
                  <a:pt x="210911" y="129438"/>
                </a:moveTo>
                <a:lnTo>
                  <a:pt x="210911" y="273438"/>
                </a:lnTo>
                <a:lnTo>
                  <a:pt x="538930" y="273438"/>
                </a:lnTo>
                <a:lnTo>
                  <a:pt x="538930" y="129438"/>
                </a:lnTo>
                <a:close/>
                <a:moveTo>
                  <a:pt x="0" y="0"/>
                </a:moveTo>
                <a:lnTo>
                  <a:pt x="3186824" y="0"/>
                </a:lnTo>
                <a:lnTo>
                  <a:pt x="3186824" y="2663936"/>
                </a:lnTo>
                <a:lnTo>
                  <a:pt x="0" y="26639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67" name="Rounded Rectangle 27">
            <a:extLst>
              <a:ext uri="{FF2B5EF4-FFF2-40B4-BE49-F238E27FC236}">
                <a16:creationId xmlns:a16="http://schemas.microsoft.com/office/drawing/2014/main" id="{7A5ED58F-9964-4886-8BFC-E301F23293AB}"/>
              </a:ext>
            </a:extLst>
          </p:cNvPr>
          <p:cNvSpPr/>
          <p:nvPr/>
        </p:nvSpPr>
        <p:spPr>
          <a:xfrm>
            <a:off x="8316455" y="1548746"/>
            <a:ext cx="605315" cy="464964"/>
          </a:xfrm>
          <a:custGeom>
            <a:avLst/>
            <a:gdLst/>
            <a:ahLst/>
            <a:cxnLst/>
            <a:rect l="l" t="t" r="r" b="b"/>
            <a:pathLst>
              <a:path w="3186824" h="2447912">
                <a:moveTo>
                  <a:pt x="1917737" y="1021643"/>
                </a:moveTo>
                <a:cubicBezTo>
                  <a:pt x="2188548" y="1021643"/>
                  <a:pt x="2408083" y="1241178"/>
                  <a:pt x="2408083" y="1511989"/>
                </a:cubicBezTo>
                <a:cubicBezTo>
                  <a:pt x="2408083" y="1782800"/>
                  <a:pt x="2188548" y="2002335"/>
                  <a:pt x="1917737" y="2002335"/>
                </a:cubicBezTo>
                <a:cubicBezTo>
                  <a:pt x="1646926" y="2002335"/>
                  <a:pt x="1427391" y="1782800"/>
                  <a:pt x="1427391" y="1511989"/>
                </a:cubicBezTo>
                <a:cubicBezTo>
                  <a:pt x="1427391" y="1241178"/>
                  <a:pt x="1646926" y="1021643"/>
                  <a:pt x="1917737" y="1021643"/>
                </a:cubicBezTo>
                <a:close/>
                <a:moveTo>
                  <a:pt x="1917737" y="827913"/>
                </a:moveTo>
                <a:cubicBezTo>
                  <a:pt x="1539932" y="827913"/>
                  <a:pt x="1233661" y="1134184"/>
                  <a:pt x="1233661" y="1511989"/>
                </a:cubicBezTo>
                <a:cubicBezTo>
                  <a:pt x="1233661" y="1889794"/>
                  <a:pt x="1539932" y="2196065"/>
                  <a:pt x="1917737" y="2196065"/>
                </a:cubicBezTo>
                <a:cubicBezTo>
                  <a:pt x="2295542" y="2196065"/>
                  <a:pt x="2601813" y="1889794"/>
                  <a:pt x="2601813" y="1511989"/>
                </a:cubicBezTo>
                <a:cubicBezTo>
                  <a:pt x="2601813" y="1134184"/>
                  <a:pt x="2295542" y="827913"/>
                  <a:pt x="1917737" y="827913"/>
                </a:cubicBezTo>
                <a:close/>
                <a:moveTo>
                  <a:pt x="1112286" y="675885"/>
                </a:moveTo>
                <a:lnTo>
                  <a:pt x="1112286" y="830188"/>
                </a:lnTo>
                <a:lnTo>
                  <a:pt x="1328310" y="830188"/>
                </a:lnTo>
                <a:lnTo>
                  <a:pt x="1328310" y="675885"/>
                </a:lnTo>
                <a:close/>
                <a:moveTo>
                  <a:pt x="2586084" y="626422"/>
                </a:moveTo>
                <a:lnTo>
                  <a:pt x="2586084" y="830188"/>
                </a:lnTo>
                <a:lnTo>
                  <a:pt x="3001340" y="830188"/>
                </a:lnTo>
                <a:lnTo>
                  <a:pt x="3001340" y="626422"/>
                </a:lnTo>
                <a:close/>
                <a:moveTo>
                  <a:pt x="1593701" y="108218"/>
                </a:moveTo>
                <a:lnTo>
                  <a:pt x="1593701" y="432905"/>
                </a:lnTo>
                <a:lnTo>
                  <a:pt x="2241773" y="432905"/>
                </a:lnTo>
                <a:lnTo>
                  <a:pt x="2241773" y="108218"/>
                </a:lnTo>
                <a:close/>
                <a:moveTo>
                  <a:pt x="1452512" y="0"/>
                </a:moveTo>
                <a:lnTo>
                  <a:pt x="2382963" y="0"/>
                </a:lnTo>
                <a:cubicBezTo>
                  <a:pt x="2433311" y="0"/>
                  <a:pt x="2474127" y="40816"/>
                  <a:pt x="2474127" y="91164"/>
                </a:cubicBezTo>
                <a:lnTo>
                  <a:pt x="2474127" y="432905"/>
                </a:lnTo>
                <a:lnTo>
                  <a:pt x="2933014" y="432905"/>
                </a:lnTo>
                <a:cubicBezTo>
                  <a:pt x="3073189" y="432905"/>
                  <a:pt x="3186824" y="546540"/>
                  <a:pt x="3186824" y="686715"/>
                </a:cubicBezTo>
                <a:lnTo>
                  <a:pt x="3186824" y="2194102"/>
                </a:lnTo>
                <a:cubicBezTo>
                  <a:pt x="3186824" y="2334277"/>
                  <a:pt x="3073189" y="2447912"/>
                  <a:pt x="2933014" y="2447912"/>
                </a:cubicBezTo>
                <a:lnTo>
                  <a:pt x="253810" y="2447912"/>
                </a:lnTo>
                <a:cubicBezTo>
                  <a:pt x="113635" y="2447912"/>
                  <a:pt x="0" y="2334277"/>
                  <a:pt x="0" y="2194102"/>
                </a:cubicBezTo>
                <a:lnTo>
                  <a:pt x="0" y="686715"/>
                </a:lnTo>
                <a:cubicBezTo>
                  <a:pt x="0" y="546540"/>
                  <a:pt x="113635" y="432905"/>
                  <a:pt x="253810" y="432905"/>
                </a:cubicBezTo>
                <a:lnTo>
                  <a:pt x="307082" y="432905"/>
                </a:lnTo>
                <a:lnTo>
                  <a:pt x="307082" y="313169"/>
                </a:lnTo>
                <a:cubicBezTo>
                  <a:pt x="307082" y="287995"/>
                  <a:pt x="327490" y="267587"/>
                  <a:pt x="352664" y="267587"/>
                </a:cubicBezTo>
                <a:lnTo>
                  <a:pt x="817888" y="267587"/>
                </a:lnTo>
                <a:cubicBezTo>
                  <a:pt x="843062" y="267587"/>
                  <a:pt x="863470" y="287995"/>
                  <a:pt x="863470" y="313169"/>
                </a:cubicBezTo>
                <a:lnTo>
                  <a:pt x="863470" y="432905"/>
                </a:lnTo>
                <a:lnTo>
                  <a:pt x="1361348" y="432905"/>
                </a:lnTo>
                <a:lnTo>
                  <a:pt x="1361348" y="91164"/>
                </a:lnTo>
                <a:cubicBezTo>
                  <a:pt x="1361348" y="40816"/>
                  <a:pt x="1402164" y="0"/>
                  <a:pt x="145251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68" name="Rounded Rectangle 7">
            <a:extLst>
              <a:ext uri="{FF2B5EF4-FFF2-40B4-BE49-F238E27FC236}">
                <a16:creationId xmlns:a16="http://schemas.microsoft.com/office/drawing/2014/main" id="{7D6C3C70-FD86-419A-8B89-365FC328FB88}"/>
              </a:ext>
            </a:extLst>
          </p:cNvPr>
          <p:cNvSpPr/>
          <p:nvPr/>
        </p:nvSpPr>
        <p:spPr>
          <a:xfrm>
            <a:off x="9257631" y="1515680"/>
            <a:ext cx="615416" cy="531098"/>
          </a:xfrm>
          <a:custGeom>
            <a:avLst/>
            <a:gdLst/>
            <a:ahLst/>
            <a:cxnLst/>
            <a:rect l="l" t="t" r="r" b="b"/>
            <a:pathLst>
              <a:path w="3240006" h="2796091">
                <a:moveTo>
                  <a:pt x="686867" y="612319"/>
                </a:moveTo>
                <a:cubicBezTo>
                  <a:pt x="611281" y="612319"/>
                  <a:pt x="550007" y="673593"/>
                  <a:pt x="550007" y="749179"/>
                </a:cubicBezTo>
                <a:cubicBezTo>
                  <a:pt x="550007" y="824765"/>
                  <a:pt x="611281" y="886039"/>
                  <a:pt x="686867" y="886039"/>
                </a:cubicBezTo>
                <a:cubicBezTo>
                  <a:pt x="762453" y="886039"/>
                  <a:pt x="823727" y="824765"/>
                  <a:pt x="823727" y="749179"/>
                </a:cubicBezTo>
                <a:cubicBezTo>
                  <a:pt x="823727" y="673593"/>
                  <a:pt x="762453" y="612319"/>
                  <a:pt x="686867" y="612319"/>
                </a:cubicBezTo>
                <a:close/>
                <a:moveTo>
                  <a:pt x="1587500" y="281447"/>
                </a:moveTo>
                <a:cubicBezTo>
                  <a:pt x="1432061" y="281447"/>
                  <a:pt x="1306053" y="407455"/>
                  <a:pt x="1306053" y="562894"/>
                </a:cubicBezTo>
                <a:cubicBezTo>
                  <a:pt x="1306053" y="718333"/>
                  <a:pt x="1432061" y="844341"/>
                  <a:pt x="1587500" y="844341"/>
                </a:cubicBezTo>
                <a:cubicBezTo>
                  <a:pt x="1742939" y="844341"/>
                  <a:pt x="1868947" y="718333"/>
                  <a:pt x="1868947" y="562894"/>
                </a:cubicBezTo>
                <a:cubicBezTo>
                  <a:pt x="1868947" y="407455"/>
                  <a:pt x="1742939" y="281447"/>
                  <a:pt x="1587500" y="281447"/>
                </a:cubicBezTo>
                <a:close/>
                <a:moveTo>
                  <a:pt x="1587500" y="0"/>
                </a:moveTo>
                <a:cubicBezTo>
                  <a:pt x="1898378" y="0"/>
                  <a:pt x="2150394" y="252016"/>
                  <a:pt x="2150394" y="562894"/>
                </a:cubicBezTo>
                <a:cubicBezTo>
                  <a:pt x="2150394" y="786167"/>
                  <a:pt x="2020401" y="979078"/>
                  <a:pt x="1831095" y="1068260"/>
                </a:cubicBezTo>
                <a:lnTo>
                  <a:pt x="2215710" y="1068260"/>
                </a:lnTo>
                <a:cubicBezTo>
                  <a:pt x="2374756" y="1068260"/>
                  <a:pt x="2503688" y="1197192"/>
                  <a:pt x="2503688" y="1356238"/>
                </a:cubicBezTo>
                <a:lnTo>
                  <a:pt x="2503688" y="1474975"/>
                </a:lnTo>
                <a:lnTo>
                  <a:pt x="2656086" y="1474975"/>
                </a:lnTo>
                <a:cubicBezTo>
                  <a:pt x="2692420" y="1474975"/>
                  <a:pt x="2722815" y="1500405"/>
                  <a:pt x="2728975" y="1534767"/>
                </a:cubicBezTo>
                <a:lnTo>
                  <a:pt x="3240006" y="1109804"/>
                </a:lnTo>
                <a:lnTo>
                  <a:pt x="3240006" y="2754548"/>
                </a:lnTo>
                <a:lnTo>
                  <a:pt x="2728975" y="2329585"/>
                </a:lnTo>
                <a:cubicBezTo>
                  <a:pt x="2722815" y="2363946"/>
                  <a:pt x="2692420" y="2389375"/>
                  <a:pt x="2656086" y="2389375"/>
                </a:cubicBezTo>
                <a:lnTo>
                  <a:pt x="2503688" y="2389375"/>
                </a:lnTo>
                <a:lnTo>
                  <a:pt x="2503688" y="2508113"/>
                </a:lnTo>
                <a:cubicBezTo>
                  <a:pt x="2503688" y="2667159"/>
                  <a:pt x="2374756" y="2796091"/>
                  <a:pt x="2215710" y="2796091"/>
                </a:cubicBezTo>
                <a:lnTo>
                  <a:pt x="287978" y="2796091"/>
                </a:lnTo>
                <a:cubicBezTo>
                  <a:pt x="128932" y="2796091"/>
                  <a:pt x="0" y="2667159"/>
                  <a:pt x="0" y="2508113"/>
                </a:cubicBezTo>
                <a:lnTo>
                  <a:pt x="0" y="1356238"/>
                </a:lnTo>
                <a:cubicBezTo>
                  <a:pt x="0" y="1197192"/>
                  <a:pt x="128932" y="1068260"/>
                  <a:pt x="287978" y="1068260"/>
                </a:cubicBezTo>
                <a:lnTo>
                  <a:pt x="544513" y="1068260"/>
                </a:lnTo>
                <a:cubicBezTo>
                  <a:pt x="422089" y="1014226"/>
                  <a:pt x="336949" y="891645"/>
                  <a:pt x="336949" y="749179"/>
                </a:cubicBezTo>
                <a:cubicBezTo>
                  <a:pt x="336949" y="555925"/>
                  <a:pt x="493613" y="399261"/>
                  <a:pt x="686867" y="399261"/>
                </a:cubicBezTo>
                <a:cubicBezTo>
                  <a:pt x="880121" y="399261"/>
                  <a:pt x="1036785" y="555925"/>
                  <a:pt x="1036785" y="749179"/>
                </a:cubicBezTo>
                <a:cubicBezTo>
                  <a:pt x="1036785" y="891645"/>
                  <a:pt x="951645" y="1014226"/>
                  <a:pt x="829222" y="1068260"/>
                </a:cubicBezTo>
                <a:lnTo>
                  <a:pt x="1343906" y="1068260"/>
                </a:lnTo>
                <a:cubicBezTo>
                  <a:pt x="1154600" y="979078"/>
                  <a:pt x="1024606" y="786167"/>
                  <a:pt x="1024606" y="562894"/>
                </a:cubicBezTo>
                <a:cubicBezTo>
                  <a:pt x="1024606" y="252016"/>
                  <a:pt x="1276622" y="0"/>
                  <a:pt x="158750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69" name="Chord 15">
            <a:extLst>
              <a:ext uri="{FF2B5EF4-FFF2-40B4-BE49-F238E27FC236}">
                <a16:creationId xmlns:a16="http://schemas.microsoft.com/office/drawing/2014/main" id="{42E9D490-3DD3-4F66-B124-FE910E0FACBF}"/>
              </a:ext>
            </a:extLst>
          </p:cNvPr>
          <p:cNvSpPr/>
          <p:nvPr/>
        </p:nvSpPr>
        <p:spPr>
          <a:xfrm>
            <a:off x="11124640" y="1472088"/>
            <a:ext cx="283580" cy="618280"/>
          </a:xfrm>
          <a:custGeom>
            <a:avLst/>
            <a:gdLst/>
            <a:ahLst/>
            <a:cxnLst/>
            <a:rect l="l" t="t" r="r" b="b"/>
            <a:pathLst>
              <a:path w="1492970" h="3255081">
                <a:moveTo>
                  <a:pt x="1492970" y="1569688"/>
                </a:moveTo>
                <a:cubicBezTo>
                  <a:pt x="1492970" y="1957118"/>
                  <a:pt x="1197680" y="2277765"/>
                  <a:pt x="816277" y="2310957"/>
                </a:cubicBezTo>
                <a:lnTo>
                  <a:pt x="816277" y="2787043"/>
                </a:lnTo>
                <a:cubicBezTo>
                  <a:pt x="873982" y="2789209"/>
                  <a:pt x="931009" y="2798017"/>
                  <a:pt x="986081" y="2811674"/>
                </a:cubicBezTo>
                <a:cubicBezTo>
                  <a:pt x="1252919" y="2877847"/>
                  <a:pt x="1430830" y="3046369"/>
                  <a:pt x="1433593" y="3235566"/>
                </a:cubicBezTo>
                <a:lnTo>
                  <a:pt x="57488" y="3255081"/>
                </a:lnTo>
                <a:cubicBezTo>
                  <a:pt x="47920" y="3062506"/>
                  <a:pt x="221127" y="2886615"/>
                  <a:pt x="490574" y="2815284"/>
                </a:cubicBezTo>
                <a:cubicBezTo>
                  <a:pt x="549928" y="2799571"/>
                  <a:pt x="611777" y="2789553"/>
                  <a:pt x="674460" y="2787163"/>
                </a:cubicBezTo>
                <a:lnTo>
                  <a:pt x="674460" y="2310809"/>
                </a:lnTo>
                <a:cubicBezTo>
                  <a:pt x="317470" y="2280245"/>
                  <a:pt x="28405" y="1994114"/>
                  <a:pt x="0" y="1627428"/>
                </a:cubicBezTo>
                <a:lnTo>
                  <a:pt x="142201" y="1616413"/>
                </a:lnTo>
                <a:cubicBezTo>
                  <a:pt x="167304" y="1940464"/>
                  <a:pt x="443969" y="2186771"/>
                  <a:pt x="768748" y="2174211"/>
                </a:cubicBezTo>
                <a:cubicBezTo>
                  <a:pt x="1093527" y="2161650"/>
                  <a:pt x="1350342" y="1894710"/>
                  <a:pt x="1350342" y="1569689"/>
                </a:cubicBezTo>
                <a:close/>
                <a:moveTo>
                  <a:pt x="745368" y="0"/>
                </a:moveTo>
                <a:cubicBezTo>
                  <a:pt x="989132" y="0"/>
                  <a:pt x="1186742" y="197610"/>
                  <a:pt x="1186742" y="441374"/>
                </a:cubicBezTo>
                <a:lnTo>
                  <a:pt x="1186742" y="1575353"/>
                </a:lnTo>
                <a:cubicBezTo>
                  <a:pt x="1186742" y="1819117"/>
                  <a:pt x="989132" y="2016727"/>
                  <a:pt x="745368" y="2016727"/>
                </a:cubicBezTo>
                <a:cubicBezTo>
                  <a:pt x="501604" y="2016727"/>
                  <a:pt x="303994" y="1819117"/>
                  <a:pt x="303994" y="1575353"/>
                </a:cubicBezTo>
                <a:lnTo>
                  <a:pt x="303994" y="441374"/>
                </a:lnTo>
                <a:cubicBezTo>
                  <a:pt x="303994" y="197610"/>
                  <a:pt x="501604" y="0"/>
                  <a:pt x="745368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70" name="Rectangle 16">
            <a:extLst>
              <a:ext uri="{FF2B5EF4-FFF2-40B4-BE49-F238E27FC236}">
                <a16:creationId xmlns:a16="http://schemas.microsoft.com/office/drawing/2014/main" id="{F1978DC7-2159-40E0-A5D4-88F414868797}"/>
              </a:ext>
            </a:extLst>
          </p:cNvPr>
          <p:cNvSpPr/>
          <p:nvPr/>
        </p:nvSpPr>
        <p:spPr>
          <a:xfrm>
            <a:off x="6093780" y="4751666"/>
            <a:ext cx="615416" cy="404460"/>
          </a:xfrm>
          <a:custGeom>
            <a:avLst/>
            <a:gdLst/>
            <a:ahLst/>
            <a:cxnLst/>
            <a:rect l="l" t="t" r="r" b="b"/>
            <a:pathLst>
              <a:path w="3240006" h="2129375">
                <a:moveTo>
                  <a:pt x="1916836" y="454558"/>
                </a:moveTo>
                <a:cubicBezTo>
                  <a:pt x="2018418" y="454558"/>
                  <a:pt x="2100766" y="536906"/>
                  <a:pt x="2100766" y="638488"/>
                </a:cubicBezTo>
                <a:cubicBezTo>
                  <a:pt x="2100766" y="740070"/>
                  <a:pt x="2018418" y="822418"/>
                  <a:pt x="1916836" y="822418"/>
                </a:cubicBezTo>
                <a:cubicBezTo>
                  <a:pt x="1815254" y="822418"/>
                  <a:pt x="1732906" y="740070"/>
                  <a:pt x="1732906" y="638488"/>
                </a:cubicBezTo>
                <a:cubicBezTo>
                  <a:pt x="1732906" y="536906"/>
                  <a:pt x="1815254" y="454558"/>
                  <a:pt x="1916836" y="454558"/>
                </a:cubicBezTo>
                <a:close/>
                <a:moveTo>
                  <a:pt x="1197545" y="272737"/>
                </a:moveTo>
                <a:lnTo>
                  <a:pt x="1861974" y="1458536"/>
                </a:lnTo>
                <a:lnTo>
                  <a:pt x="2263096" y="848801"/>
                </a:lnTo>
                <a:lnTo>
                  <a:pt x="2919562" y="1846679"/>
                </a:lnTo>
                <a:lnTo>
                  <a:pt x="2079459" y="1846679"/>
                </a:lnTo>
                <a:lnTo>
                  <a:pt x="1606629" y="1846679"/>
                </a:lnTo>
                <a:lnTo>
                  <a:pt x="315630" y="1846679"/>
                </a:lnTo>
                <a:close/>
                <a:moveTo>
                  <a:pt x="180003" y="164687"/>
                </a:moveTo>
                <a:lnTo>
                  <a:pt x="180003" y="1964687"/>
                </a:lnTo>
                <a:lnTo>
                  <a:pt x="3060003" y="1964687"/>
                </a:lnTo>
                <a:lnTo>
                  <a:pt x="3060003" y="164687"/>
                </a:lnTo>
                <a:close/>
                <a:moveTo>
                  <a:pt x="0" y="0"/>
                </a:moveTo>
                <a:lnTo>
                  <a:pt x="3240006" y="0"/>
                </a:lnTo>
                <a:lnTo>
                  <a:pt x="3240006" y="2129375"/>
                </a:lnTo>
                <a:lnTo>
                  <a:pt x="0" y="2129375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71" name="Rounded Rectangle 6">
            <a:extLst>
              <a:ext uri="{FF2B5EF4-FFF2-40B4-BE49-F238E27FC236}">
                <a16:creationId xmlns:a16="http://schemas.microsoft.com/office/drawing/2014/main" id="{48E90455-C4C4-4792-86FF-218C5EFE04F0}"/>
              </a:ext>
            </a:extLst>
          </p:cNvPr>
          <p:cNvSpPr/>
          <p:nvPr/>
        </p:nvSpPr>
        <p:spPr>
          <a:xfrm>
            <a:off x="5137072" y="3750690"/>
            <a:ext cx="616402" cy="296900"/>
          </a:xfrm>
          <a:custGeom>
            <a:avLst/>
            <a:gdLst/>
            <a:ahLst/>
            <a:cxnLst/>
            <a:rect l="l" t="t" r="r" b="b"/>
            <a:pathLst>
              <a:path w="3215400" h="1548752">
                <a:moveTo>
                  <a:pt x="3026619" y="414336"/>
                </a:moveTo>
                <a:lnTo>
                  <a:pt x="3121009" y="414336"/>
                </a:lnTo>
                <a:cubicBezTo>
                  <a:pt x="3173140" y="414336"/>
                  <a:pt x="3215400" y="456596"/>
                  <a:pt x="3215400" y="508727"/>
                </a:cubicBezTo>
                <a:lnTo>
                  <a:pt x="3215400" y="1040026"/>
                </a:lnTo>
                <a:cubicBezTo>
                  <a:pt x="3215400" y="1092157"/>
                  <a:pt x="3173140" y="1134417"/>
                  <a:pt x="3121009" y="1134417"/>
                </a:cubicBezTo>
                <a:cubicBezTo>
                  <a:pt x="3089546" y="1134417"/>
                  <a:pt x="3058082" y="1134416"/>
                  <a:pt x="3026619" y="1134416"/>
                </a:cubicBezTo>
                <a:close/>
                <a:moveTo>
                  <a:pt x="273174" y="234376"/>
                </a:moveTo>
                <a:lnTo>
                  <a:pt x="777230" y="234376"/>
                </a:lnTo>
                <a:lnTo>
                  <a:pt x="777230" y="1314376"/>
                </a:lnTo>
                <a:lnTo>
                  <a:pt x="273174" y="1314376"/>
                </a:lnTo>
                <a:close/>
                <a:moveTo>
                  <a:pt x="258244" y="126376"/>
                </a:moveTo>
                <a:cubicBezTo>
                  <a:pt x="182968" y="126376"/>
                  <a:pt x="121944" y="187400"/>
                  <a:pt x="121944" y="262676"/>
                </a:cubicBezTo>
                <a:lnTo>
                  <a:pt x="121944" y="1286076"/>
                </a:lnTo>
                <a:cubicBezTo>
                  <a:pt x="121944" y="1361352"/>
                  <a:pt x="182968" y="1422376"/>
                  <a:pt x="258244" y="1422376"/>
                </a:cubicBezTo>
                <a:lnTo>
                  <a:pt x="2768375" y="1422376"/>
                </a:lnTo>
                <a:cubicBezTo>
                  <a:pt x="2843651" y="1422376"/>
                  <a:pt x="2904675" y="1361352"/>
                  <a:pt x="2904675" y="1286076"/>
                </a:cubicBezTo>
                <a:lnTo>
                  <a:pt x="2904675" y="262676"/>
                </a:lnTo>
                <a:cubicBezTo>
                  <a:pt x="2904675" y="187400"/>
                  <a:pt x="2843651" y="126376"/>
                  <a:pt x="2768375" y="126376"/>
                </a:cubicBezTo>
                <a:close/>
                <a:moveTo>
                  <a:pt x="162882" y="0"/>
                </a:moveTo>
                <a:lnTo>
                  <a:pt x="2863736" y="0"/>
                </a:lnTo>
                <a:cubicBezTo>
                  <a:pt x="2953693" y="0"/>
                  <a:pt x="3026618" y="72925"/>
                  <a:pt x="3026618" y="162882"/>
                </a:cubicBezTo>
                <a:lnTo>
                  <a:pt x="3026618" y="1385870"/>
                </a:lnTo>
                <a:cubicBezTo>
                  <a:pt x="3026618" y="1475827"/>
                  <a:pt x="2953693" y="1548752"/>
                  <a:pt x="2863736" y="1548752"/>
                </a:cubicBezTo>
                <a:lnTo>
                  <a:pt x="162882" y="1548752"/>
                </a:lnTo>
                <a:cubicBezTo>
                  <a:pt x="72925" y="1548752"/>
                  <a:pt x="0" y="1475827"/>
                  <a:pt x="0" y="1385870"/>
                </a:cubicBezTo>
                <a:lnTo>
                  <a:pt x="0" y="162882"/>
                </a:lnTo>
                <a:cubicBezTo>
                  <a:pt x="0" y="72925"/>
                  <a:pt x="72925" y="0"/>
                  <a:pt x="162882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72" name="Rounded Rectangle 6">
            <a:extLst>
              <a:ext uri="{FF2B5EF4-FFF2-40B4-BE49-F238E27FC236}">
                <a16:creationId xmlns:a16="http://schemas.microsoft.com/office/drawing/2014/main" id="{8329069E-6F6C-4466-BEA3-223D7C56FECC}"/>
              </a:ext>
            </a:extLst>
          </p:cNvPr>
          <p:cNvSpPr/>
          <p:nvPr/>
        </p:nvSpPr>
        <p:spPr>
          <a:xfrm>
            <a:off x="6044394" y="3750690"/>
            <a:ext cx="616402" cy="296900"/>
          </a:xfrm>
          <a:custGeom>
            <a:avLst/>
            <a:gdLst/>
            <a:ahLst/>
            <a:cxnLst/>
            <a:rect l="l" t="t" r="r" b="b"/>
            <a:pathLst>
              <a:path w="3215400" h="1548752">
                <a:moveTo>
                  <a:pt x="3026619" y="414336"/>
                </a:moveTo>
                <a:lnTo>
                  <a:pt x="3121009" y="414336"/>
                </a:lnTo>
                <a:cubicBezTo>
                  <a:pt x="3173140" y="414336"/>
                  <a:pt x="3215400" y="456596"/>
                  <a:pt x="3215400" y="508727"/>
                </a:cubicBezTo>
                <a:lnTo>
                  <a:pt x="3215400" y="1040026"/>
                </a:lnTo>
                <a:cubicBezTo>
                  <a:pt x="3215400" y="1092157"/>
                  <a:pt x="3173140" y="1134417"/>
                  <a:pt x="3121009" y="1134417"/>
                </a:cubicBezTo>
                <a:cubicBezTo>
                  <a:pt x="3089546" y="1134417"/>
                  <a:pt x="3058082" y="1134416"/>
                  <a:pt x="3026619" y="1134416"/>
                </a:cubicBezTo>
                <a:close/>
                <a:moveTo>
                  <a:pt x="928911" y="234376"/>
                </a:moveTo>
                <a:lnTo>
                  <a:pt x="1432967" y="234376"/>
                </a:lnTo>
                <a:lnTo>
                  <a:pt x="1432967" y="1314376"/>
                </a:lnTo>
                <a:lnTo>
                  <a:pt x="928911" y="1314376"/>
                </a:lnTo>
                <a:close/>
                <a:moveTo>
                  <a:pt x="273174" y="234376"/>
                </a:moveTo>
                <a:lnTo>
                  <a:pt x="777230" y="234376"/>
                </a:lnTo>
                <a:lnTo>
                  <a:pt x="777230" y="1314376"/>
                </a:lnTo>
                <a:lnTo>
                  <a:pt x="273174" y="1314376"/>
                </a:lnTo>
                <a:close/>
                <a:moveTo>
                  <a:pt x="258244" y="126376"/>
                </a:moveTo>
                <a:cubicBezTo>
                  <a:pt x="182968" y="126376"/>
                  <a:pt x="121944" y="187400"/>
                  <a:pt x="121944" y="262676"/>
                </a:cubicBezTo>
                <a:lnTo>
                  <a:pt x="121944" y="1286076"/>
                </a:lnTo>
                <a:cubicBezTo>
                  <a:pt x="121944" y="1361352"/>
                  <a:pt x="182968" y="1422376"/>
                  <a:pt x="258244" y="1422376"/>
                </a:cubicBezTo>
                <a:lnTo>
                  <a:pt x="2768375" y="1422376"/>
                </a:lnTo>
                <a:cubicBezTo>
                  <a:pt x="2843651" y="1422376"/>
                  <a:pt x="2904675" y="1361352"/>
                  <a:pt x="2904675" y="1286076"/>
                </a:cubicBezTo>
                <a:lnTo>
                  <a:pt x="2904675" y="262676"/>
                </a:lnTo>
                <a:cubicBezTo>
                  <a:pt x="2904675" y="187400"/>
                  <a:pt x="2843651" y="126376"/>
                  <a:pt x="2768375" y="126376"/>
                </a:cubicBezTo>
                <a:close/>
                <a:moveTo>
                  <a:pt x="162882" y="0"/>
                </a:moveTo>
                <a:lnTo>
                  <a:pt x="2863736" y="0"/>
                </a:lnTo>
                <a:cubicBezTo>
                  <a:pt x="2953693" y="0"/>
                  <a:pt x="3026618" y="72925"/>
                  <a:pt x="3026618" y="162882"/>
                </a:cubicBezTo>
                <a:lnTo>
                  <a:pt x="3026618" y="1385870"/>
                </a:lnTo>
                <a:cubicBezTo>
                  <a:pt x="3026618" y="1475827"/>
                  <a:pt x="2953693" y="1548752"/>
                  <a:pt x="2863736" y="1548752"/>
                </a:cubicBezTo>
                <a:lnTo>
                  <a:pt x="162882" y="1548752"/>
                </a:lnTo>
                <a:cubicBezTo>
                  <a:pt x="72925" y="1548752"/>
                  <a:pt x="0" y="1475827"/>
                  <a:pt x="0" y="1385870"/>
                </a:cubicBezTo>
                <a:lnTo>
                  <a:pt x="0" y="162882"/>
                </a:lnTo>
                <a:cubicBezTo>
                  <a:pt x="0" y="72925"/>
                  <a:pt x="72925" y="0"/>
                  <a:pt x="162882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73" name="Rounded Rectangle 6">
            <a:extLst>
              <a:ext uri="{FF2B5EF4-FFF2-40B4-BE49-F238E27FC236}">
                <a16:creationId xmlns:a16="http://schemas.microsoft.com/office/drawing/2014/main" id="{740CC869-4793-4E41-A92A-FDB14A2B194C}"/>
              </a:ext>
            </a:extLst>
          </p:cNvPr>
          <p:cNvSpPr/>
          <p:nvPr/>
        </p:nvSpPr>
        <p:spPr>
          <a:xfrm>
            <a:off x="6951716" y="3750690"/>
            <a:ext cx="616402" cy="296900"/>
          </a:xfrm>
          <a:custGeom>
            <a:avLst/>
            <a:gdLst/>
            <a:ahLst/>
            <a:cxnLst/>
            <a:rect l="l" t="t" r="r" b="b"/>
            <a:pathLst>
              <a:path w="3215400" h="1548752">
                <a:moveTo>
                  <a:pt x="3026619" y="414336"/>
                </a:moveTo>
                <a:lnTo>
                  <a:pt x="3121009" y="414336"/>
                </a:lnTo>
                <a:cubicBezTo>
                  <a:pt x="3173140" y="414336"/>
                  <a:pt x="3215400" y="456596"/>
                  <a:pt x="3215400" y="508727"/>
                </a:cubicBezTo>
                <a:lnTo>
                  <a:pt x="3215400" y="1040026"/>
                </a:lnTo>
                <a:cubicBezTo>
                  <a:pt x="3215400" y="1092157"/>
                  <a:pt x="3173140" y="1134417"/>
                  <a:pt x="3121009" y="1134417"/>
                </a:cubicBezTo>
                <a:cubicBezTo>
                  <a:pt x="3089546" y="1134417"/>
                  <a:pt x="3058082" y="1134416"/>
                  <a:pt x="3026619" y="1134416"/>
                </a:cubicBezTo>
                <a:close/>
                <a:moveTo>
                  <a:pt x="1584648" y="234376"/>
                </a:moveTo>
                <a:lnTo>
                  <a:pt x="2088704" y="234376"/>
                </a:lnTo>
                <a:lnTo>
                  <a:pt x="2088704" y="1314376"/>
                </a:lnTo>
                <a:lnTo>
                  <a:pt x="1584648" y="1314376"/>
                </a:lnTo>
                <a:close/>
                <a:moveTo>
                  <a:pt x="928911" y="234376"/>
                </a:moveTo>
                <a:lnTo>
                  <a:pt x="1432967" y="234376"/>
                </a:lnTo>
                <a:lnTo>
                  <a:pt x="1432967" y="1314376"/>
                </a:lnTo>
                <a:lnTo>
                  <a:pt x="928911" y="1314376"/>
                </a:lnTo>
                <a:close/>
                <a:moveTo>
                  <a:pt x="273174" y="234376"/>
                </a:moveTo>
                <a:lnTo>
                  <a:pt x="777230" y="234376"/>
                </a:lnTo>
                <a:lnTo>
                  <a:pt x="777230" y="1314376"/>
                </a:lnTo>
                <a:lnTo>
                  <a:pt x="273174" y="1314376"/>
                </a:lnTo>
                <a:close/>
                <a:moveTo>
                  <a:pt x="258244" y="126376"/>
                </a:moveTo>
                <a:cubicBezTo>
                  <a:pt x="182968" y="126376"/>
                  <a:pt x="121944" y="187400"/>
                  <a:pt x="121944" y="262676"/>
                </a:cubicBezTo>
                <a:lnTo>
                  <a:pt x="121944" y="1286076"/>
                </a:lnTo>
                <a:cubicBezTo>
                  <a:pt x="121944" y="1361352"/>
                  <a:pt x="182968" y="1422376"/>
                  <a:pt x="258244" y="1422376"/>
                </a:cubicBezTo>
                <a:lnTo>
                  <a:pt x="2768375" y="1422376"/>
                </a:lnTo>
                <a:cubicBezTo>
                  <a:pt x="2843651" y="1422376"/>
                  <a:pt x="2904675" y="1361352"/>
                  <a:pt x="2904675" y="1286076"/>
                </a:cubicBezTo>
                <a:lnTo>
                  <a:pt x="2904675" y="262676"/>
                </a:lnTo>
                <a:cubicBezTo>
                  <a:pt x="2904675" y="187400"/>
                  <a:pt x="2843651" y="126376"/>
                  <a:pt x="2768375" y="126376"/>
                </a:cubicBezTo>
                <a:close/>
                <a:moveTo>
                  <a:pt x="162882" y="0"/>
                </a:moveTo>
                <a:lnTo>
                  <a:pt x="2863736" y="0"/>
                </a:lnTo>
                <a:cubicBezTo>
                  <a:pt x="2953693" y="0"/>
                  <a:pt x="3026618" y="72925"/>
                  <a:pt x="3026618" y="162882"/>
                </a:cubicBezTo>
                <a:lnTo>
                  <a:pt x="3026618" y="1385870"/>
                </a:lnTo>
                <a:cubicBezTo>
                  <a:pt x="3026618" y="1475827"/>
                  <a:pt x="2953693" y="1548752"/>
                  <a:pt x="2863736" y="1548752"/>
                </a:cubicBezTo>
                <a:lnTo>
                  <a:pt x="162882" y="1548752"/>
                </a:lnTo>
                <a:cubicBezTo>
                  <a:pt x="72925" y="1548752"/>
                  <a:pt x="0" y="1475827"/>
                  <a:pt x="0" y="1385870"/>
                </a:cubicBezTo>
                <a:lnTo>
                  <a:pt x="0" y="162882"/>
                </a:lnTo>
                <a:cubicBezTo>
                  <a:pt x="0" y="72925"/>
                  <a:pt x="72925" y="0"/>
                  <a:pt x="162882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74" name="Rounded Rectangle 6">
            <a:extLst>
              <a:ext uri="{FF2B5EF4-FFF2-40B4-BE49-F238E27FC236}">
                <a16:creationId xmlns:a16="http://schemas.microsoft.com/office/drawing/2014/main" id="{17C1EAE2-459E-491D-81FC-F8924F353B13}"/>
              </a:ext>
            </a:extLst>
          </p:cNvPr>
          <p:cNvSpPr/>
          <p:nvPr/>
        </p:nvSpPr>
        <p:spPr>
          <a:xfrm>
            <a:off x="7859036" y="3750690"/>
            <a:ext cx="616402" cy="296900"/>
          </a:xfrm>
          <a:custGeom>
            <a:avLst/>
            <a:gdLst/>
            <a:ahLst/>
            <a:cxnLst/>
            <a:rect l="l" t="t" r="r" b="b"/>
            <a:pathLst>
              <a:path w="3215400" h="1548752">
                <a:moveTo>
                  <a:pt x="3026619" y="414336"/>
                </a:moveTo>
                <a:lnTo>
                  <a:pt x="3121009" y="414336"/>
                </a:lnTo>
                <a:cubicBezTo>
                  <a:pt x="3173140" y="414336"/>
                  <a:pt x="3215400" y="456596"/>
                  <a:pt x="3215400" y="508727"/>
                </a:cubicBezTo>
                <a:lnTo>
                  <a:pt x="3215400" y="1040026"/>
                </a:lnTo>
                <a:cubicBezTo>
                  <a:pt x="3215400" y="1092157"/>
                  <a:pt x="3173140" y="1134417"/>
                  <a:pt x="3121009" y="1134417"/>
                </a:cubicBezTo>
                <a:cubicBezTo>
                  <a:pt x="3089546" y="1134417"/>
                  <a:pt x="3058082" y="1134416"/>
                  <a:pt x="3026619" y="1134416"/>
                </a:cubicBezTo>
                <a:close/>
                <a:moveTo>
                  <a:pt x="2240385" y="234376"/>
                </a:moveTo>
                <a:lnTo>
                  <a:pt x="2744441" y="234376"/>
                </a:lnTo>
                <a:lnTo>
                  <a:pt x="2744441" y="1314376"/>
                </a:lnTo>
                <a:lnTo>
                  <a:pt x="2240385" y="1314376"/>
                </a:lnTo>
                <a:close/>
                <a:moveTo>
                  <a:pt x="1584648" y="234376"/>
                </a:moveTo>
                <a:lnTo>
                  <a:pt x="2088704" y="234376"/>
                </a:lnTo>
                <a:lnTo>
                  <a:pt x="2088704" y="1314376"/>
                </a:lnTo>
                <a:lnTo>
                  <a:pt x="1584648" y="1314376"/>
                </a:lnTo>
                <a:close/>
                <a:moveTo>
                  <a:pt x="928911" y="234376"/>
                </a:moveTo>
                <a:lnTo>
                  <a:pt x="1432967" y="234376"/>
                </a:lnTo>
                <a:lnTo>
                  <a:pt x="1432967" y="1314376"/>
                </a:lnTo>
                <a:lnTo>
                  <a:pt x="928911" y="1314376"/>
                </a:lnTo>
                <a:close/>
                <a:moveTo>
                  <a:pt x="273174" y="234376"/>
                </a:moveTo>
                <a:lnTo>
                  <a:pt x="777230" y="234376"/>
                </a:lnTo>
                <a:lnTo>
                  <a:pt x="777230" y="1314376"/>
                </a:lnTo>
                <a:lnTo>
                  <a:pt x="273174" y="1314376"/>
                </a:lnTo>
                <a:close/>
                <a:moveTo>
                  <a:pt x="258244" y="126376"/>
                </a:moveTo>
                <a:cubicBezTo>
                  <a:pt x="182968" y="126376"/>
                  <a:pt x="121944" y="187400"/>
                  <a:pt x="121944" y="262676"/>
                </a:cubicBezTo>
                <a:lnTo>
                  <a:pt x="121944" y="1286076"/>
                </a:lnTo>
                <a:cubicBezTo>
                  <a:pt x="121944" y="1361352"/>
                  <a:pt x="182968" y="1422376"/>
                  <a:pt x="258244" y="1422376"/>
                </a:cubicBezTo>
                <a:lnTo>
                  <a:pt x="2768375" y="1422376"/>
                </a:lnTo>
                <a:cubicBezTo>
                  <a:pt x="2843651" y="1422376"/>
                  <a:pt x="2904675" y="1361352"/>
                  <a:pt x="2904675" y="1286076"/>
                </a:cubicBezTo>
                <a:lnTo>
                  <a:pt x="2904675" y="262676"/>
                </a:lnTo>
                <a:cubicBezTo>
                  <a:pt x="2904675" y="187400"/>
                  <a:pt x="2843651" y="126376"/>
                  <a:pt x="2768375" y="126376"/>
                </a:cubicBezTo>
                <a:close/>
                <a:moveTo>
                  <a:pt x="162882" y="0"/>
                </a:moveTo>
                <a:lnTo>
                  <a:pt x="2863736" y="0"/>
                </a:lnTo>
                <a:cubicBezTo>
                  <a:pt x="2953693" y="0"/>
                  <a:pt x="3026618" y="72925"/>
                  <a:pt x="3026618" y="162882"/>
                </a:cubicBezTo>
                <a:lnTo>
                  <a:pt x="3026618" y="1385870"/>
                </a:lnTo>
                <a:cubicBezTo>
                  <a:pt x="3026618" y="1475827"/>
                  <a:pt x="2953693" y="1548752"/>
                  <a:pt x="2863736" y="1548752"/>
                </a:cubicBezTo>
                <a:lnTo>
                  <a:pt x="162882" y="1548752"/>
                </a:lnTo>
                <a:cubicBezTo>
                  <a:pt x="72925" y="1548752"/>
                  <a:pt x="0" y="1475827"/>
                  <a:pt x="0" y="1385870"/>
                </a:cubicBezTo>
                <a:lnTo>
                  <a:pt x="0" y="162882"/>
                </a:lnTo>
                <a:cubicBezTo>
                  <a:pt x="0" y="72925"/>
                  <a:pt x="72925" y="0"/>
                  <a:pt x="162882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75" name="Teardrop 6">
            <a:extLst>
              <a:ext uri="{FF2B5EF4-FFF2-40B4-BE49-F238E27FC236}">
                <a16:creationId xmlns:a16="http://schemas.microsoft.com/office/drawing/2014/main" id="{3FF8E6D1-A5CA-4857-BFE4-E947E4F2F934}"/>
              </a:ext>
            </a:extLst>
          </p:cNvPr>
          <p:cNvSpPr/>
          <p:nvPr/>
        </p:nvSpPr>
        <p:spPr>
          <a:xfrm rot="8100000">
            <a:off x="11057693" y="3690402"/>
            <a:ext cx="417475" cy="417476"/>
          </a:xfrm>
          <a:custGeom>
            <a:avLst/>
            <a:gdLst/>
            <a:ahLst/>
            <a:cxnLst/>
            <a:rect l="l" t="t" r="r" b="b"/>
            <a:pathLst>
              <a:path w="2483832" h="2483835">
                <a:moveTo>
                  <a:pt x="657616" y="1826218"/>
                </a:moveTo>
                <a:cubicBezTo>
                  <a:pt x="806520" y="1975122"/>
                  <a:pt x="1047940" y="1975122"/>
                  <a:pt x="1196844" y="1826218"/>
                </a:cubicBezTo>
                <a:cubicBezTo>
                  <a:pt x="1345748" y="1677314"/>
                  <a:pt x="1345748" y="1435894"/>
                  <a:pt x="1196844" y="1286990"/>
                </a:cubicBezTo>
                <a:cubicBezTo>
                  <a:pt x="1047940" y="1138086"/>
                  <a:pt x="806520" y="1138086"/>
                  <a:pt x="657616" y="1286990"/>
                </a:cubicBezTo>
                <a:cubicBezTo>
                  <a:pt x="508712" y="1435894"/>
                  <a:pt x="508712" y="1677314"/>
                  <a:pt x="657616" y="1826218"/>
                </a:cubicBezTo>
                <a:close/>
                <a:moveTo>
                  <a:pt x="293335" y="2190500"/>
                </a:moveTo>
                <a:cubicBezTo>
                  <a:pt x="112098" y="2009262"/>
                  <a:pt x="0" y="1758885"/>
                  <a:pt x="0" y="1482325"/>
                </a:cubicBezTo>
                <a:cubicBezTo>
                  <a:pt x="0" y="929206"/>
                  <a:pt x="459290" y="590078"/>
                  <a:pt x="1001509" y="480815"/>
                </a:cubicBezTo>
                <a:cubicBezTo>
                  <a:pt x="1569704" y="366317"/>
                  <a:pt x="1861757" y="259925"/>
                  <a:pt x="2483832" y="0"/>
                </a:cubicBezTo>
                <a:cubicBezTo>
                  <a:pt x="2230640" y="682694"/>
                  <a:pt x="2130986" y="873716"/>
                  <a:pt x="2003018" y="1482325"/>
                </a:cubicBezTo>
                <a:cubicBezTo>
                  <a:pt x="1901990" y="2042180"/>
                  <a:pt x="1554627" y="2483835"/>
                  <a:pt x="1001509" y="2483835"/>
                </a:cubicBezTo>
                <a:cubicBezTo>
                  <a:pt x="724950" y="2483835"/>
                  <a:pt x="474573" y="2371737"/>
                  <a:pt x="293335" y="219050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76" name="Donut 24">
            <a:extLst>
              <a:ext uri="{FF2B5EF4-FFF2-40B4-BE49-F238E27FC236}">
                <a16:creationId xmlns:a16="http://schemas.microsoft.com/office/drawing/2014/main" id="{2358F6B7-5407-478C-BBCE-24DB33354B70}"/>
              </a:ext>
            </a:extLst>
          </p:cNvPr>
          <p:cNvSpPr/>
          <p:nvPr/>
        </p:nvSpPr>
        <p:spPr>
          <a:xfrm>
            <a:off x="5773604" y="2544635"/>
            <a:ext cx="617508" cy="622535"/>
          </a:xfrm>
          <a:custGeom>
            <a:avLst/>
            <a:gdLst/>
            <a:ahLst/>
            <a:cxnLst/>
            <a:rect l="l" t="t" r="r" b="b"/>
            <a:pathLst>
              <a:path w="3208412" h="3234532">
                <a:moveTo>
                  <a:pt x="1561445" y="1065858"/>
                </a:moveTo>
                <a:cubicBezTo>
                  <a:pt x="1654998" y="1065858"/>
                  <a:pt x="1743610" y="1087015"/>
                  <a:pt x="1821879" y="1126644"/>
                </a:cubicBezTo>
                <a:lnTo>
                  <a:pt x="1611352" y="1337172"/>
                </a:lnTo>
                <a:cubicBezTo>
                  <a:pt x="1595200" y="1333388"/>
                  <a:pt x="1578468" y="1332141"/>
                  <a:pt x="1561445" y="1332141"/>
                </a:cubicBezTo>
                <a:cubicBezTo>
                  <a:pt x="1373145" y="1332141"/>
                  <a:pt x="1220499" y="1484787"/>
                  <a:pt x="1220499" y="1673087"/>
                </a:cubicBezTo>
                <a:cubicBezTo>
                  <a:pt x="1220499" y="1861387"/>
                  <a:pt x="1373145" y="2014033"/>
                  <a:pt x="1561445" y="2014033"/>
                </a:cubicBezTo>
                <a:cubicBezTo>
                  <a:pt x="1749745" y="2014033"/>
                  <a:pt x="1902391" y="1861387"/>
                  <a:pt x="1902391" y="1673087"/>
                </a:cubicBezTo>
                <a:cubicBezTo>
                  <a:pt x="1902391" y="1643675"/>
                  <a:pt x="1898667" y="1615133"/>
                  <a:pt x="1890450" y="1588219"/>
                </a:cubicBezTo>
                <a:lnTo>
                  <a:pt x="2093156" y="1385512"/>
                </a:lnTo>
                <a:cubicBezTo>
                  <a:pt x="2142229" y="1470075"/>
                  <a:pt x="2168674" y="1568493"/>
                  <a:pt x="2168674" y="1673087"/>
                </a:cubicBezTo>
                <a:cubicBezTo>
                  <a:pt x="2168674" y="2008450"/>
                  <a:pt x="1896808" y="2280316"/>
                  <a:pt x="1561445" y="2280316"/>
                </a:cubicBezTo>
                <a:cubicBezTo>
                  <a:pt x="1226082" y="2280316"/>
                  <a:pt x="954217" y="2008450"/>
                  <a:pt x="954217" y="1673087"/>
                </a:cubicBezTo>
                <a:cubicBezTo>
                  <a:pt x="954217" y="1337724"/>
                  <a:pt x="1226082" y="1065858"/>
                  <a:pt x="1561445" y="1065858"/>
                </a:cubicBezTo>
                <a:close/>
                <a:moveTo>
                  <a:pt x="1561445" y="580076"/>
                </a:moveTo>
                <a:cubicBezTo>
                  <a:pt x="1790175" y="580076"/>
                  <a:pt x="2002494" y="650333"/>
                  <a:pt x="2177834" y="770690"/>
                </a:cubicBezTo>
                <a:lnTo>
                  <a:pt x="1968030" y="980494"/>
                </a:lnTo>
                <a:cubicBezTo>
                  <a:pt x="1849962" y="907198"/>
                  <a:pt x="1710422" y="866794"/>
                  <a:pt x="1561445" y="866794"/>
                </a:cubicBezTo>
                <a:cubicBezTo>
                  <a:pt x="1116142" y="866794"/>
                  <a:pt x="755153" y="1227784"/>
                  <a:pt x="755153" y="1673087"/>
                </a:cubicBezTo>
                <a:cubicBezTo>
                  <a:pt x="755153" y="2118390"/>
                  <a:pt x="1116142" y="2479380"/>
                  <a:pt x="1561445" y="2479380"/>
                </a:cubicBezTo>
                <a:cubicBezTo>
                  <a:pt x="2006748" y="2479380"/>
                  <a:pt x="2367738" y="2118390"/>
                  <a:pt x="2367738" y="1673087"/>
                </a:cubicBezTo>
                <a:cubicBezTo>
                  <a:pt x="2367738" y="1513043"/>
                  <a:pt x="2321108" y="1363890"/>
                  <a:pt x="2239307" y="1239362"/>
                </a:cubicBezTo>
                <a:lnTo>
                  <a:pt x="2445928" y="1032741"/>
                </a:lnTo>
                <a:cubicBezTo>
                  <a:pt x="2577451" y="1212149"/>
                  <a:pt x="2654457" y="1433625"/>
                  <a:pt x="2654457" y="1673087"/>
                </a:cubicBezTo>
                <a:cubicBezTo>
                  <a:pt x="2654457" y="2276741"/>
                  <a:pt x="2165099" y="2766099"/>
                  <a:pt x="1561445" y="2766099"/>
                </a:cubicBezTo>
                <a:cubicBezTo>
                  <a:pt x="957792" y="2766099"/>
                  <a:pt x="468434" y="2276741"/>
                  <a:pt x="468434" y="1673087"/>
                </a:cubicBezTo>
                <a:cubicBezTo>
                  <a:pt x="468434" y="1069433"/>
                  <a:pt x="957792" y="580076"/>
                  <a:pt x="1561445" y="580076"/>
                </a:cubicBezTo>
                <a:close/>
                <a:moveTo>
                  <a:pt x="1561445" y="111642"/>
                </a:moveTo>
                <a:cubicBezTo>
                  <a:pt x="1890473" y="111642"/>
                  <a:pt x="2195731" y="213411"/>
                  <a:pt x="2447076" y="387744"/>
                </a:cubicBezTo>
                <a:lnTo>
                  <a:pt x="2453780" y="494744"/>
                </a:lnTo>
                <a:lnTo>
                  <a:pt x="2309436" y="639088"/>
                </a:lnTo>
                <a:cubicBezTo>
                  <a:pt x="2099826" y="485554"/>
                  <a:pt x="1841132" y="395669"/>
                  <a:pt x="1561445" y="395669"/>
                </a:cubicBezTo>
                <a:cubicBezTo>
                  <a:pt x="855947" y="395669"/>
                  <a:pt x="284027" y="967589"/>
                  <a:pt x="284027" y="1673087"/>
                </a:cubicBezTo>
                <a:cubicBezTo>
                  <a:pt x="284027" y="2378585"/>
                  <a:pt x="855947" y="2950505"/>
                  <a:pt x="1561445" y="2950505"/>
                </a:cubicBezTo>
                <a:cubicBezTo>
                  <a:pt x="2266943" y="2950505"/>
                  <a:pt x="2838863" y="2378585"/>
                  <a:pt x="2838863" y="1673087"/>
                </a:cubicBezTo>
                <a:cubicBezTo>
                  <a:pt x="2838863" y="1382650"/>
                  <a:pt x="2741936" y="1114852"/>
                  <a:pt x="2577529" y="901139"/>
                </a:cubicBezTo>
                <a:lnTo>
                  <a:pt x="2706681" y="771988"/>
                </a:lnTo>
                <a:lnTo>
                  <a:pt x="2841540" y="780437"/>
                </a:lnTo>
                <a:cubicBezTo>
                  <a:pt x="3019168" y="1032973"/>
                  <a:pt x="3122890" y="1340917"/>
                  <a:pt x="3122890" y="1673087"/>
                </a:cubicBezTo>
                <a:cubicBezTo>
                  <a:pt x="3122890" y="2535449"/>
                  <a:pt x="2423807" y="3234532"/>
                  <a:pt x="1561445" y="3234532"/>
                </a:cubicBezTo>
                <a:cubicBezTo>
                  <a:pt x="699083" y="3234532"/>
                  <a:pt x="0" y="2535449"/>
                  <a:pt x="0" y="1673087"/>
                </a:cubicBezTo>
                <a:cubicBezTo>
                  <a:pt x="0" y="810725"/>
                  <a:pt x="699083" y="111642"/>
                  <a:pt x="1561445" y="111642"/>
                </a:cubicBezTo>
                <a:close/>
                <a:moveTo>
                  <a:pt x="2909110" y="0"/>
                </a:moveTo>
                <a:lnTo>
                  <a:pt x="2926757" y="281655"/>
                </a:lnTo>
                <a:lnTo>
                  <a:pt x="3208412" y="299301"/>
                </a:lnTo>
                <a:lnTo>
                  <a:pt x="2863230" y="644483"/>
                </a:lnTo>
                <a:lnTo>
                  <a:pt x="2685547" y="633351"/>
                </a:lnTo>
                <a:lnTo>
                  <a:pt x="1718098" y="1600799"/>
                </a:lnTo>
                <a:cubicBezTo>
                  <a:pt x="1729236" y="1622491"/>
                  <a:pt x="1734939" y="1647123"/>
                  <a:pt x="1734939" y="1673087"/>
                </a:cubicBezTo>
                <a:cubicBezTo>
                  <a:pt x="1734939" y="1768905"/>
                  <a:pt x="1657263" y="1846581"/>
                  <a:pt x="1561445" y="1846581"/>
                </a:cubicBezTo>
                <a:cubicBezTo>
                  <a:pt x="1465627" y="1846581"/>
                  <a:pt x="1387951" y="1768905"/>
                  <a:pt x="1387951" y="1673087"/>
                </a:cubicBezTo>
                <a:cubicBezTo>
                  <a:pt x="1387951" y="1577269"/>
                  <a:pt x="1465627" y="1499593"/>
                  <a:pt x="1561445" y="1499593"/>
                </a:cubicBezTo>
                <a:lnTo>
                  <a:pt x="1591006" y="1505561"/>
                </a:lnTo>
                <a:lnTo>
                  <a:pt x="2574981" y="521587"/>
                </a:lnTo>
                <a:lnTo>
                  <a:pt x="2563928" y="34518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77" name="Chord 38">
            <a:extLst>
              <a:ext uri="{FF2B5EF4-FFF2-40B4-BE49-F238E27FC236}">
                <a16:creationId xmlns:a16="http://schemas.microsoft.com/office/drawing/2014/main" id="{284AD387-FD7A-4FAE-86E7-99768FD2F34F}"/>
              </a:ext>
            </a:extLst>
          </p:cNvPr>
          <p:cNvSpPr/>
          <p:nvPr/>
        </p:nvSpPr>
        <p:spPr>
          <a:xfrm>
            <a:off x="6733448" y="2544108"/>
            <a:ext cx="484927" cy="623588"/>
          </a:xfrm>
          <a:custGeom>
            <a:avLst/>
            <a:gdLst/>
            <a:ahLst/>
            <a:cxnLst/>
            <a:rect l="l" t="t" r="r" b="b"/>
            <a:pathLst>
              <a:path w="2519554" h="3240000">
                <a:moveTo>
                  <a:pt x="1259778" y="0"/>
                </a:moveTo>
                <a:cubicBezTo>
                  <a:pt x="1299543" y="0"/>
                  <a:pt x="1331778" y="32235"/>
                  <a:pt x="1331778" y="72000"/>
                </a:cubicBezTo>
                <a:lnTo>
                  <a:pt x="1331778" y="292696"/>
                </a:lnTo>
                <a:cubicBezTo>
                  <a:pt x="1526887" y="301316"/>
                  <a:pt x="1719796" y="357828"/>
                  <a:pt x="1894309" y="459601"/>
                </a:cubicBezTo>
                <a:cubicBezTo>
                  <a:pt x="2284331" y="687055"/>
                  <a:pt x="2522839" y="1105809"/>
                  <a:pt x="2519520" y="1557297"/>
                </a:cubicBezTo>
                <a:lnTo>
                  <a:pt x="2509882" y="1557270"/>
                </a:lnTo>
                <a:cubicBezTo>
                  <a:pt x="2413806" y="1435449"/>
                  <a:pt x="2264527" y="1358626"/>
                  <a:pt x="2097304" y="1358626"/>
                </a:cubicBezTo>
                <a:cubicBezTo>
                  <a:pt x="1931567" y="1358626"/>
                  <a:pt x="1783455" y="1434091"/>
                  <a:pt x="1688484" y="1554913"/>
                </a:cubicBezTo>
                <a:lnTo>
                  <a:pt x="1657888" y="1554825"/>
                </a:lnTo>
                <a:cubicBezTo>
                  <a:pt x="1579123" y="1454657"/>
                  <a:pt x="1463823" y="1385682"/>
                  <a:pt x="1331778" y="1368008"/>
                </a:cubicBezTo>
                <a:lnTo>
                  <a:pt x="1331778" y="2507895"/>
                </a:lnTo>
                <a:lnTo>
                  <a:pt x="1356113" y="2507895"/>
                </a:lnTo>
                <a:lnTo>
                  <a:pt x="1356113" y="2868215"/>
                </a:lnTo>
                <a:lnTo>
                  <a:pt x="1353558" y="2868215"/>
                </a:lnTo>
                <a:cubicBezTo>
                  <a:pt x="1347515" y="3074779"/>
                  <a:pt x="1177830" y="3240000"/>
                  <a:pt x="969556" y="3240000"/>
                </a:cubicBezTo>
                <a:cubicBezTo>
                  <a:pt x="759529" y="3240000"/>
                  <a:pt x="588743" y="3071985"/>
                  <a:pt x="585029" y="2863014"/>
                </a:cubicBezTo>
                <a:cubicBezTo>
                  <a:pt x="584214" y="2861474"/>
                  <a:pt x="584183" y="2859896"/>
                  <a:pt x="584183" y="2858310"/>
                </a:cubicBezTo>
                <a:lnTo>
                  <a:pt x="584422" y="2856985"/>
                </a:lnTo>
                <a:cubicBezTo>
                  <a:pt x="584186" y="2856201"/>
                  <a:pt x="584184" y="2855415"/>
                  <a:pt x="584184" y="2854628"/>
                </a:cubicBezTo>
                <a:lnTo>
                  <a:pt x="584846" y="2854628"/>
                </a:lnTo>
                <a:cubicBezTo>
                  <a:pt x="585977" y="2797047"/>
                  <a:pt x="628115" y="2750982"/>
                  <a:pt x="679843" y="2750982"/>
                </a:cubicBezTo>
                <a:cubicBezTo>
                  <a:pt x="731571" y="2750982"/>
                  <a:pt x="773709" y="2797047"/>
                  <a:pt x="774841" y="2854628"/>
                </a:cubicBezTo>
                <a:lnTo>
                  <a:pt x="776870" y="2854628"/>
                </a:lnTo>
                <a:cubicBezTo>
                  <a:pt x="776870" y="2961046"/>
                  <a:pt x="863138" y="3047314"/>
                  <a:pt x="969556" y="3047314"/>
                </a:cubicBezTo>
                <a:cubicBezTo>
                  <a:pt x="1075974" y="3047314"/>
                  <a:pt x="1162242" y="2961046"/>
                  <a:pt x="1162242" y="2854628"/>
                </a:cubicBezTo>
                <a:lnTo>
                  <a:pt x="1163439" y="2854628"/>
                </a:lnTo>
                <a:lnTo>
                  <a:pt x="1163439" y="2507895"/>
                </a:lnTo>
                <a:lnTo>
                  <a:pt x="1187778" y="2507895"/>
                </a:lnTo>
                <a:lnTo>
                  <a:pt x="1187778" y="1365548"/>
                </a:lnTo>
                <a:cubicBezTo>
                  <a:pt x="1048083" y="1378241"/>
                  <a:pt x="925400" y="1448176"/>
                  <a:pt x="842602" y="1552487"/>
                </a:cubicBezTo>
                <a:lnTo>
                  <a:pt x="807450" y="1552386"/>
                </a:lnTo>
                <a:cubicBezTo>
                  <a:pt x="712615" y="1432960"/>
                  <a:pt x="565486" y="1358626"/>
                  <a:pt x="400996" y="1358626"/>
                </a:cubicBezTo>
                <a:cubicBezTo>
                  <a:pt x="240343" y="1358626"/>
                  <a:pt x="96251" y="1429532"/>
                  <a:pt x="0" y="1543232"/>
                </a:cubicBezTo>
                <a:cubicBezTo>
                  <a:pt x="1264" y="1094357"/>
                  <a:pt x="241710" y="680052"/>
                  <a:pt x="631054" y="455977"/>
                </a:cubicBezTo>
                <a:cubicBezTo>
                  <a:pt x="804121" y="356374"/>
                  <a:pt x="994908" y="301092"/>
                  <a:pt x="1187778" y="292721"/>
                </a:cubicBezTo>
                <a:lnTo>
                  <a:pt x="1187778" y="72000"/>
                </a:lnTo>
                <a:cubicBezTo>
                  <a:pt x="1187778" y="32235"/>
                  <a:pt x="1220013" y="0"/>
                  <a:pt x="1259778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78" name="Heart 38">
            <a:extLst>
              <a:ext uri="{FF2B5EF4-FFF2-40B4-BE49-F238E27FC236}">
                <a16:creationId xmlns:a16="http://schemas.microsoft.com/office/drawing/2014/main" id="{07191768-391A-445C-9738-68FC969D5D3B}"/>
              </a:ext>
            </a:extLst>
          </p:cNvPr>
          <p:cNvSpPr/>
          <p:nvPr/>
        </p:nvSpPr>
        <p:spPr>
          <a:xfrm>
            <a:off x="7436317" y="1509092"/>
            <a:ext cx="544275" cy="544275"/>
          </a:xfrm>
          <a:prstGeom prst="hear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79" name="Round Same Side Corner Rectangle 19">
            <a:extLst>
              <a:ext uri="{FF2B5EF4-FFF2-40B4-BE49-F238E27FC236}">
                <a16:creationId xmlns:a16="http://schemas.microsoft.com/office/drawing/2014/main" id="{4F6F0E8F-9F3A-4C37-B8FA-77940D946D49}"/>
              </a:ext>
            </a:extLst>
          </p:cNvPr>
          <p:cNvSpPr/>
          <p:nvPr/>
        </p:nvSpPr>
        <p:spPr>
          <a:xfrm>
            <a:off x="10301960" y="5685084"/>
            <a:ext cx="411706" cy="508675"/>
          </a:xfrm>
          <a:custGeom>
            <a:avLst/>
            <a:gdLst/>
            <a:ahLst/>
            <a:cxnLst/>
            <a:rect l="l" t="t" r="r" b="b"/>
            <a:pathLst>
              <a:path w="2600931" h="3213524">
                <a:moveTo>
                  <a:pt x="1304260" y="0"/>
                </a:moveTo>
                <a:cubicBezTo>
                  <a:pt x="1403671" y="0"/>
                  <a:pt x="1484260" y="80589"/>
                  <a:pt x="1484260" y="180000"/>
                </a:cubicBezTo>
                <a:lnTo>
                  <a:pt x="1484260" y="412061"/>
                </a:lnTo>
                <a:lnTo>
                  <a:pt x="2330931" y="412061"/>
                </a:lnTo>
                <a:lnTo>
                  <a:pt x="2600931" y="682061"/>
                </a:lnTo>
                <a:lnTo>
                  <a:pt x="2330931" y="952061"/>
                </a:lnTo>
                <a:lnTo>
                  <a:pt x="1484260" y="952061"/>
                </a:lnTo>
                <a:lnTo>
                  <a:pt x="1484260" y="1110244"/>
                </a:lnTo>
                <a:lnTo>
                  <a:pt x="2375646" y="1110244"/>
                </a:lnTo>
                <a:lnTo>
                  <a:pt x="2375646" y="1650244"/>
                </a:lnTo>
                <a:lnTo>
                  <a:pt x="1484260" y="1650244"/>
                </a:lnTo>
                <a:lnTo>
                  <a:pt x="1484260" y="3213524"/>
                </a:lnTo>
                <a:lnTo>
                  <a:pt x="1124260" y="3213524"/>
                </a:lnTo>
                <a:lnTo>
                  <a:pt x="1124260" y="1650244"/>
                </a:lnTo>
                <a:lnTo>
                  <a:pt x="270000" y="1650244"/>
                </a:lnTo>
                <a:lnTo>
                  <a:pt x="0" y="1380244"/>
                </a:lnTo>
                <a:lnTo>
                  <a:pt x="270000" y="1110244"/>
                </a:lnTo>
                <a:lnTo>
                  <a:pt x="1124260" y="1110244"/>
                </a:lnTo>
                <a:lnTo>
                  <a:pt x="1124260" y="952061"/>
                </a:lnTo>
                <a:lnTo>
                  <a:pt x="224931" y="952061"/>
                </a:lnTo>
                <a:lnTo>
                  <a:pt x="224931" y="412061"/>
                </a:lnTo>
                <a:lnTo>
                  <a:pt x="1124260" y="412061"/>
                </a:lnTo>
                <a:lnTo>
                  <a:pt x="1124260" y="180000"/>
                </a:lnTo>
                <a:cubicBezTo>
                  <a:pt x="1124260" y="80589"/>
                  <a:pt x="1204849" y="0"/>
                  <a:pt x="1304260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80" name="Rectangle 23">
            <a:extLst>
              <a:ext uri="{FF2B5EF4-FFF2-40B4-BE49-F238E27FC236}">
                <a16:creationId xmlns:a16="http://schemas.microsoft.com/office/drawing/2014/main" id="{411254AD-C704-4DA8-B5ED-2CB7E0E42884}"/>
              </a:ext>
            </a:extLst>
          </p:cNvPr>
          <p:cNvSpPr/>
          <p:nvPr/>
        </p:nvSpPr>
        <p:spPr>
          <a:xfrm>
            <a:off x="4242330" y="5739982"/>
            <a:ext cx="678102" cy="398876"/>
          </a:xfrm>
          <a:custGeom>
            <a:avLst/>
            <a:gdLst/>
            <a:ahLst/>
            <a:cxnLst/>
            <a:rect l="l" t="t" r="r" b="b"/>
            <a:pathLst>
              <a:path w="4529836" h="2664566">
                <a:moveTo>
                  <a:pt x="1861969" y="0"/>
                </a:moveTo>
                <a:cubicBezTo>
                  <a:pt x="2177122" y="0"/>
                  <a:pt x="2455874" y="155855"/>
                  <a:pt x="2611443" y="404565"/>
                </a:cubicBezTo>
                <a:cubicBezTo>
                  <a:pt x="2709453" y="315054"/>
                  <a:pt x="2840684" y="266178"/>
                  <a:pt x="2983336" y="266178"/>
                </a:cubicBezTo>
                <a:cubicBezTo>
                  <a:pt x="3293144" y="266178"/>
                  <a:pt x="3549108" y="496718"/>
                  <a:pt x="3578241" y="797044"/>
                </a:cubicBezTo>
                <a:cubicBezTo>
                  <a:pt x="3583592" y="793823"/>
                  <a:pt x="3589010" y="793774"/>
                  <a:pt x="3594440" y="793774"/>
                </a:cubicBezTo>
                <a:cubicBezTo>
                  <a:pt x="4111042" y="793774"/>
                  <a:pt x="4529836" y="1212568"/>
                  <a:pt x="4529836" y="1729170"/>
                </a:cubicBezTo>
                <a:cubicBezTo>
                  <a:pt x="4529836" y="2216938"/>
                  <a:pt x="4156487" y="2617512"/>
                  <a:pt x="3679930" y="2660249"/>
                </a:cubicBezTo>
                <a:lnTo>
                  <a:pt x="3679930" y="2664566"/>
                </a:lnTo>
                <a:lnTo>
                  <a:pt x="3594440" y="2664566"/>
                </a:lnTo>
                <a:lnTo>
                  <a:pt x="1043912" y="2664566"/>
                </a:lnTo>
                <a:lnTo>
                  <a:pt x="1043912" y="2657589"/>
                </a:lnTo>
                <a:cubicBezTo>
                  <a:pt x="1008374" y="2662448"/>
                  <a:pt x="972132" y="2664566"/>
                  <a:pt x="935396" y="2664566"/>
                </a:cubicBezTo>
                <a:cubicBezTo>
                  <a:pt x="418794" y="2664566"/>
                  <a:pt x="0" y="2245772"/>
                  <a:pt x="0" y="1729170"/>
                </a:cubicBezTo>
                <a:cubicBezTo>
                  <a:pt x="0" y="1212568"/>
                  <a:pt x="418794" y="793774"/>
                  <a:pt x="935396" y="793774"/>
                </a:cubicBezTo>
                <a:lnTo>
                  <a:pt x="954395" y="797612"/>
                </a:lnTo>
                <a:cubicBezTo>
                  <a:pt x="1004779" y="344999"/>
                  <a:pt x="1393085" y="0"/>
                  <a:pt x="1861969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81" name="Oval 31">
            <a:extLst>
              <a:ext uri="{FF2B5EF4-FFF2-40B4-BE49-F238E27FC236}">
                <a16:creationId xmlns:a16="http://schemas.microsoft.com/office/drawing/2014/main" id="{9CEA4298-5C72-495F-935E-04B7A42F93E1}"/>
              </a:ext>
            </a:extLst>
          </p:cNvPr>
          <p:cNvSpPr/>
          <p:nvPr/>
        </p:nvSpPr>
        <p:spPr>
          <a:xfrm>
            <a:off x="8665030" y="5684794"/>
            <a:ext cx="504505" cy="509254"/>
          </a:xfrm>
          <a:custGeom>
            <a:avLst/>
            <a:gdLst/>
            <a:ahLst/>
            <a:cxnLst/>
            <a:rect l="l" t="t" r="r" b="b"/>
            <a:pathLst>
              <a:path w="3187187" h="3217189">
                <a:moveTo>
                  <a:pt x="2136560" y="2669280"/>
                </a:moveTo>
                <a:cubicBezTo>
                  <a:pt x="2154235" y="2662847"/>
                  <a:pt x="2173778" y="2671961"/>
                  <a:pt x="2180211" y="2689635"/>
                </a:cubicBezTo>
                <a:lnTo>
                  <a:pt x="2338628" y="3124881"/>
                </a:lnTo>
                <a:cubicBezTo>
                  <a:pt x="2345061" y="3142556"/>
                  <a:pt x="2335948" y="3162099"/>
                  <a:pt x="2318273" y="3168533"/>
                </a:cubicBezTo>
                <a:lnTo>
                  <a:pt x="2190259" y="3215126"/>
                </a:lnTo>
                <a:cubicBezTo>
                  <a:pt x="2172585" y="3221559"/>
                  <a:pt x="2153041" y="3212445"/>
                  <a:pt x="2146608" y="3194771"/>
                </a:cubicBezTo>
                <a:lnTo>
                  <a:pt x="1988192" y="2759525"/>
                </a:lnTo>
                <a:cubicBezTo>
                  <a:pt x="1981759" y="2741850"/>
                  <a:pt x="1990872" y="2722307"/>
                  <a:pt x="2008547" y="2715873"/>
                </a:cubicBezTo>
                <a:close/>
                <a:moveTo>
                  <a:pt x="1050626" y="2669280"/>
                </a:moveTo>
                <a:lnTo>
                  <a:pt x="1178640" y="2715873"/>
                </a:lnTo>
                <a:cubicBezTo>
                  <a:pt x="1196314" y="2722307"/>
                  <a:pt x="1205428" y="2741850"/>
                  <a:pt x="1198995" y="2759525"/>
                </a:cubicBezTo>
                <a:lnTo>
                  <a:pt x="1040578" y="3194771"/>
                </a:lnTo>
                <a:cubicBezTo>
                  <a:pt x="1034145" y="3212445"/>
                  <a:pt x="1014601" y="3221559"/>
                  <a:pt x="996927" y="3215126"/>
                </a:cubicBezTo>
                <a:lnTo>
                  <a:pt x="868913" y="3168533"/>
                </a:lnTo>
                <a:cubicBezTo>
                  <a:pt x="851239" y="3162099"/>
                  <a:pt x="842125" y="3142556"/>
                  <a:pt x="848558" y="3124881"/>
                </a:cubicBezTo>
                <a:lnTo>
                  <a:pt x="1006975" y="2689635"/>
                </a:lnTo>
                <a:cubicBezTo>
                  <a:pt x="1013408" y="2671961"/>
                  <a:pt x="1032952" y="2662847"/>
                  <a:pt x="1050626" y="2669280"/>
                </a:cubicBezTo>
                <a:close/>
                <a:moveTo>
                  <a:pt x="2647909" y="2029882"/>
                </a:moveTo>
                <a:cubicBezTo>
                  <a:pt x="2656328" y="2027626"/>
                  <a:pt x="2665608" y="2028582"/>
                  <a:pt x="2673752" y="2033284"/>
                </a:cubicBezTo>
                <a:lnTo>
                  <a:pt x="3074877" y="2264874"/>
                </a:lnTo>
                <a:cubicBezTo>
                  <a:pt x="3091166" y="2274278"/>
                  <a:pt x="3096747" y="2295107"/>
                  <a:pt x="3087343" y="2311396"/>
                </a:cubicBezTo>
                <a:lnTo>
                  <a:pt x="3019228" y="2429374"/>
                </a:lnTo>
                <a:cubicBezTo>
                  <a:pt x="3009824" y="2445663"/>
                  <a:pt x="2988995" y="2451244"/>
                  <a:pt x="2972706" y="2441840"/>
                </a:cubicBezTo>
                <a:lnTo>
                  <a:pt x="2571581" y="2210250"/>
                </a:lnTo>
                <a:cubicBezTo>
                  <a:pt x="2555292" y="2200846"/>
                  <a:pt x="2549710" y="2180017"/>
                  <a:pt x="2559115" y="2163728"/>
                </a:cubicBezTo>
                <a:lnTo>
                  <a:pt x="2627229" y="2045750"/>
                </a:lnTo>
                <a:cubicBezTo>
                  <a:pt x="2631932" y="2037605"/>
                  <a:pt x="2639490" y="2032138"/>
                  <a:pt x="2647909" y="2029882"/>
                </a:cubicBezTo>
                <a:close/>
                <a:moveTo>
                  <a:pt x="539277" y="2029882"/>
                </a:moveTo>
                <a:cubicBezTo>
                  <a:pt x="547696" y="2032138"/>
                  <a:pt x="555255" y="2037605"/>
                  <a:pt x="559957" y="2045750"/>
                </a:cubicBezTo>
                <a:lnTo>
                  <a:pt x="628071" y="2163728"/>
                </a:lnTo>
                <a:cubicBezTo>
                  <a:pt x="637476" y="2180017"/>
                  <a:pt x="631895" y="2200846"/>
                  <a:pt x="615606" y="2210250"/>
                </a:cubicBezTo>
                <a:lnTo>
                  <a:pt x="214481" y="2441840"/>
                </a:lnTo>
                <a:cubicBezTo>
                  <a:pt x="198192" y="2451244"/>
                  <a:pt x="177363" y="2445663"/>
                  <a:pt x="167958" y="2429374"/>
                </a:cubicBezTo>
                <a:lnTo>
                  <a:pt x="99844" y="2311396"/>
                </a:lnTo>
                <a:cubicBezTo>
                  <a:pt x="90439" y="2295107"/>
                  <a:pt x="96020" y="2274278"/>
                  <a:pt x="112309" y="2264874"/>
                </a:cubicBezTo>
                <a:lnTo>
                  <a:pt x="513434" y="2033284"/>
                </a:lnTo>
                <a:cubicBezTo>
                  <a:pt x="521579" y="2028582"/>
                  <a:pt x="530858" y="2027626"/>
                  <a:pt x="539277" y="2029882"/>
                </a:cubicBezTo>
                <a:close/>
                <a:moveTo>
                  <a:pt x="3094879" y="918289"/>
                </a:moveTo>
                <a:cubicBezTo>
                  <a:pt x="3112554" y="911856"/>
                  <a:pt x="3132097" y="920969"/>
                  <a:pt x="3138531" y="938644"/>
                </a:cubicBezTo>
                <a:lnTo>
                  <a:pt x="3185124" y="1066657"/>
                </a:lnTo>
                <a:cubicBezTo>
                  <a:pt x="3191557" y="1084332"/>
                  <a:pt x="3182443" y="1103875"/>
                  <a:pt x="3164769" y="1110308"/>
                </a:cubicBezTo>
                <a:lnTo>
                  <a:pt x="2729523" y="1268725"/>
                </a:lnTo>
                <a:cubicBezTo>
                  <a:pt x="2711848" y="1275158"/>
                  <a:pt x="2692304" y="1266045"/>
                  <a:pt x="2685871" y="1248370"/>
                </a:cubicBezTo>
                <a:lnTo>
                  <a:pt x="2639278" y="1120357"/>
                </a:lnTo>
                <a:cubicBezTo>
                  <a:pt x="2632845" y="1102682"/>
                  <a:pt x="2641959" y="1083138"/>
                  <a:pt x="2659633" y="1076705"/>
                </a:cubicBezTo>
                <a:close/>
                <a:moveTo>
                  <a:pt x="92307" y="918289"/>
                </a:moveTo>
                <a:lnTo>
                  <a:pt x="527553" y="1076705"/>
                </a:lnTo>
                <a:cubicBezTo>
                  <a:pt x="545228" y="1083138"/>
                  <a:pt x="554341" y="1102682"/>
                  <a:pt x="547908" y="1120357"/>
                </a:cubicBezTo>
                <a:lnTo>
                  <a:pt x="501315" y="1248370"/>
                </a:lnTo>
                <a:cubicBezTo>
                  <a:pt x="494882" y="1266045"/>
                  <a:pt x="475338" y="1275158"/>
                  <a:pt x="457664" y="1268725"/>
                </a:cubicBezTo>
                <a:lnTo>
                  <a:pt x="22418" y="1110308"/>
                </a:lnTo>
                <a:cubicBezTo>
                  <a:pt x="4743" y="1103875"/>
                  <a:pt x="-4370" y="1084332"/>
                  <a:pt x="2063" y="1066657"/>
                </a:cubicBezTo>
                <a:lnTo>
                  <a:pt x="48656" y="938644"/>
                </a:lnTo>
                <a:cubicBezTo>
                  <a:pt x="55089" y="920969"/>
                  <a:pt x="74633" y="911856"/>
                  <a:pt x="92307" y="918289"/>
                </a:cubicBezTo>
                <a:close/>
                <a:moveTo>
                  <a:pt x="1593593" y="658644"/>
                </a:moveTo>
                <a:cubicBezTo>
                  <a:pt x="2116495" y="658644"/>
                  <a:pt x="2540391" y="1082540"/>
                  <a:pt x="2540391" y="1605442"/>
                </a:cubicBezTo>
                <a:cubicBezTo>
                  <a:pt x="2540391" y="2128344"/>
                  <a:pt x="2116495" y="2552240"/>
                  <a:pt x="1593593" y="2552240"/>
                </a:cubicBezTo>
                <a:cubicBezTo>
                  <a:pt x="1070691" y="2552240"/>
                  <a:pt x="646795" y="2128344"/>
                  <a:pt x="646795" y="1605442"/>
                </a:cubicBezTo>
                <a:cubicBezTo>
                  <a:pt x="646795" y="1082540"/>
                  <a:pt x="1070691" y="658644"/>
                  <a:pt x="1593593" y="658644"/>
                </a:cubicBezTo>
                <a:close/>
                <a:moveTo>
                  <a:pt x="2246117" y="1165"/>
                </a:moveTo>
                <a:cubicBezTo>
                  <a:pt x="2254536" y="-1090"/>
                  <a:pt x="2263815" y="-135"/>
                  <a:pt x="2271960" y="4568"/>
                </a:cubicBezTo>
                <a:lnTo>
                  <a:pt x="2389938" y="72682"/>
                </a:lnTo>
                <a:cubicBezTo>
                  <a:pt x="2406227" y="82087"/>
                  <a:pt x="2411808" y="102916"/>
                  <a:pt x="2402403" y="119205"/>
                </a:cubicBezTo>
                <a:lnTo>
                  <a:pt x="2170814" y="520330"/>
                </a:lnTo>
                <a:cubicBezTo>
                  <a:pt x="2161409" y="536619"/>
                  <a:pt x="2140580" y="542200"/>
                  <a:pt x="2124291" y="532795"/>
                </a:cubicBezTo>
                <a:lnTo>
                  <a:pt x="2006313" y="464681"/>
                </a:lnTo>
                <a:cubicBezTo>
                  <a:pt x="1990024" y="455276"/>
                  <a:pt x="1984443" y="434447"/>
                  <a:pt x="1993848" y="418158"/>
                </a:cubicBezTo>
                <a:lnTo>
                  <a:pt x="2225437" y="17033"/>
                </a:lnTo>
                <a:cubicBezTo>
                  <a:pt x="2230139" y="8889"/>
                  <a:pt x="2237698" y="3421"/>
                  <a:pt x="2246117" y="1165"/>
                </a:cubicBezTo>
                <a:close/>
                <a:moveTo>
                  <a:pt x="941069" y="1165"/>
                </a:moveTo>
                <a:cubicBezTo>
                  <a:pt x="949488" y="3421"/>
                  <a:pt x="957047" y="8889"/>
                  <a:pt x="961749" y="17033"/>
                </a:cubicBezTo>
                <a:lnTo>
                  <a:pt x="1193338" y="418158"/>
                </a:lnTo>
                <a:cubicBezTo>
                  <a:pt x="1202743" y="434447"/>
                  <a:pt x="1197162" y="455276"/>
                  <a:pt x="1180873" y="464681"/>
                </a:cubicBezTo>
                <a:lnTo>
                  <a:pt x="1062895" y="532795"/>
                </a:lnTo>
                <a:cubicBezTo>
                  <a:pt x="1046606" y="542200"/>
                  <a:pt x="1025777" y="536619"/>
                  <a:pt x="1016372" y="520330"/>
                </a:cubicBezTo>
                <a:lnTo>
                  <a:pt x="784783" y="119205"/>
                </a:lnTo>
                <a:cubicBezTo>
                  <a:pt x="775378" y="102916"/>
                  <a:pt x="780959" y="82087"/>
                  <a:pt x="797248" y="72682"/>
                </a:cubicBezTo>
                <a:lnTo>
                  <a:pt x="915226" y="4568"/>
                </a:lnTo>
                <a:cubicBezTo>
                  <a:pt x="923371" y="-135"/>
                  <a:pt x="932650" y="-1090"/>
                  <a:pt x="941069" y="116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82" name="Rectangle 23">
            <a:extLst>
              <a:ext uri="{FF2B5EF4-FFF2-40B4-BE49-F238E27FC236}">
                <a16:creationId xmlns:a16="http://schemas.microsoft.com/office/drawing/2014/main" id="{D1D013BE-5839-41BC-BC72-D7D6A426C477}"/>
              </a:ext>
            </a:extLst>
          </p:cNvPr>
          <p:cNvSpPr/>
          <p:nvPr/>
        </p:nvSpPr>
        <p:spPr>
          <a:xfrm>
            <a:off x="5963174" y="5716474"/>
            <a:ext cx="691882" cy="445892"/>
          </a:xfrm>
          <a:custGeom>
            <a:avLst/>
            <a:gdLst/>
            <a:ahLst/>
            <a:cxnLst/>
            <a:rect l="l" t="t" r="r" b="b"/>
            <a:pathLst>
              <a:path w="3224845" h="2078296">
                <a:moveTo>
                  <a:pt x="1153236" y="427959"/>
                </a:moveTo>
                <a:cubicBezTo>
                  <a:pt x="1348431" y="427959"/>
                  <a:pt x="1521080" y="524490"/>
                  <a:pt x="1617434" y="678532"/>
                </a:cubicBezTo>
                <a:cubicBezTo>
                  <a:pt x="1678138" y="623092"/>
                  <a:pt x="1759417" y="592820"/>
                  <a:pt x="1847771" y="592820"/>
                </a:cubicBezTo>
                <a:cubicBezTo>
                  <a:pt x="2039655" y="592820"/>
                  <a:pt x="2198190" y="735609"/>
                  <a:pt x="2216233" y="921620"/>
                </a:cubicBezTo>
                <a:cubicBezTo>
                  <a:pt x="2219548" y="919625"/>
                  <a:pt x="2222903" y="919594"/>
                  <a:pt x="2226267" y="919594"/>
                </a:cubicBezTo>
                <a:cubicBezTo>
                  <a:pt x="2546231" y="919594"/>
                  <a:pt x="2805617" y="1178981"/>
                  <a:pt x="2805617" y="1498945"/>
                </a:cubicBezTo>
                <a:cubicBezTo>
                  <a:pt x="2805617" y="1801051"/>
                  <a:pt x="2574378" y="2049153"/>
                  <a:pt x="2279216" y="2075622"/>
                </a:cubicBezTo>
                <a:lnTo>
                  <a:pt x="2279216" y="2078296"/>
                </a:lnTo>
                <a:lnTo>
                  <a:pt x="2226267" y="2078296"/>
                </a:lnTo>
                <a:lnTo>
                  <a:pt x="646561" y="2078296"/>
                </a:lnTo>
                <a:lnTo>
                  <a:pt x="646561" y="2073975"/>
                </a:lnTo>
                <a:cubicBezTo>
                  <a:pt x="624550" y="2076984"/>
                  <a:pt x="602103" y="2078296"/>
                  <a:pt x="579350" y="2078296"/>
                </a:cubicBezTo>
                <a:cubicBezTo>
                  <a:pt x="259386" y="2078296"/>
                  <a:pt x="0" y="1818910"/>
                  <a:pt x="0" y="1498945"/>
                </a:cubicBezTo>
                <a:cubicBezTo>
                  <a:pt x="0" y="1178981"/>
                  <a:pt x="259386" y="919594"/>
                  <a:pt x="579350" y="919594"/>
                </a:cubicBezTo>
                <a:lnTo>
                  <a:pt x="591118" y="921972"/>
                </a:lnTo>
                <a:cubicBezTo>
                  <a:pt x="622324" y="641639"/>
                  <a:pt x="862826" y="427959"/>
                  <a:pt x="1153236" y="427959"/>
                </a:cubicBezTo>
                <a:close/>
                <a:moveTo>
                  <a:pt x="1844671" y="0"/>
                </a:moveTo>
                <a:cubicBezTo>
                  <a:pt x="2007709" y="0"/>
                  <a:pt x="2151917" y="80629"/>
                  <a:pt x="2232398" y="209295"/>
                </a:cubicBezTo>
                <a:cubicBezTo>
                  <a:pt x="2283102" y="162988"/>
                  <a:pt x="2350992" y="137703"/>
                  <a:pt x="2424790" y="137703"/>
                </a:cubicBezTo>
                <a:cubicBezTo>
                  <a:pt x="2585064" y="137703"/>
                  <a:pt x="2717483" y="256969"/>
                  <a:pt x="2732554" y="412337"/>
                </a:cubicBezTo>
                <a:cubicBezTo>
                  <a:pt x="2735322" y="410671"/>
                  <a:pt x="2738125" y="410646"/>
                  <a:pt x="2740934" y="410646"/>
                </a:cubicBezTo>
                <a:cubicBezTo>
                  <a:pt x="3008189" y="410646"/>
                  <a:pt x="3224845" y="627302"/>
                  <a:pt x="3224845" y="894557"/>
                </a:cubicBezTo>
                <a:cubicBezTo>
                  <a:pt x="3224845" y="1096996"/>
                  <a:pt x="3100535" y="1270403"/>
                  <a:pt x="2923312" y="1340619"/>
                </a:cubicBezTo>
                <a:cubicBezTo>
                  <a:pt x="2866347" y="1049229"/>
                  <a:pt x="2609521" y="829523"/>
                  <a:pt x="2301383" y="829523"/>
                </a:cubicBezTo>
                <a:cubicBezTo>
                  <a:pt x="2297701" y="829523"/>
                  <a:pt x="2294026" y="829557"/>
                  <a:pt x="2290397" y="831741"/>
                </a:cubicBezTo>
                <a:cubicBezTo>
                  <a:pt x="2270640" y="628070"/>
                  <a:pt x="2097054" y="471725"/>
                  <a:pt x="1886953" y="471725"/>
                </a:cubicBezTo>
                <a:cubicBezTo>
                  <a:pt x="1790211" y="471725"/>
                  <a:pt x="1701214" y="504871"/>
                  <a:pt x="1634747" y="565575"/>
                </a:cubicBezTo>
                <a:cubicBezTo>
                  <a:pt x="1575570" y="470966"/>
                  <a:pt x="1490108" y="396171"/>
                  <a:pt x="1388252" y="349790"/>
                </a:cubicBezTo>
                <a:cubicBezTo>
                  <a:pt x="1438607" y="147092"/>
                  <a:pt x="1624461" y="0"/>
                  <a:pt x="1844671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83" name="Oval 31">
            <a:extLst>
              <a:ext uri="{FF2B5EF4-FFF2-40B4-BE49-F238E27FC236}">
                <a16:creationId xmlns:a16="http://schemas.microsoft.com/office/drawing/2014/main" id="{F2B4C20E-6F83-4700-819A-B889CC4F8028}"/>
              </a:ext>
            </a:extLst>
          </p:cNvPr>
          <p:cNvSpPr/>
          <p:nvPr/>
        </p:nvSpPr>
        <p:spPr>
          <a:xfrm>
            <a:off x="6939606" y="5653380"/>
            <a:ext cx="579873" cy="572083"/>
          </a:xfrm>
          <a:custGeom>
            <a:avLst/>
            <a:gdLst/>
            <a:ahLst/>
            <a:cxnLst/>
            <a:rect l="l" t="t" r="r" b="b"/>
            <a:pathLst>
              <a:path w="3240076" h="3196551">
                <a:moveTo>
                  <a:pt x="2810300" y="1617710"/>
                </a:moveTo>
                <a:cubicBezTo>
                  <a:pt x="2817009" y="1615912"/>
                  <a:pt x="2824405" y="1616674"/>
                  <a:pt x="2830895" y="1620421"/>
                </a:cubicBezTo>
                <a:lnTo>
                  <a:pt x="3150571" y="1804986"/>
                </a:lnTo>
                <a:cubicBezTo>
                  <a:pt x="3163552" y="1812480"/>
                  <a:pt x="3168000" y="1829080"/>
                  <a:pt x="3160506" y="1842062"/>
                </a:cubicBezTo>
                <a:lnTo>
                  <a:pt x="3106222" y="1936084"/>
                </a:lnTo>
                <a:cubicBezTo>
                  <a:pt x="3098727" y="1949065"/>
                  <a:pt x="3082128" y="1953513"/>
                  <a:pt x="3069146" y="1946019"/>
                </a:cubicBezTo>
                <a:lnTo>
                  <a:pt x="2749470" y="1761453"/>
                </a:lnTo>
                <a:cubicBezTo>
                  <a:pt x="2736489" y="1753959"/>
                  <a:pt x="2732040" y="1737359"/>
                  <a:pt x="2739536" y="1724378"/>
                </a:cubicBezTo>
                <a:lnTo>
                  <a:pt x="2793819" y="1630356"/>
                </a:lnTo>
                <a:cubicBezTo>
                  <a:pt x="2797567" y="1623864"/>
                  <a:pt x="2803590" y="1619508"/>
                  <a:pt x="2810300" y="1617710"/>
                </a:cubicBezTo>
                <a:close/>
                <a:moveTo>
                  <a:pt x="1308278" y="1324343"/>
                </a:moveTo>
                <a:cubicBezTo>
                  <a:pt x="1529714" y="1324343"/>
                  <a:pt x="1725574" y="1433852"/>
                  <a:pt x="1834882" y="1608603"/>
                </a:cubicBezTo>
                <a:cubicBezTo>
                  <a:pt x="1903747" y="1545710"/>
                  <a:pt x="1995954" y="1511368"/>
                  <a:pt x="2096186" y="1511368"/>
                </a:cubicBezTo>
                <a:cubicBezTo>
                  <a:pt x="2313867" y="1511368"/>
                  <a:pt x="2493715" y="1673353"/>
                  <a:pt x="2514185" y="1884371"/>
                </a:cubicBezTo>
                <a:cubicBezTo>
                  <a:pt x="2517944" y="1882108"/>
                  <a:pt x="2521751" y="1882074"/>
                  <a:pt x="2525567" y="1882074"/>
                </a:cubicBezTo>
                <a:cubicBezTo>
                  <a:pt x="2888547" y="1882074"/>
                  <a:pt x="3182805" y="2176332"/>
                  <a:pt x="3182805" y="2539312"/>
                </a:cubicBezTo>
                <a:cubicBezTo>
                  <a:pt x="3182805" y="2882034"/>
                  <a:pt x="2920478" y="3163490"/>
                  <a:pt x="2585635" y="3193518"/>
                </a:cubicBezTo>
                <a:lnTo>
                  <a:pt x="2585635" y="3196551"/>
                </a:lnTo>
                <a:lnTo>
                  <a:pt x="2525567" y="3196551"/>
                </a:lnTo>
                <a:lnTo>
                  <a:pt x="733485" y="3196551"/>
                </a:lnTo>
                <a:lnTo>
                  <a:pt x="733485" y="3191649"/>
                </a:lnTo>
                <a:cubicBezTo>
                  <a:pt x="708515" y="3195063"/>
                  <a:pt x="683050" y="3196551"/>
                  <a:pt x="657239" y="3196551"/>
                </a:cubicBezTo>
                <a:cubicBezTo>
                  <a:pt x="294258" y="3196551"/>
                  <a:pt x="0" y="2902293"/>
                  <a:pt x="0" y="2539312"/>
                </a:cubicBezTo>
                <a:cubicBezTo>
                  <a:pt x="0" y="2176332"/>
                  <a:pt x="294258" y="1882074"/>
                  <a:pt x="657239" y="1882074"/>
                </a:cubicBezTo>
                <a:lnTo>
                  <a:pt x="670588" y="1884770"/>
                </a:lnTo>
                <a:cubicBezTo>
                  <a:pt x="705989" y="1566750"/>
                  <a:pt x="978825" y="1324343"/>
                  <a:pt x="1308278" y="1324343"/>
                </a:cubicBezTo>
                <a:close/>
                <a:moveTo>
                  <a:pt x="3166512" y="731828"/>
                </a:moveTo>
                <a:cubicBezTo>
                  <a:pt x="3180598" y="726701"/>
                  <a:pt x="3196172" y="733964"/>
                  <a:pt x="3201300" y="748050"/>
                </a:cubicBezTo>
                <a:lnTo>
                  <a:pt x="3238432" y="850070"/>
                </a:lnTo>
                <a:cubicBezTo>
                  <a:pt x="3243559" y="864156"/>
                  <a:pt x="3236295" y="879731"/>
                  <a:pt x="3222210" y="884857"/>
                </a:cubicBezTo>
                <a:lnTo>
                  <a:pt x="2875342" y="1011107"/>
                </a:lnTo>
                <a:cubicBezTo>
                  <a:pt x="2861256" y="1016234"/>
                  <a:pt x="2845680" y="1008972"/>
                  <a:pt x="2840554" y="994886"/>
                </a:cubicBezTo>
                <a:lnTo>
                  <a:pt x="2803421" y="892866"/>
                </a:lnTo>
                <a:cubicBezTo>
                  <a:pt x="2798295" y="878780"/>
                  <a:pt x="2805558" y="863204"/>
                  <a:pt x="2819643" y="858077"/>
                </a:cubicBezTo>
                <a:close/>
                <a:moveTo>
                  <a:pt x="773619" y="731828"/>
                </a:moveTo>
                <a:lnTo>
                  <a:pt x="1120487" y="858077"/>
                </a:lnTo>
                <a:cubicBezTo>
                  <a:pt x="1134573" y="863204"/>
                  <a:pt x="1141836" y="878780"/>
                  <a:pt x="1136709" y="892866"/>
                </a:cubicBezTo>
                <a:lnTo>
                  <a:pt x="1099577" y="994886"/>
                </a:lnTo>
                <a:cubicBezTo>
                  <a:pt x="1094450" y="1008972"/>
                  <a:pt x="1078875" y="1016234"/>
                  <a:pt x="1064789" y="1011107"/>
                </a:cubicBezTo>
                <a:lnTo>
                  <a:pt x="717921" y="884857"/>
                </a:lnTo>
                <a:cubicBezTo>
                  <a:pt x="703835" y="879731"/>
                  <a:pt x="696572" y="864156"/>
                  <a:pt x="701699" y="850070"/>
                </a:cubicBezTo>
                <a:lnTo>
                  <a:pt x="738831" y="748050"/>
                </a:lnTo>
                <a:cubicBezTo>
                  <a:pt x="743958" y="733964"/>
                  <a:pt x="759534" y="726701"/>
                  <a:pt x="773619" y="731828"/>
                </a:cubicBezTo>
                <a:close/>
                <a:moveTo>
                  <a:pt x="1970065" y="524905"/>
                </a:moveTo>
                <a:cubicBezTo>
                  <a:pt x="2386791" y="524905"/>
                  <a:pt x="2724614" y="862728"/>
                  <a:pt x="2724614" y="1279453"/>
                </a:cubicBezTo>
                <a:cubicBezTo>
                  <a:pt x="2724614" y="1453368"/>
                  <a:pt x="2665775" y="1613540"/>
                  <a:pt x="2564463" y="1739247"/>
                </a:cubicBezTo>
                <a:cubicBezTo>
                  <a:pt x="2529951" y="1545877"/>
                  <a:pt x="2358485" y="1402176"/>
                  <a:pt x="2153457" y="1402176"/>
                </a:cubicBezTo>
                <a:cubicBezTo>
                  <a:pt x="2053225" y="1402176"/>
                  <a:pt x="1961018" y="1436518"/>
                  <a:pt x="1892153" y="1499411"/>
                </a:cubicBezTo>
                <a:cubicBezTo>
                  <a:pt x="1782845" y="1324660"/>
                  <a:pt x="1586985" y="1215151"/>
                  <a:pt x="1365549" y="1215151"/>
                </a:cubicBezTo>
                <a:cubicBezTo>
                  <a:pt x="1314582" y="1215151"/>
                  <a:pt x="1264970" y="1220953"/>
                  <a:pt x="1217820" y="1233835"/>
                </a:cubicBezTo>
                <a:cubicBezTo>
                  <a:pt x="1240489" y="838320"/>
                  <a:pt x="1568676" y="524905"/>
                  <a:pt x="1970065" y="524905"/>
                </a:cubicBezTo>
                <a:close/>
                <a:moveTo>
                  <a:pt x="2490093" y="928"/>
                </a:moveTo>
                <a:cubicBezTo>
                  <a:pt x="2496802" y="-869"/>
                  <a:pt x="2504197" y="-108"/>
                  <a:pt x="2510688" y="3640"/>
                </a:cubicBezTo>
                <a:lnTo>
                  <a:pt x="2604711" y="57924"/>
                </a:lnTo>
                <a:cubicBezTo>
                  <a:pt x="2617692" y="65419"/>
                  <a:pt x="2622140" y="82019"/>
                  <a:pt x="2614644" y="95000"/>
                </a:cubicBezTo>
                <a:lnTo>
                  <a:pt x="2430080" y="414676"/>
                </a:lnTo>
                <a:cubicBezTo>
                  <a:pt x="2422585" y="427657"/>
                  <a:pt x="2405985" y="432105"/>
                  <a:pt x="2393004" y="424610"/>
                </a:cubicBezTo>
                <a:lnTo>
                  <a:pt x="2298982" y="370326"/>
                </a:lnTo>
                <a:cubicBezTo>
                  <a:pt x="2286000" y="362831"/>
                  <a:pt x="2281552" y="346232"/>
                  <a:pt x="2289048" y="333250"/>
                </a:cubicBezTo>
                <a:lnTo>
                  <a:pt x="2473612" y="13574"/>
                </a:lnTo>
                <a:cubicBezTo>
                  <a:pt x="2477359" y="7084"/>
                  <a:pt x="2483383" y="2726"/>
                  <a:pt x="2490093" y="928"/>
                </a:cubicBezTo>
                <a:close/>
                <a:moveTo>
                  <a:pt x="1450038" y="928"/>
                </a:moveTo>
                <a:cubicBezTo>
                  <a:pt x="1456747" y="2726"/>
                  <a:pt x="1462771" y="7084"/>
                  <a:pt x="1466519" y="13574"/>
                </a:cubicBezTo>
                <a:lnTo>
                  <a:pt x="1651083" y="333250"/>
                </a:lnTo>
                <a:cubicBezTo>
                  <a:pt x="1658578" y="346232"/>
                  <a:pt x="1654131" y="362831"/>
                  <a:pt x="1641149" y="370326"/>
                </a:cubicBezTo>
                <a:lnTo>
                  <a:pt x="1547127" y="424610"/>
                </a:lnTo>
                <a:cubicBezTo>
                  <a:pt x="1534145" y="432105"/>
                  <a:pt x="1517546" y="427657"/>
                  <a:pt x="1510050" y="414676"/>
                </a:cubicBezTo>
                <a:lnTo>
                  <a:pt x="1325486" y="95000"/>
                </a:lnTo>
                <a:cubicBezTo>
                  <a:pt x="1317991" y="82019"/>
                  <a:pt x="1322439" y="65419"/>
                  <a:pt x="1335420" y="57924"/>
                </a:cubicBezTo>
                <a:lnTo>
                  <a:pt x="1429442" y="3640"/>
                </a:lnTo>
                <a:cubicBezTo>
                  <a:pt x="1435933" y="-108"/>
                  <a:pt x="1443328" y="-869"/>
                  <a:pt x="1450038" y="92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84" name="Teardrop 17">
            <a:extLst>
              <a:ext uri="{FF2B5EF4-FFF2-40B4-BE49-F238E27FC236}">
                <a16:creationId xmlns:a16="http://schemas.microsoft.com/office/drawing/2014/main" id="{04CFE412-7B77-4FD8-A796-DE7E55B89403}"/>
              </a:ext>
            </a:extLst>
          </p:cNvPr>
          <p:cNvSpPr/>
          <p:nvPr/>
        </p:nvSpPr>
        <p:spPr>
          <a:xfrm rot="18900000">
            <a:off x="5204982" y="5698880"/>
            <a:ext cx="473640" cy="481082"/>
          </a:xfrm>
          <a:custGeom>
            <a:avLst/>
            <a:gdLst/>
            <a:ahLst/>
            <a:cxnLst/>
            <a:rect l="l" t="t" r="r" b="b"/>
            <a:pathLst>
              <a:path w="2646489" h="2688071">
                <a:moveTo>
                  <a:pt x="306023" y="2382048"/>
                </a:moveTo>
                <a:cubicBezTo>
                  <a:pt x="271732" y="2441625"/>
                  <a:pt x="254586" y="2501201"/>
                  <a:pt x="254586" y="2560778"/>
                </a:cubicBezTo>
                <a:cubicBezTo>
                  <a:pt x="254586" y="2631080"/>
                  <a:pt x="197595" y="2688071"/>
                  <a:pt x="127293" y="2688071"/>
                </a:cubicBezTo>
                <a:cubicBezTo>
                  <a:pt x="56991" y="2688071"/>
                  <a:pt x="0" y="2631081"/>
                  <a:pt x="0" y="2560778"/>
                </a:cubicBezTo>
                <a:cubicBezTo>
                  <a:pt x="0" y="2490477"/>
                  <a:pt x="56991" y="2433485"/>
                  <a:pt x="127293" y="2433485"/>
                </a:cubicBezTo>
                <a:cubicBezTo>
                  <a:pt x="186870" y="2433486"/>
                  <a:pt x="246446" y="2416340"/>
                  <a:pt x="306023" y="2382048"/>
                </a:cubicBezTo>
                <a:close/>
                <a:moveTo>
                  <a:pt x="812224" y="2334103"/>
                </a:moveTo>
                <a:cubicBezTo>
                  <a:pt x="777933" y="2393681"/>
                  <a:pt x="760787" y="2453256"/>
                  <a:pt x="760787" y="2512834"/>
                </a:cubicBezTo>
                <a:cubicBezTo>
                  <a:pt x="760787" y="2583136"/>
                  <a:pt x="703796" y="2640127"/>
                  <a:pt x="633494" y="2640127"/>
                </a:cubicBezTo>
                <a:cubicBezTo>
                  <a:pt x="563192" y="2640127"/>
                  <a:pt x="506201" y="2583136"/>
                  <a:pt x="506201" y="2512834"/>
                </a:cubicBezTo>
                <a:cubicBezTo>
                  <a:pt x="506201" y="2442532"/>
                  <a:pt x="563192" y="2385541"/>
                  <a:pt x="633494" y="2385541"/>
                </a:cubicBezTo>
                <a:cubicBezTo>
                  <a:pt x="693071" y="2385540"/>
                  <a:pt x="752647" y="2368395"/>
                  <a:pt x="812224" y="2334103"/>
                </a:cubicBezTo>
                <a:close/>
                <a:moveTo>
                  <a:pt x="353968" y="1875848"/>
                </a:moveTo>
                <a:cubicBezTo>
                  <a:pt x="319677" y="1935424"/>
                  <a:pt x="302531" y="1995001"/>
                  <a:pt x="302530" y="2054578"/>
                </a:cubicBezTo>
                <a:cubicBezTo>
                  <a:pt x="302530" y="2124880"/>
                  <a:pt x="245539" y="2181871"/>
                  <a:pt x="175237" y="2181871"/>
                </a:cubicBezTo>
                <a:cubicBezTo>
                  <a:pt x="104935" y="2181871"/>
                  <a:pt x="47945" y="2124880"/>
                  <a:pt x="47944" y="2054578"/>
                </a:cubicBezTo>
                <a:cubicBezTo>
                  <a:pt x="47944" y="1984276"/>
                  <a:pt x="104935" y="1927285"/>
                  <a:pt x="175237" y="1927285"/>
                </a:cubicBezTo>
                <a:cubicBezTo>
                  <a:pt x="234815" y="1927285"/>
                  <a:pt x="294391" y="1910139"/>
                  <a:pt x="353968" y="1875848"/>
                </a:cubicBezTo>
                <a:close/>
                <a:moveTo>
                  <a:pt x="401912" y="1369646"/>
                </a:moveTo>
                <a:cubicBezTo>
                  <a:pt x="367621" y="1429223"/>
                  <a:pt x="350475" y="1488799"/>
                  <a:pt x="350475" y="1548377"/>
                </a:cubicBezTo>
                <a:cubicBezTo>
                  <a:pt x="350475" y="1618679"/>
                  <a:pt x="293484" y="1675670"/>
                  <a:pt x="223182" y="1675670"/>
                </a:cubicBezTo>
                <a:cubicBezTo>
                  <a:pt x="152880" y="1675670"/>
                  <a:pt x="95889" y="1618679"/>
                  <a:pt x="95889" y="1548377"/>
                </a:cubicBezTo>
                <a:cubicBezTo>
                  <a:pt x="95889" y="1478075"/>
                  <a:pt x="152880" y="1421084"/>
                  <a:pt x="223182" y="1421084"/>
                </a:cubicBezTo>
                <a:cubicBezTo>
                  <a:pt x="282759" y="1421084"/>
                  <a:pt x="342335" y="1403938"/>
                  <a:pt x="401912" y="1369646"/>
                </a:cubicBezTo>
                <a:close/>
                <a:moveTo>
                  <a:pt x="1318425" y="2286158"/>
                </a:moveTo>
                <a:cubicBezTo>
                  <a:pt x="1284134" y="2345735"/>
                  <a:pt x="1266988" y="2405312"/>
                  <a:pt x="1266987" y="2464888"/>
                </a:cubicBezTo>
                <a:cubicBezTo>
                  <a:pt x="1266987" y="2535190"/>
                  <a:pt x="1209996" y="2592182"/>
                  <a:pt x="1139694" y="2592182"/>
                </a:cubicBezTo>
                <a:cubicBezTo>
                  <a:pt x="1069392" y="2592182"/>
                  <a:pt x="1012402" y="2535191"/>
                  <a:pt x="1012401" y="2464888"/>
                </a:cubicBezTo>
                <a:cubicBezTo>
                  <a:pt x="1012401" y="2394586"/>
                  <a:pt x="1069392" y="2337595"/>
                  <a:pt x="1139694" y="2337595"/>
                </a:cubicBezTo>
                <a:cubicBezTo>
                  <a:pt x="1199271" y="2337596"/>
                  <a:pt x="1258848" y="2320449"/>
                  <a:pt x="1318425" y="2286158"/>
                </a:cubicBezTo>
                <a:close/>
                <a:moveTo>
                  <a:pt x="860169" y="1827902"/>
                </a:moveTo>
                <a:cubicBezTo>
                  <a:pt x="825878" y="1887479"/>
                  <a:pt x="808731" y="1947056"/>
                  <a:pt x="808731" y="2006633"/>
                </a:cubicBezTo>
                <a:cubicBezTo>
                  <a:pt x="808731" y="2076935"/>
                  <a:pt x="751740" y="2133926"/>
                  <a:pt x="681438" y="2133926"/>
                </a:cubicBezTo>
                <a:cubicBezTo>
                  <a:pt x="611136" y="2133926"/>
                  <a:pt x="554146" y="2076935"/>
                  <a:pt x="554145" y="2006633"/>
                </a:cubicBezTo>
                <a:cubicBezTo>
                  <a:pt x="554145" y="1936331"/>
                  <a:pt x="611136" y="1879340"/>
                  <a:pt x="681438" y="1879340"/>
                </a:cubicBezTo>
                <a:cubicBezTo>
                  <a:pt x="741015" y="1879340"/>
                  <a:pt x="800591" y="1862193"/>
                  <a:pt x="860169" y="1827902"/>
                </a:cubicBezTo>
                <a:close/>
                <a:moveTo>
                  <a:pt x="2096803" y="190871"/>
                </a:moveTo>
                <a:cubicBezTo>
                  <a:pt x="2253382" y="347450"/>
                  <a:pt x="2314442" y="563378"/>
                  <a:pt x="2268166" y="764238"/>
                </a:cubicBezTo>
                <a:cubicBezTo>
                  <a:pt x="2361334" y="768461"/>
                  <a:pt x="2450817" y="809378"/>
                  <a:pt x="2521691" y="880252"/>
                </a:cubicBezTo>
                <a:cubicBezTo>
                  <a:pt x="2675615" y="1034176"/>
                  <a:pt x="2688247" y="1275888"/>
                  <a:pt x="2553508" y="1439575"/>
                </a:cubicBezTo>
                <a:cubicBezTo>
                  <a:pt x="2557767" y="1440633"/>
                  <a:pt x="2560483" y="1443301"/>
                  <a:pt x="2563181" y="1445999"/>
                </a:cubicBezTo>
                <a:cubicBezTo>
                  <a:pt x="2819847" y="1702665"/>
                  <a:pt x="2819847" y="2118808"/>
                  <a:pt x="2563181" y="2375474"/>
                </a:cubicBezTo>
                <a:cubicBezTo>
                  <a:pt x="2320841" y="2617815"/>
                  <a:pt x="1936328" y="2631341"/>
                  <a:pt x="1678325" y="2415804"/>
                </a:cubicBezTo>
                <a:lnTo>
                  <a:pt x="1676180" y="2417949"/>
                </a:lnTo>
                <a:lnTo>
                  <a:pt x="1633705" y="2375475"/>
                </a:lnTo>
                <a:lnTo>
                  <a:pt x="366513" y="1108282"/>
                </a:lnTo>
                <a:lnTo>
                  <a:pt x="369979" y="1104815"/>
                </a:lnTo>
                <a:cubicBezTo>
                  <a:pt x="349908" y="1089573"/>
                  <a:pt x="330850" y="1072619"/>
                  <a:pt x="312598" y="1054367"/>
                </a:cubicBezTo>
                <a:cubicBezTo>
                  <a:pt x="55932" y="797701"/>
                  <a:pt x="55932" y="381558"/>
                  <a:pt x="312598" y="124891"/>
                </a:cubicBezTo>
                <a:cubicBezTo>
                  <a:pt x="569264" y="-131775"/>
                  <a:pt x="985408" y="-131775"/>
                  <a:pt x="1242074" y="124891"/>
                </a:cubicBezTo>
                <a:lnTo>
                  <a:pt x="1249606" y="136238"/>
                </a:lnTo>
                <a:cubicBezTo>
                  <a:pt x="1499513" y="-63604"/>
                  <a:pt x="1863845" y="-42087"/>
                  <a:pt x="2096803" y="19087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85" name="Rectangle 23">
            <a:extLst>
              <a:ext uri="{FF2B5EF4-FFF2-40B4-BE49-F238E27FC236}">
                <a16:creationId xmlns:a16="http://schemas.microsoft.com/office/drawing/2014/main" id="{2246F171-72B7-42E7-B6C0-D78C12504E9B}"/>
              </a:ext>
            </a:extLst>
          </p:cNvPr>
          <p:cNvSpPr/>
          <p:nvPr/>
        </p:nvSpPr>
        <p:spPr>
          <a:xfrm>
            <a:off x="7804030" y="5649492"/>
            <a:ext cx="576449" cy="579858"/>
          </a:xfrm>
          <a:custGeom>
            <a:avLst/>
            <a:gdLst/>
            <a:ahLst/>
            <a:cxnLst/>
            <a:rect l="l" t="t" r="r" b="b"/>
            <a:pathLst>
              <a:path w="3220951" h="3240001">
                <a:moveTo>
                  <a:pt x="1308278" y="1367793"/>
                </a:moveTo>
                <a:cubicBezTo>
                  <a:pt x="1529714" y="1367793"/>
                  <a:pt x="1725574" y="1477302"/>
                  <a:pt x="1834882" y="1652053"/>
                </a:cubicBezTo>
                <a:cubicBezTo>
                  <a:pt x="1903747" y="1589160"/>
                  <a:pt x="1995954" y="1554818"/>
                  <a:pt x="2096186" y="1554818"/>
                </a:cubicBezTo>
                <a:cubicBezTo>
                  <a:pt x="2313867" y="1554818"/>
                  <a:pt x="2493715" y="1716803"/>
                  <a:pt x="2514185" y="1927821"/>
                </a:cubicBezTo>
                <a:cubicBezTo>
                  <a:pt x="2517944" y="1925558"/>
                  <a:pt x="2521751" y="1925524"/>
                  <a:pt x="2525567" y="1925524"/>
                </a:cubicBezTo>
                <a:cubicBezTo>
                  <a:pt x="2888547" y="1925524"/>
                  <a:pt x="3182805" y="2219782"/>
                  <a:pt x="3182805" y="2582762"/>
                </a:cubicBezTo>
                <a:cubicBezTo>
                  <a:pt x="3182805" y="2925484"/>
                  <a:pt x="2920478" y="3206940"/>
                  <a:pt x="2585635" y="3236968"/>
                </a:cubicBezTo>
                <a:lnTo>
                  <a:pt x="2585635" y="3240001"/>
                </a:lnTo>
                <a:lnTo>
                  <a:pt x="2525567" y="3240001"/>
                </a:lnTo>
                <a:lnTo>
                  <a:pt x="733485" y="3240001"/>
                </a:lnTo>
                <a:lnTo>
                  <a:pt x="733485" y="3235099"/>
                </a:lnTo>
                <a:cubicBezTo>
                  <a:pt x="708515" y="3238513"/>
                  <a:pt x="683051" y="3240001"/>
                  <a:pt x="657239" y="3240001"/>
                </a:cubicBezTo>
                <a:cubicBezTo>
                  <a:pt x="294258" y="3240001"/>
                  <a:pt x="0" y="2945743"/>
                  <a:pt x="0" y="2582762"/>
                </a:cubicBezTo>
                <a:cubicBezTo>
                  <a:pt x="0" y="2219782"/>
                  <a:pt x="294258" y="1925524"/>
                  <a:pt x="657239" y="1925524"/>
                </a:cubicBezTo>
                <a:lnTo>
                  <a:pt x="670588" y="1928221"/>
                </a:lnTo>
                <a:cubicBezTo>
                  <a:pt x="705989" y="1610200"/>
                  <a:pt x="978825" y="1367793"/>
                  <a:pt x="1308278" y="1367793"/>
                </a:cubicBezTo>
                <a:close/>
                <a:moveTo>
                  <a:pt x="1589786" y="0"/>
                </a:moveTo>
                <a:cubicBezTo>
                  <a:pt x="1520182" y="453314"/>
                  <a:pt x="1668069" y="912942"/>
                  <a:pt x="1988957" y="1240613"/>
                </a:cubicBezTo>
                <a:cubicBezTo>
                  <a:pt x="2309845" y="1568285"/>
                  <a:pt x="2766281" y="1725754"/>
                  <a:pt x="3220951" y="1665645"/>
                </a:cubicBezTo>
                <a:cubicBezTo>
                  <a:pt x="3108976" y="1775302"/>
                  <a:pt x="2980523" y="1857805"/>
                  <a:pt x="2843553" y="1912752"/>
                </a:cubicBezTo>
                <a:cubicBezTo>
                  <a:pt x="2756367" y="1866073"/>
                  <a:pt x="2656598" y="1841175"/>
                  <a:pt x="2551012" y="1841175"/>
                </a:cubicBezTo>
                <a:cubicBezTo>
                  <a:pt x="2547197" y="1841176"/>
                  <a:pt x="2543390" y="1841210"/>
                  <a:pt x="2539631" y="1843473"/>
                </a:cubicBezTo>
                <a:cubicBezTo>
                  <a:pt x="2519161" y="1632454"/>
                  <a:pt x="2339312" y="1470470"/>
                  <a:pt x="2121631" y="1470470"/>
                </a:cubicBezTo>
                <a:cubicBezTo>
                  <a:pt x="2021400" y="1470470"/>
                  <a:pt x="1929192" y="1504812"/>
                  <a:pt x="1860327" y="1567705"/>
                </a:cubicBezTo>
                <a:cubicBezTo>
                  <a:pt x="1751020" y="1392954"/>
                  <a:pt x="1555160" y="1283445"/>
                  <a:pt x="1333723" y="1283445"/>
                </a:cubicBezTo>
                <a:lnTo>
                  <a:pt x="1331160" y="1283679"/>
                </a:lnTo>
                <a:cubicBezTo>
                  <a:pt x="1150898" y="856385"/>
                  <a:pt x="1238290" y="344219"/>
                  <a:pt x="1589786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86" name="Round Same Side Corner Rectangle 8">
            <a:extLst>
              <a:ext uri="{FF2B5EF4-FFF2-40B4-BE49-F238E27FC236}">
                <a16:creationId xmlns:a16="http://schemas.microsoft.com/office/drawing/2014/main" id="{DB67113F-D303-42DA-95BD-610BBED8BE92}"/>
              </a:ext>
            </a:extLst>
          </p:cNvPr>
          <p:cNvSpPr/>
          <p:nvPr/>
        </p:nvSpPr>
        <p:spPr>
          <a:xfrm>
            <a:off x="4455730" y="1450295"/>
            <a:ext cx="251302" cy="661867"/>
          </a:xfrm>
          <a:custGeom>
            <a:avLst/>
            <a:gdLst>
              <a:gd name="connsiteX0" fmla="*/ 280204 w 1489775"/>
              <a:gd name="connsiteY0" fmla="*/ 750754 h 3923699"/>
              <a:gd name="connsiteX1" fmla="*/ 1209570 w 1489775"/>
              <a:gd name="connsiteY1" fmla="*/ 750754 h 3923699"/>
              <a:gd name="connsiteX2" fmla="*/ 1489774 w 1489775"/>
              <a:gd name="connsiteY2" fmla="*/ 1030958 h 3923699"/>
              <a:gd name="connsiteX3" fmla="*/ 1489774 w 1489775"/>
              <a:gd name="connsiteY3" fmla="*/ 1293518 h 3923699"/>
              <a:gd name="connsiteX4" fmla="*/ 1489775 w 1489775"/>
              <a:gd name="connsiteY4" fmla="*/ 1293518 h 3923699"/>
              <a:gd name="connsiteX5" fmla="*/ 1489775 w 1489775"/>
              <a:gd name="connsiteY5" fmla="*/ 2063902 h 3923699"/>
              <a:gd name="connsiteX6" fmla="*/ 1345759 w 1489775"/>
              <a:gd name="connsiteY6" fmla="*/ 2207918 h 3923699"/>
              <a:gd name="connsiteX7" fmla="*/ 1201743 w 1489775"/>
              <a:gd name="connsiteY7" fmla="*/ 2063902 h 3923699"/>
              <a:gd name="connsiteX8" fmla="*/ 1201743 w 1489775"/>
              <a:gd name="connsiteY8" fmla="*/ 1390678 h 3923699"/>
              <a:gd name="connsiteX9" fmla="*/ 1158887 w 1489775"/>
              <a:gd name="connsiteY9" fmla="*/ 1390678 h 3923699"/>
              <a:gd name="connsiteX10" fmla="*/ 1158887 w 1489775"/>
              <a:gd name="connsiteY10" fmla="*/ 2305078 h 3923699"/>
              <a:gd name="connsiteX11" fmla="*/ 1151853 w 1489775"/>
              <a:gd name="connsiteY11" fmla="*/ 3743699 h 3923699"/>
              <a:gd name="connsiteX12" fmla="*/ 971853 w 1489775"/>
              <a:gd name="connsiteY12" fmla="*/ 3923699 h 3923699"/>
              <a:gd name="connsiteX13" fmla="*/ 791853 w 1489775"/>
              <a:gd name="connsiteY13" fmla="*/ 3743699 h 3923699"/>
              <a:gd name="connsiteX14" fmla="*/ 791853 w 1489775"/>
              <a:gd name="connsiteY14" fmla="*/ 2305078 h 3923699"/>
              <a:gd name="connsiteX15" fmla="*/ 683854 w 1489775"/>
              <a:gd name="connsiteY15" fmla="*/ 2305078 h 3923699"/>
              <a:gd name="connsiteX16" fmla="*/ 683854 w 1489775"/>
              <a:gd name="connsiteY16" fmla="*/ 3743698 h 3923699"/>
              <a:gd name="connsiteX17" fmla="*/ 503854 w 1489775"/>
              <a:gd name="connsiteY17" fmla="*/ 3923698 h 3923699"/>
              <a:gd name="connsiteX18" fmla="*/ 323854 w 1489775"/>
              <a:gd name="connsiteY18" fmla="*/ 3743698 h 3923699"/>
              <a:gd name="connsiteX19" fmla="*/ 323854 w 1489775"/>
              <a:gd name="connsiteY19" fmla="*/ 2238914 h 3923699"/>
              <a:gd name="connsiteX20" fmla="*/ 330887 w 1489775"/>
              <a:gd name="connsiteY20" fmla="*/ 2238914 h 3923699"/>
              <a:gd name="connsiteX21" fmla="*/ 330887 w 1489775"/>
              <a:gd name="connsiteY21" fmla="*/ 1390678 h 3923699"/>
              <a:gd name="connsiteX22" fmla="*/ 288033 w 1489775"/>
              <a:gd name="connsiteY22" fmla="*/ 1390678 h 3923699"/>
              <a:gd name="connsiteX23" fmla="*/ 288033 w 1489775"/>
              <a:gd name="connsiteY23" fmla="*/ 2063902 h 3923699"/>
              <a:gd name="connsiteX24" fmla="*/ 144017 w 1489775"/>
              <a:gd name="connsiteY24" fmla="*/ 2207918 h 3923699"/>
              <a:gd name="connsiteX25" fmla="*/ 1 w 1489775"/>
              <a:gd name="connsiteY25" fmla="*/ 2063902 h 3923699"/>
              <a:gd name="connsiteX26" fmla="*/ 1 w 1489775"/>
              <a:gd name="connsiteY26" fmla="*/ 1390678 h 3923699"/>
              <a:gd name="connsiteX27" fmla="*/ 0 w 1489775"/>
              <a:gd name="connsiteY27" fmla="*/ 1390678 h 3923699"/>
              <a:gd name="connsiteX28" fmla="*/ 0 w 1489775"/>
              <a:gd name="connsiteY28" fmla="*/ 1030958 h 3923699"/>
              <a:gd name="connsiteX29" fmla="*/ 280204 w 1489775"/>
              <a:gd name="connsiteY29" fmla="*/ 750754 h 3923699"/>
              <a:gd name="connsiteX30" fmla="*/ 744888 w 1489775"/>
              <a:gd name="connsiteY30" fmla="*/ 0 h 3923699"/>
              <a:gd name="connsiteX31" fmla="*/ 1082199 w 1489775"/>
              <a:gd name="connsiteY31" fmla="*/ 337311 h 3923699"/>
              <a:gd name="connsiteX32" fmla="*/ 744888 w 1489775"/>
              <a:gd name="connsiteY32" fmla="*/ 674622 h 3923699"/>
              <a:gd name="connsiteX33" fmla="*/ 407577 w 1489775"/>
              <a:gd name="connsiteY33" fmla="*/ 337311 h 3923699"/>
              <a:gd name="connsiteX34" fmla="*/ 744888 w 1489775"/>
              <a:gd name="connsiteY34" fmla="*/ 0 h 3923699"/>
              <a:gd name="connsiteX0" fmla="*/ 280204 w 1489775"/>
              <a:gd name="connsiteY0" fmla="*/ 750754 h 3923699"/>
              <a:gd name="connsiteX1" fmla="*/ 1209570 w 1489775"/>
              <a:gd name="connsiteY1" fmla="*/ 750754 h 3923699"/>
              <a:gd name="connsiteX2" fmla="*/ 1489774 w 1489775"/>
              <a:gd name="connsiteY2" fmla="*/ 1030958 h 3923699"/>
              <a:gd name="connsiteX3" fmla="*/ 1489774 w 1489775"/>
              <a:gd name="connsiteY3" fmla="*/ 1293518 h 3923699"/>
              <a:gd name="connsiteX4" fmla="*/ 1489775 w 1489775"/>
              <a:gd name="connsiteY4" fmla="*/ 1293518 h 3923699"/>
              <a:gd name="connsiteX5" fmla="*/ 1489775 w 1489775"/>
              <a:gd name="connsiteY5" fmla="*/ 2063902 h 3923699"/>
              <a:gd name="connsiteX6" fmla="*/ 1345759 w 1489775"/>
              <a:gd name="connsiteY6" fmla="*/ 2207918 h 3923699"/>
              <a:gd name="connsiteX7" fmla="*/ 1201743 w 1489775"/>
              <a:gd name="connsiteY7" fmla="*/ 2063902 h 3923699"/>
              <a:gd name="connsiteX8" fmla="*/ 1201743 w 1489775"/>
              <a:gd name="connsiteY8" fmla="*/ 1390678 h 3923699"/>
              <a:gd name="connsiteX9" fmla="*/ 1158887 w 1489775"/>
              <a:gd name="connsiteY9" fmla="*/ 1390678 h 3923699"/>
              <a:gd name="connsiteX10" fmla="*/ 1151853 w 1489775"/>
              <a:gd name="connsiteY10" fmla="*/ 3743699 h 3923699"/>
              <a:gd name="connsiteX11" fmla="*/ 971853 w 1489775"/>
              <a:gd name="connsiteY11" fmla="*/ 3923699 h 3923699"/>
              <a:gd name="connsiteX12" fmla="*/ 791853 w 1489775"/>
              <a:gd name="connsiteY12" fmla="*/ 3743699 h 3923699"/>
              <a:gd name="connsiteX13" fmla="*/ 791853 w 1489775"/>
              <a:gd name="connsiteY13" fmla="*/ 2305078 h 3923699"/>
              <a:gd name="connsiteX14" fmla="*/ 683854 w 1489775"/>
              <a:gd name="connsiteY14" fmla="*/ 2305078 h 3923699"/>
              <a:gd name="connsiteX15" fmla="*/ 683854 w 1489775"/>
              <a:gd name="connsiteY15" fmla="*/ 3743698 h 3923699"/>
              <a:gd name="connsiteX16" fmla="*/ 503854 w 1489775"/>
              <a:gd name="connsiteY16" fmla="*/ 3923698 h 3923699"/>
              <a:gd name="connsiteX17" fmla="*/ 323854 w 1489775"/>
              <a:gd name="connsiteY17" fmla="*/ 3743698 h 3923699"/>
              <a:gd name="connsiteX18" fmla="*/ 323854 w 1489775"/>
              <a:gd name="connsiteY18" fmla="*/ 2238914 h 3923699"/>
              <a:gd name="connsiteX19" fmla="*/ 330887 w 1489775"/>
              <a:gd name="connsiteY19" fmla="*/ 2238914 h 3923699"/>
              <a:gd name="connsiteX20" fmla="*/ 330887 w 1489775"/>
              <a:gd name="connsiteY20" fmla="*/ 1390678 h 3923699"/>
              <a:gd name="connsiteX21" fmla="*/ 288033 w 1489775"/>
              <a:gd name="connsiteY21" fmla="*/ 1390678 h 3923699"/>
              <a:gd name="connsiteX22" fmla="*/ 288033 w 1489775"/>
              <a:gd name="connsiteY22" fmla="*/ 2063902 h 3923699"/>
              <a:gd name="connsiteX23" fmla="*/ 144017 w 1489775"/>
              <a:gd name="connsiteY23" fmla="*/ 2207918 h 3923699"/>
              <a:gd name="connsiteX24" fmla="*/ 1 w 1489775"/>
              <a:gd name="connsiteY24" fmla="*/ 2063902 h 3923699"/>
              <a:gd name="connsiteX25" fmla="*/ 1 w 1489775"/>
              <a:gd name="connsiteY25" fmla="*/ 1390678 h 3923699"/>
              <a:gd name="connsiteX26" fmla="*/ 0 w 1489775"/>
              <a:gd name="connsiteY26" fmla="*/ 1390678 h 3923699"/>
              <a:gd name="connsiteX27" fmla="*/ 0 w 1489775"/>
              <a:gd name="connsiteY27" fmla="*/ 1030958 h 3923699"/>
              <a:gd name="connsiteX28" fmla="*/ 280204 w 1489775"/>
              <a:gd name="connsiteY28" fmla="*/ 750754 h 3923699"/>
              <a:gd name="connsiteX29" fmla="*/ 744888 w 1489775"/>
              <a:gd name="connsiteY29" fmla="*/ 0 h 3923699"/>
              <a:gd name="connsiteX30" fmla="*/ 1082199 w 1489775"/>
              <a:gd name="connsiteY30" fmla="*/ 337311 h 3923699"/>
              <a:gd name="connsiteX31" fmla="*/ 744888 w 1489775"/>
              <a:gd name="connsiteY31" fmla="*/ 674622 h 3923699"/>
              <a:gd name="connsiteX32" fmla="*/ 407577 w 1489775"/>
              <a:gd name="connsiteY32" fmla="*/ 337311 h 3923699"/>
              <a:gd name="connsiteX33" fmla="*/ 744888 w 1489775"/>
              <a:gd name="connsiteY33" fmla="*/ 0 h 3923699"/>
              <a:gd name="connsiteX0" fmla="*/ 280204 w 1489775"/>
              <a:gd name="connsiteY0" fmla="*/ 750754 h 3923699"/>
              <a:gd name="connsiteX1" fmla="*/ 1209570 w 1489775"/>
              <a:gd name="connsiteY1" fmla="*/ 750754 h 3923699"/>
              <a:gd name="connsiteX2" fmla="*/ 1489774 w 1489775"/>
              <a:gd name="connsiteY2" fmla="*/ 1030958 h 3923699"/>
              <a:gd name="connsiteX3" fmla="*/ 1489774 w 1489775"/>
              <a:gd name="connsiteY3" fmla="*/ 1293518 h 3923699"/>
              <a:gd name="connsiteX4" fmla="*/ 1489775 w 1489775"/>
              <a:gd name="connsiteY4" fmla="*/ 1293518 h 3923699"/>
              <a:gd name="connsiteX5" fmla="*/ 1489775 w 1489775"/>
              <a:gd name="connsiteY5" fmla="*/ 2063902 h 3923699"/>
              <a:gd name="connsiteX6" fmla="*/ 1345759 w 1489775"/>
              <a:gd name="connsiteY6" fmla="*/ 2207918 h 3923699"/>
              <a:gd name="connsiteX7" fmla="*/ 1201743 w 1489775"/>
              <a:gd name="connsiteY7" fmla="*/ 2063902 h 3923699"/>
              <a:gd name="connsiteX8" fmla="*/ 1201743 w 1489775"/>
              <a:gd name="connsiteY8" fmla="*/ 1390678 h 3923699"/>
              <a:gd name="connsiteX9" fmla="*/ 1158887 w 1489775"/>
              <a:gd name="connsiteY9" fmla="*/ 1390678 h 3923699"/>
              <a:gd name="connsiteX10" fmla="*/ 1151853 w 1489775"/>
              <a:gd name="connsiteY10" fmla="*/ 3743699 h 3923699"/>
              <a:gd name="connsiteX11" fmla="*/ 971853 w 1489775"/>
              <a:gd name="connsiteY11" fmla="*/ 3923699 h 3923699"/>
              <a:gd name="connsiteX12" fmla="*/ 791853 w 1489775"/>
              <a:gd name="connsiteY12" fmla="*/ 3743699 h 3923699"/>
              <a:gd name="connsiteX13" fmla="*/ 791853 w 1489775"/>
              <a:gd name="connsiteY13" fmla="*/ 2305078 h 3923699"/>
              <a:gd name="connsiteX14" fmla="*/ 683854 w 1489775"/>
              <a:gd name="connsiteY14" fmla="*/ 2305078 h 3923699"/>
              <a:gd name="connsiteX15" fmla="*/ 683854 w 1489775"/>
              <a:gd name="connsiteY15" fmla="*/ 3743698 h 3923699"/>
              <a:gd name="connsiteX16" fmla="*/ 503854 w 1489775"/>
              <a:gd name="connsiteY16" fmla="*/ 3923698 h 3923699"/>
              <a:gd name="connsiteX17" fmla="*/ 323854 w 1489775"/>
              <a:gd name="connsiteY17" fmla="*/ 3743698 h 3923699"/>
              <a:gd name="connsiteX18" fmla="*/ 323854 w 1489775"/>
              <a:gd name="connsiteY18" fmla="*/ 2238914 h 3923699"/>
              <a:gd name="connsiteX19" fmla="*/ 330887 w 1489775"/>
              <a:gd name="connsiteY19" fmla="*/ 1390678 h 3923699"/>
              <a:gd name="connsiteX20" fmla="*/ 288033 w 1489775"/>
              <a:gd name="connsiteY20" fmla="*/ 1390678 h 3923699"/>
              <a:gd name="connsiteX21" fmla="*/ 288033 w 1489775"/>
              <a:gd name="connsiteY21" fmla="*/ 2063902 h 3923699"/>
              <a:gd name="connsiteX22" fmla="*/ 144017 w 1489775"/>
              <a:gd name="connsiteY22" fmla="*/ 2207918 h 3923699"/>
              <a:gd name="connsiteX23" fmla="*/ 1 w 1489775"/>
              <a:gd name="connsiteY23" fmla="*/ 2063902 h 3923699"/>
              <a:gd name="connsiteX24" fmla="*/ 1 w 1489775"/>
              <a:gd name="connsiteY24" fmla="*/ 1390678 h 3923699"/>
              <a:gd name="connsiteX25" fmla="*/ 0 w 1489775"/>
              <a:gd name="connsiteY25" fmla="*/ 1390678 h 3923699"/>
              <a:gd name="connsiteX26" fmla="*/ 0 w 1489775"/>
              <a:gd name="connsiteY26" fmla="*/ 1030958 h 3923699"/>
              <a:gd name="connsiteX27" fmla="*/ 280204 w 1489775"/>
              <a:gd name="connsiteY27" fmla="*/ 750754 h 3923699"/>
              <a:gd name="connsiteX28" fmla="*/ 744888 w 1489775"/>
              <a:gd name="connsiteY28" fmla="*/ 0 h 3923699"/>
              <a:gd name="connsiteX29" fmla="*/ 1082199 w 1489775"/>
              <a:gd name="connsiteY29" fmla="*/ 337311 h 3923699"/>
              <a:gd name="connsiteX30" fmla="*/ 744888 w 1489775"/>
              <a:gd name="connsiteY30" fmla="*/ 674622 h 3923699"/>
              <a:gd name="connsiteX31" fmla="*/ 407577 w 1489775"/>
              <a:gd name="connsiteY31" fmla="*/ 337311 h 3923699"/>
              <a:gd name="connsiteX32" fmla="*/ 744888 w 1489775"/>
              <a:gd name="connsiteY32" fmla="*/ 0 h 3923699"/>
              <a:gd name="connsiteX0" fmla="*/ 280204 w 1489775"/>
              <a:gd name="connsiteY0" fmla="*/ 750754 h 3923699"/>
              <a:gd name="connsiteX1" fmla="*/ 1209570 w 1489775"/>
              <a:gd name="connsiteY1" fmla="*/ 750754 h 3923699"/>
              <a:gd name="connsiteX2" fmla="*/ 1489774 w 1489775"/>
              <a:gd name="connsiteY2" fmla="*/ 1030958 h 3923699"/>
              <a:gd name="connsiteX3" fmla="*/ 1489774 w 1489775"/>
              <a:gd name="connsiteY3" fmla="*/ 1293518 h 3923699"/>
              <a:gd name="connsiteX4" fmla="*/ 1489775 w 1489775"/>
              <a:gd name="connsiteY4" fmla="*/ 1293518 h 3923699"/>
              <a:gd name="connsiteX5" fmla="*/ 1489775 w 1489775"/>
              <a:gd name="connsiteY5" fmla="*/ 2063902 h 3923699"/>
              <a:gd name="connsiteX6" fmla="*/ 1345759 w 1489775"/>
              <a:gd name="connsiteY6" fmla="*/ 2207918 h 3923699"/>
              <a:gd name="connsiteX7" fmla="*/ 1201743 w 1489775"/>
              <a:gd name="connsiteY7" fmla="*/ 2063902 h 3923699"/>
              <a:gd name="connsiteX8" fmla="*/ 1201743 w 1489775"/>
              <a:gd name="connsiteY8" fmla="*/ 1390678 h 3923699"/>
              <a:gd name="connsiteX9" fmla="*/ 1158887 w 1489775"/>
              <a:gd name="connsiteY9" fmla="*/ 1390678 h 3923699"/>
              <a:gd name="connsiteX10" fmla="*/ 1151853 w 1489775"/>
              <a:gd name="connsiteY10" fmla="*/ 3743699 h 3923699"/>
              <a:gd name="connsiteX11" fmla="*/ 971853 w 1489775"/>
              <a:gd name="connsiteY11" fmla="*/ 3923699 h 3923699"/>
              <a:gd name="connsiteX12" fmla="*/ 791853 w 1489775"/>
              <a:gd name="connsiteY12" fmla="*/ 3743699 h 3923699"/>
              <a:gd name="connsiteX13" fmla="*/ 791853 w 1489775"/>
              <a:gd name="connsiteY13" fmla="*/ 2305078 h 3923699"/>
              <a:gd name="connsiteX14" fmla="*/ 683854 w 1489775"/>
              <a:gd name="connsiteY14" fmla="*/ 2305078 h 3923699"/>
              <a:gd name="connsiteX15" fmla="*/ 683854 w 1489775"/>
              <a:gd name="connsiteY15" fmla="*/ 3743698 h 3923699"/>
              <a:gd name="connsiteX16" fmla="*/ 503854 w 1489775"/>
              <a:gd name="connsiteY16" fmla="*/ 3923698 h 3923699"/>
              <a:gd name="connsiteX17" fmla="*/ 323854 w 1489775"/>
              <a:gd name="connsiteY17" fmla="*/ 3743698 h 3923699"/>
              <a:gd name="connsiteX18" fmla="*/ 330887 w 1489775"/>
              <a:gd name="connsiteY18" fmla="*/ 1390678 h 3923699"/>
              <a:gd name="connsiteX19" fmla="*/ 288033 w 1489775"/>
              <a:gd name="connsiteY19" fmla="*/ 1390678 h 3923699"/>
              <a:gd name="connsiteX20" fmla="*/ 288033 w 1489775"/>
              <a:gd name="connsiteY20" fmla="*/ 2063902 h 3923699"/>
              <a:gd name="connsiteX21" fmla="*/ 144017 w 1489775"/>
              <a:gd name="connsiteY21" fmla="*/ 2207918 h 3923699"/>
              <a:gd name="connsiteX22" fmla="*/ 1 w 1489775"/>
              <a:gd name="connsiteY22" fmla="*/ 2063902 h 3923699"/>
              <a:gd name="connsiteX23" fmla="*/ 1 w 1489775"/>
              <a:gd name="connsiteY23" fmla="*/ 1390678 h 3923699"/>
              <a:gd name="connsiteX24" fmla="*/ 0 w 1489775"/>
              <a:gd name="connsiteY24" fmla="*/ 1390678 h 3923699"/>
              <a:gd name="connsiteX25" fmla="*/ 0 w 1489775"/>
              <a:gd name="connsiteY25" fmla="*/ 1030958 h 3923699"/>
              <a:gd name="connsiteX26" fmla="*/ 280204 w 1489775"/>
              <a:gd name="connsiteY26" fmla="*/ 750754 h 3923699"/>
              <a:gd name="connsiteX27" fmla="*/ 744888 w 1489775"/>
              <a:gd name="connsiteY27" fmla="*/ 0 h 3923699"/>
              <a:gd name="connsiteX28" fmla="*/ 1082199 w 1489775"/>
              <a:gd name="connsiteY28" fmla="*/ 337311 h 3923699"/>
              <a:gd name="connsiteX29" fmla="*/ 744888 w 1489775"/>
              <a:gd name="connsiteY29" fmla="*/ 674622 h 3923699"/>
              <a:gd name="connsiteX30" fmla="*/ 407577 w 1489775"/>
              <a:gd name="connsiteY30" fmla="*/ 337311 h 3923699"/>
              <a:gd name="connsiteX31" fmla="*/ 744888 w 1489775"/>
              <a:gd name="connsiteY31" fmla="*/ 0 h 3923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1489775" h="3923699">
                <a:moveTo>
                  <a:pt x="280204" y="750754"/>
                </a:moveTo>
                <a:lnTo>
                  <a:pt x="1209570" y="750754"/>
                </a:lnTo>
                <a:cubicBezTo>
                  <a:pt x="1364322" y="750754"/>
                  <a:pt x="1489774" y="876206"/>
                  <a:pt x="1489774" y="1030958"/>
                </a:cubicBezTo>
                <a:lnTo>
                  <a:pt x="1489774" y="1293518"/>
                </a:lnTo>
                <a:lnTo>
                  <a:pt x="1489775" y="1293518"/>
                </a:lnTo>
                <a:lnTo>
                  <a:pt x="1489775" y="2063902"/>
                </a:lnTo>
                <a:cubicBezTo>
                  <a:pt x="1489775" y="2143440"/>
                  <a:pt x="1425297" y="2207918"/>
                  <a:pt x="1345759" y="2207918"/>
                </a:cubicBezTo>
                <a:cubicBezTo>
                  <a:pt x="1266221" y="2207918"/>
                  <a:pt x="1201743" y="2143440"/>
                  <a:pt x="1201743" y="2063902"/>
                </a:cubicBezTo>
                <a:lnTo>
                  <a:pt x="1201743" y="1390678"/>
                </a:lnTo>
                <a:lnTo>
                  <a:pt x="1158887" y="1390678"/>
                </a:lnTo>
                <a:cubicBezTo>
                  <a:pt x="1156542" y="2175018"/>
                  <a:pt x="1154198" y="2959359"/>
                  <a:pt x="1151853" y="3743699"/>
                </a:cubicBezTo>
                <a:cubicBezTo>
                  <a:pt x="1151853" y="3843110"/>
                  <a:pt x="1071264" y="3923699"/>
                  <a:pt x="971853" y="3923699"/>
                </a:cubicBezTo>
                <a:cubicBezTo>
                  <a:pt x="872442" y="3923699"/>
                  <a:pt x="791853" y="3843110"/>
                  <a:pt x="791853" y="3743699"/>
                </a:cubicBezTo>
                <a:lnTo>
                  <a:pt x="791853" y="2305078"/>
                </a:lnTo>
                <a:lnTo>
                  <a:pt x="683854" y="2305078"/>
                </a:lnTo>
                <a:lnTo>
                  <a:pt x="683854" y="3743698"/>
                </a:lnTo>
                <a:cubicBezTo>
                  <a:pt x="683854" y="3843109"/>
                  <a:pt x="603265" y="3923698"/>
                  <a:pt x="503854" y="3923698"/>
                </a:cubicBezTo>
                <a:cubicBezTo>
                  <a:pt x="404443" y="3923698"/>
                  <a:pt x="323854" y="3843109"/>
                  <a:pt x="323854" y="3743698"/>
                </a:cubicBezTo>
                <a:cubicBezTo>
                  <a:pt x="326198" y="2959358"/>
                  <a:pt x="328543" y="2175018"/>
                  <a:pt x="330887" y="1390678"/>
                </a:cubicBezTo>
                <a:lnTo>
                  <a:pt x="288033" y="1390678"/>
                </a:lnTo>
                <a:lnTo>
                  <a:pt x="288033" y="2063902"/>
                </a:lnTo>
                <a:cubicBezTo>
                  <a:pt x="288033" y="2143440"/>
                  <a:pt x="223555" y="2207918"/>
                  <a:pt x="144017" y="2207918"/>
                </a:cubicBezTo>
                <a:cubicBezTo>
                  <a:pt x="64479" y="2207918"/>
                  <a:pt x="1" y="2143440"/>
                  <a:pt x="1" y="2063902"/>
                </a:cubicBezTo>
                <a:lnTo>
                  <a:pt x="1" y="1390678"/>
                </a:lnTo>
                <a:lnTo>
                  <a:pt x="0" y="1390678"/>
                </a:lnTo>
                <a:lnTo>
                  <a:pt x="0" y="1030958"/>
                </a:lnTo>
                <a:cubicBezTo>
                  <a:pt x="0" y="876206"/>
                  <a:pt x="125452" y="750754"/>
                  <a:pt x="280204" y="750754"/>
                </a:cubicBezTo>
                <a:close/>
                <a:moveTo>
                  <a:pt x="744888" y="0"/>
                </a:moveTo>
                <a:cubicBezTo>
                  <a:pt x="931180" y="0"/>
                  <a:pt x="1082199" y="151019"/>
                  <a:pt x="1082199" y="337311"/>
                </a:cubicBezTo>
                <a:cubicBezTo>
                  <a:pt x="1082199" y="523603"/>
                  <a:pt x="931180" y="674622"/>
                  <a:pt x="744888" y="674622"/>
                </a:cubicBezTo>
                <a:cubicBezTo>
                  <a:pt x="558596" y="674622"/>
                  <a:pt x="407577" y="523603"/>
                  <a:pt x="407577" y="337311"/>
                </a:cubicBezTo>
                <a:cubicBezTo>
                  <a:pt x="407577" y="151019"/>
                  <a:pt x="558596" y="0"/>
                  <a:pt x="744888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87" name="Round Same Side Corner Rectangle 20">
            <a:extLst>
              <a:ext uri="{FF2B5EF4-FFF2-40B4-BE49-F238E27FC236}">
                <a16:creationId xmlns:a16="http://schemas.microsoft.com/office/drawing/2014/main" id="{64493E6A-B33B-4279-A44A-DC445D86772A}"/>
              </a:ext>
            </a:extLst>
          </p:cNvPr>
          <p:cNvSpPr/>
          <p:nvPr/>
        </p:nvSpPr>
        <p:spPr>
          <a:xfrm rot="10800000">
            <a:off x="5042893" y="1447239"/>
            <a:ext cx="313136" cy="667981"/>
          </a:xfrm>
          <a:custGeom>
            <a:avLst/>
            <a:gdLst>
              <a:gd name="connsiteX0" fmla="*/ 1228565 w 1856332"/>
              <a:gd name="connsiteY0" fmla="*/ 3214674 h 3959924"/>
              <a:gd name="connsiteX1" fmla="*/ 622681 w 1856332"/>
              <a:gd name="connsiteY1" fmla="*/ 3214674 h 3959924"/>
              <a:gd name="connsiteX2" fmla="*/ 521281 w 1856332"/>
              <a:gd name="connsiteY2" fmla="*/ 3174669 h 3959924"/>
              <a:gd name="connsiteX3" fmla="*/ 466697 w 1856332"/>
              <a:gd name="connsiteY3" fmla="*/ 3144149 h 3959924"/>
              <a:gd name="connsiteX4" fmla="*/ 8303 w 1856332"/>
              <a:gd name="connsiteY4" fmla="*/ 1942070 h 3959924"/>
              <a:gd name="connsiteX5" fmla="*/ 81139 w 1856332"/>
              <a:gd name="connsiteY5" fmla="*/ 1779444 h 3959924"/>
              <a:gd name="connsiteX6" fmla="*/ 243764 w 1856332"/>
              <a:gd name="connsiteY6" fmla="*/ 1852280 h 3959924"/>
              <a:gd name="connsiteX7" fmla="*/ 504770 w 1856332"/>
              <a:gd name="connsiteY7" fmla="*/ 2536736 h 3959924"/>
              <a:gd name="connsiteX8" fmla="*/ 555637 w 1856332"/>
              <a:gd name="connsiteY8" fmla="*/ 2536736 h 3959924"/>
              <a:gd name="connsiteX9" fmla="*/ 226299 w 1856332"/>
              <a:gd name="connsiteY9" fmla="*/ 1210417 h 3959924"/>
              <a:gd name="connsiteX10" fmla="*/ 551784 w 1856332"/>
              <a:gd name="connsiteY10" fmla="*/ 1210417 h 3959924"/>
              <a:gd name="connsiteX11" fmla="*/ 551784 w 1856332"/>
              <a:gd name="connsiteY11" fmla="*/ 168335 h 3959924"/>
              <a:gd name="connsiteX12" fmla="*/ 720119 w 1856332"/>
              <a:gd name="connsiteY12" fmla="*/ 0 h 3959924"/>
              <a:gd name="connsiteX13" fmla="*/ 888454 w 1856332"/>
              <a:gd name="connsiteY13" fmla="*/ 168335 h 3959924"/>
              <a:gd name="connsiteX14" fmla="*/ 888454 w 1856332"/>
              <a:gd name="connsiteY14" fmla="*/ 1210417 h 3959924"/>
              <a:gd name="connsiteX15" fmla="*/ 968040 w 1856332"/>
              <a:gd name="connsiteY15" fmla="*/ 1210417 h 3959924"/>
              <a:gd name="connsiteX16" fmla="*/ 968040 w 1856332"/>
              <a:gd name="connsiteY16" fmla="*/ 168335 h 3959924"/>
              <a:gd name="connsiteX17" fmla="*/ 1136375 w 1856332"/>
              <a:gd name="connsiteY17" fmla="*/ 0 h 3959924"/>
              <a:gd name="connsiteX18" fmla="*/ 1304710 w 1856332"/>
              <a:gd name="connsiteY18" fmla="*/ 168335 h 3959924"/>
              <a:gd name="connsiteX19" fmla="*/ 1304710 w 1856332"/>
              <a:gd name="connsiteY19" fmla="*/ 1210417 h 3959924"/>
              <a:gd name="connsiteX20" fmla="*/ 1631589 w 1856332"/>
              <a:gd name="connsiteY20" fmla="*/ 1210417 h 3959924"/>
              <a:gd name="connsiteX21" fmla="*/ 1302251 w 1856332"/>
              <a:gd name="connsiteY21" fmla="*/ 2536736 h 3959924"/>
              <a:gd name="connsiteX22" fmla="*/ 1351562 w 1856332"/>
              <a:gd name="connsiteY22" fmla="*/ 2536736 h 3959924"/>
              <a:gd name="connsiteX23" fmla="*/ 1612568 w 1856332"/>
              <a:gd name="connsiteY23" fmla="*/ 1852280 h 3959924"/>
              <a:gd name="connsiteX24" fmla="*/ 1775193 w 1856332"/>
              <a:gd name="connsiteY24" fmla="*/ 1779444 h 3959924"/>
              <a:gd name="connsiteX25" fmla="*/ 1848029 w 1856332"/>
              <a:gd name="connsiteY25" fmla="*/ 1942070 h 3959924"/>
              <a:gd name="connsiteX26" fmla="*/ 1389635 w 1856332"/>
              <a:gd name="connsiteY26" fmla="*/ 3144149 h 3959924"/>
              <a:gd name="connsiteX27" fmla="*/ 1344732 w 1856332"/>
              <a:gd name="connsiteY27" fmla="*/ 3176282 h 3959924"/>
              <a:gd name="connsiteX28" fmla="*/ 1228565 w 1856332"/>
              <a:gd name="connsiteY28" fmla="*/ 3214674 h 3959924"/>
              <a:gd name="connsiteX29" fmla="*/ 925623 w 1856332"/>
              <a:gd name="connsiteY29" fmla="*/ 3959924 h 3959924"/>
              <a:gd name="connsiteX30" fmla="*/ 601623 w 1856332"/>
              <a:gd name="connsiteY30" fmla="*/ 3635924 h 3959924"/>
              <a:gd name="connsiteX31" fmla="*/ 925623 w 1856332"/>
              <a:gd name="connsiteY31" fmla="*/ 3311924 h 3959924"/>
              <a:gd name="connsiteX32" fmla="*/ 1249623 w 1856332"/>
              <a:gd name="connsiteY32" fmla="*/ 3635924 h 3959924"/>
              <a:gd name="connsiteX33" fmla="*/ 925623 w 1856332"/>
              <a:gd name="connsiteY33" fmla="*/ 3959924 h 3959924"/>
              <a:gd name="connsiteX0" fmla="*/ 1228565 w 1856332"/>
              <a:gd name="connsiteY0" fmla="*/ 3214674 h 3959924"/>
              <a:gd name="connsiteX1" fmla="*/ 622681 w 1856332"/>
              <a:gd name="connsiteY1" fmla="*/ 3214674 h 3959924"/>
              <a:gd name="connsiteX2" fmla="*/ 466697 w 1856332"/>
              <a:gd name="connsiteY2" fmla="*/ 3144149 h 3959924"/>
              <a:gd name="connsiteX3" fmla="*/ 8303 w 1856332"/>
              <a:gd name="connsiteY3" fmla="*/ 1942070 h 3959924"/>
              <a:gd name="connsiteX4" fmla="*/ 81139 w 1856332"/>
              <a:gd name="connsiteY4" fmla="*/ 1779444 h 3959924"/>
              <a:gd name="connsiteX5" fmla="*/ 243764 w 1856332"/>
              <a:gd name="connsiteY5" fmla="*/ 1852280 h 3959924"/>
              <a:gd name="connsiteX6" fmla="*/ 504770 w 1856332"/>
              <a:gd name="connsiteY6" fmla="*/ 2536736 h 3959924"/>
              <a:gd name="connsiteX7" fmla="*/ 555637 w 1856332"/>
              <a:gd name="connsiteY7" fmla="*/ 2536736 h 3959924"/>
              <a:gd name="connsiteX8" fmla="*/ 226299 w 1856332"/>
              <a:gd name="connsiteY8" fmla="*/ 1210417 h 3959924"/>
              <a:gd name="connsiteX9" fmla="*/ 551784 w 1856332"/>
              <a:gd name="connsiteY9" fmla="*/ 1210417 h 3959924"/>
              <a:gd name="connsiteX10" fmla="*/ 551784 w 1856332"/>
              <a:gd name="connsiteY10" fmla="*/ 168335 h 3959924"/>
              <a:gd name="connsiteX11" fmla="*/ 720119 w 1856332"/>
              <a:gd name="connsiteY11" fmla="*/ 0 h 3959924"/>
              <a:gd name="connsiteX12" fmla="*/ 888454 w 1856332"/>
              <a:gd name="connsiteY12" fmla="*/ 168335 h 3959924"/>
              <a:gd name="connsiteX13" fmla="*/ 888454 w 1856332"/>
              <a:gd name="connsiteY13" fmla="*/ 1210417 h 3959924"/>
              <a:gd name="connsiteX14" fmla="*/ 968040 w 1856332"/>
              <a:gd name="connsiteY14" fmla="*/ 1210417 h 3959924"/>
              <a:gd name="connsiteX15" fmla="*/ 968040 w 1856332"/>
              <a:gd name="connsiteY15" fmla="*/ 168335 h 3959924"/>
              <a:gd name="connsiteX16" fmla="*/ 1136375 w 1856332"/>
              <a:gd name="connsiteY16" fmla="*/ 0 h 3959924"/>
              <a:gd name="connsiteX17" fmla="*/ 1304710 w 1856332"/>
              <a:gd name="connsiteY17" fmla="*/ 168335 h 3959924"/>
              <a:gd name="connsiteX18" fmla="*/ 1304710 w 1856332"/>
              <a:gd name="connsiteY18" fmla="*/ 1210417 h 3959924"/>
              <a:gd name="connsiteX19" fmla="*/ 1631589 w 1856332"/>
              <a:gd name="connsiteY19" fmla="*/ 1210417 h 3959924"/>
              <a:gd name="connsiteX20" fmla="*/ 1302251 w 1856332"/>
              <a:gd name="connsiteY20" fmla="*/ 2536736 h 3959924"/>
              <a:gd name="connsiteX21" fmla="*/ 1351562 w 1856332"/>
              <a:gd name="connsiteY21" fmla="*/ 2536736 h 3959924"/>
              <a:gd name="connsiteX22" fmla="*/ 1612568 w 1856332"/>
              <a:gd name="connsiteY22" fmla="*/ 1852280 h 3959924"/>
              <a:gd name="connsiteX23" fmla="*/ 1775193 w 1856332"/>
              <a:gd name="connsiteY23" fmla="*/ 1779444 h 3959924"/>
              <a:gd name="connsiteX24" fmla="*/ 1848029 w 1856332"/>
              <a:gd name="connsiteY24" fmla="*/ 1942070 h 3959924"/>
              <a:gd name="connsiteX25" fmla="*/ 1389635 w 1856332"/>
              <a:gd name="connsiteY25" fmla="*/ 3144149 h 3959924"/>
              <a:gd name="connsiteX26" fmla="*/ 1344732 w 1856332"/>
              <a:gd name="connsiteY26" fmla="*/ 3176282 h 3959924"/>
              <a:gd name="connsiteX27" fmla="*/ 1228565 w 1856332"/>
              <a:gd name="connsiteY27" fmla="*/ 3214674 h 3959924"/>
              <a:gd name="connsiteX28" fmla="*/ 925623 w 1856332"/>
              <a:gd name="connsiteY28" fmla="*/ 3959924 h 3959924"/>
              <a:gd name="connsiteX29" fmla="*/ 601623 w 1856332"/>
              <a:gd name="connsiteY29" fmla="*/ 3635924 h 3959924"/>
              <a:gd name="connsiteX30" fmla="*/ 925623 w 1856332"/>
              <a:gd name="connsiteY30" fmla="*/ 3311924 h 3959924"/>
              <a:gd name="connsiteX31" fmla="*/ 1249623 w 1856332"/>
              <a:gd name="connsiteY31" fmla="*/ 3635924 h 3959924"/>
              <a:gd name="connsiteX32" fmla="*/ 925623 w 1856332"/>
              <a:gd name="connsiteY32" fmla="*/ 3959924 h 3959924"/>
              <a:gd name="connsiteX0" fmla="*/ 1228565 w 1856332"/>
              <a:gd name="connsiteY0" fmla="*/ 3214674 h 3959924"/>
              <a:gd name="connsiteX1" fmla="*/ 622681 w 1856332"/>
              <a:gd name="connsiteY1" fmla="*/ 3214674 h 3959924"/>
              <a:gd name="connsiteX2" fmla="*/ 466697 w 1856332"/>
              <a:gd name="connsiteY2" fmla="*/ 3144149 h 3959924"/>
              <a:gd name="connsiteX3" fmla="*/ 8303 w 1856332"/>
              <a:gd name="connsiteY3" fmla="*/ 1942070 h 3959924"/>
              <a:gd name="connsiteX4" fmla="*/ 81139 w 1856332"/>
              <a:gd name="connsiteY4" fmla="*/ 1779444 h 3959924"/>
              <a:gd name="connsiteX5" fmla="*/ 243764 w 1856332"/>
              <a:gd name="connsiteY5" fmla="*/ 1852280 h 3959924"/>
              <a:gd name="connsiteX6" fmla="*/ 504770 w 1856332"/>
              <a:gd name="connsiteY6" fmla="*/ 2536736 h 3959924"/>
              <a:gd name="connsiteX7" fmla="*/ 555637 w 1856332"/>
              <a:gd name="connsiteY7" fmla="*/ 2536736 h 3959924"/>
              <a:gd name="connsiteX8" fmla="*/ 226299 w 1856332"/>
              <a:gd name="connsiteY8" fmla="*/ 1210417 h 3959924"/>
              <a:gd name="connsiteX9" fmla="*/ 551784 w 1856332"/>
              <a:gd name="connsiteY9" fmla="*/ 1210417 h 3959924"/>
              <a:gd name="connsiteX10" fmla="*/ 551784 w 1856332"/>
              <a:gd name="connsiteY10" fmla="*/ 168335 h 3959924"/>
              <a:gd name="connsiteX11" fmla="*/ 720119 w 1856332"/>
              <a:gd name="connsiteY11" fmla="*/ 0 h 3959924"/>
              <a:gd name="connsiteX12" fmla="*/ 888454 w 1856332"/>
              <a:gd name="connsiteY12" fmla="*/ 168335 h 3959924"/>
              <a:gd name="connsiteX13" fmla="*/ 888454 w 1856332"/>
              <a:gd name="connsiteY13" fmla="*/ 1210417 h 3959924"/>
              <a:gd name="connsiteX14" fmla="*/ 968040 w 1856332"/>
              <a:gd name="connsiteY14" fmla="*/ 1210417 h 3959924"/>
              <a:gd name="connsiteX15" fmla="*/ 968040 w 1856332"/>
              <a:gd name="connsiteY15" fmla="*/ 168335 h 3959924"/>
              <a:gd name="connsiteX16" fmla="*/ 1136375 w 1856332"/>
              <a:gd name="connsiteY16" fmla="*/ 0 h 3959924"/>
              <a:gd name="connsiteX17" fmla="*/ 1304710 w 1856332"/>
              <a:gd name="connsiteY17" fmla="*/ 168335 h 3959924"/>
              <a:gd name="connsiteX18" fmla="*/ 1304710 w 1856332"/>
              <a:gd name="connsiteY18" fmla="*/ 1210417 h 3959924"/>
              <a:gd name="connsiteX19" fmla="*/ 1631589 w 1856332"/>
              <a:gd name="connsiteY19" fmla="*/ 1210417 h 3959924"/>
              <a:gd name="connsiteX20" fmla="*/ 1302251 w 1856332"/>
              <a:gd name="connsiteY20" fmla="*/ 2536736 h 3959924"/>
              <a:gd name="connsiteX21" fmla="*/ 1351562 w 1856332"/>
              <a:gd name="connsiteY21" fmla="*/ 2536736 h 3959924"/>
              <a:gd name="connsiteX22" fmla="*/ 1612568 w 1856332"/>
              <a:gd name="connsiteY22" fmla="*/ 1852280 h 3959924"/>
              <a:gd name="connsiteX23" fmla="*/ 1775193 w 1856332"/>
              <a:gd name="connsiteY23" fmla="*/ 1779444 h 3959924"/>
              <a:gd name="connsiteX24" fmla="*/ 1848029 w 1856332"/>
              <a:gd name="connsiteY24" fmla="*/ 1942070 h 3959924"/>
              <a:gd name="connsiteX25" fmla="*/ 1389635 w 1856332"/>
              <a:gd name="connsiteY25" fmla="*/ 3144149 h 3959924"/>
              <a:gd name="connsiteX26" fmla="*/ 1344732 w 1856332"/>
              <a:gd name="connsiteY26" fmla="*/ 3176282 h 3959924"/>
              <a:gd name="connsiteX27" fmla="*/ 1228565 w 1856332"/>
              <a:gd name="connsiteY27" fmla="*/ 3214674 h 3959924"/>
              <a:gd name="connsiteX28" fmla="*/ 925623 w 1856332"/>
              <a:gd name="connsiteY28" fmla="*/ 3959924 h 3959924"/>
              <a:gd name="connsiteX29" fmla="*/ 601623 w 1856332"/>
              <a:gd name="connsiteY29" fmla="*/ 3635924 h 3959924"/>
              <a:gd name="connsiteX30" fmla="*/ 925623 w 1856332"/>
              <a:gd name="connsiteY30" fmla="*/ 3311924 h 3959924"/>
              <a:gd name="connsiteX31" fmla="*/ 1249623 w 1856332"/>
              <a:gd name="connsiteY31" fmla="*/ 3635924 h 3959924"/>
              <a:gd name="connsiteX32" fmla="*/ 925623 w 1856332"/>
              <a:gd name="connsiteY32" fmla="*/ 3959924 h 3959924"/>
              <a:gd name="connsiteX0" fmla="*/ 1228565 w 1856332"/>
              <a:gd name="connsiteY0" fmla="*/ 3214674 h 3959924"/>
              <a:gd name="connsiteX1" fmla="*/ 622681 w 1856332"/>
              <a:gd name="connsiteY1" fmla="*/ 3214674 h 3959924"/>
              <a:gd name="connsiteX2" fmla="*/ 466697 w 1856332"/>
              <a:gd name="connsiteY2" fmla="*/ 3144149 h 3959924"/>
              <a:gd name="connsiteX3" fmla="*/ 8303 w 1856332"/>
              <a:gd name="connsiteY3" fmla="*/ 1942070 h 3959924"/>
              <a:gd name="connsiteX4" fmla="*/ 81139 w 1856332"/>
              <a:gd name="connsiteY4" fmla="*/ 1779444 h 3959924"/>
              <a:gd name="connsiteX5" fmla="*/ 243764 w 1856332"/>
              <a:gd name="connsiteY5" fmla="*/ 1852280 h 3959924"/>
              <a:gd name="connsiteX6" fmla="*/ 504770 w 1856332"/>
              <a:gd name="connsiteY6" fmla="*/ 2536736 h 3959924"/>
              <a:gd name="connsiteX7" fmla="*/ 555637 w 1856332"/>
              <a:gd name="connsiteY7" fmla="*/ 2536736 h 3959924"/>
              <a:gd name="connsiteX8" fmla="*/ 226299 w 1856332"/>
              <a:gd name="connsiteY8" fmla="*/ 1210417 h 3959924"/>
              <a:gd name="connsiteX9" fmla="*/ 551784 w 1856332"/>
              <a:gd name="connsiteY9" fmla="*/ 1210417 h 3959924"/>
              <a:gd name="connsiteX10" fmla="*/ 551784 w 1856332"/>
              <a:gd name="connsiteY10" fmla="*/ 168335 h 3959924"/>
              <a:gd name="connsiteX11" fmla="*/ 720119 w 1856332"/>
              <a:gd name="connsiteY11" fmla="*/ 0 h 3959924"/>
              <a:gd name="connsiteX12" fmla="*/ 888454 w 1856332"/>
              <a:gd name="connsiteY12" fmla="*/ 168335 h 3959924"/>
              <a:gd name="connsiteX13" fmla="*/ 888454 w 1856332"/>
              <a:gd name="connsiteY13" fmla="*/ 1210417 h 3959924"/>
              <a:gd name="connsiteX14" fmla="*/ 968040 w 1856332"/>
              <a:gd name="connsiteY14" fmla="*/ 1210417 h 3959924"/>
              <a:gd name="connsiteX15" fmla="*/ 968040 w 1856332"/>
              <a:gd name="connsiteY15" fmla="*/ 168335 h 3959924"/>
              <a:gd name="connsiteX16" fmla="*/ 1136375 w 1856332"/>
              <a:gd name="connsiteY16" fmla="*/ 0 h 3959924"/>
              <a:gd name="connsiteX17" fmla="*/ 1304710 w 1856332"/>
              <a:gd name="connsiteY17" fmla="*/ 168335 h 3959924"/>
              <a:gd name="connsiteX18" fmla="*/ 1304710 w 1856332"/>
              <a:gd name="connsiteY18" fmla="*/ 1210417 h 3959924"/>
              <a:gd name="connsiteX19" fmla="*/ 1631589 w 1856332"/>
              <a:gd name="connsiteY19" fmla="*/ 1210417 h 3959924"/>
              <a:gd name="connsiteX20" fmla="*/ 1302251 w 1856332"/>
              <a:gd name="connsiteY20" fmla="*/ 2536736 h 3959924"/>
              <a:gd name="connsiteX21" fmla="*/ 1351562 w 1856332"/>
              <a:gd name="connsiteY21" fmla="*/ 2536736 h 3959924"/>
              <a:gd name="connsiteX22" fmla="*/ 1612568 w 1856332"/>
              <a:gd name="connsiteY22" fmla="*/ 1852280 h 3959924"/>
              <a:gd name="connsiteX23" fmla="*/ 1775193 w 1856332"/>
              <a:gd name="connsiteY23" fmla="*/ 1779444 h 3959924"/>
              <a:gd name="connsiteX24" fmla="*/ 1848029 w 1856332"/>
              <a:gd name="connsiteY24" fmla="*/ 1942070 h 3959924"/>
              <a:gd name="connsiteX25" fmla="*/ 1389635 w 1856332"/>
              <a:gd name="connsiteY25" fmla="*/ 3144149 h 3959924"/>
              <a:gd name="connsiteX26" fmla="*/ 1228565 w 1856332"/>
              <a:gd name="connsiteY26" fmla="*/ 3214674 h 3959924"/>
              <a:gd name="connsiteX27" fmla="*/ 925623 w 1856332"/>
              <a:gd name="connsiteY27" fmla="*/ 3959924 h 3959924"/>
              <a:gd name="connsiteX28" fmla="*/ 601623 w 1856332"/>
              <a:gd name="connsiteY28" fmla="*/ 3635924 h 3959924"/>
              <a:gd name="connsiteX29" fmla="*/ 925623 w 1856332"/>
              <a:gd name="connsiteY29" fmla="*/ 3311924 h 3959924"/>
              <a:gd name="connsiteX30" fmla="*/ 1249623 w 1856332"/>
              <a:gd name="connsiteY30" fmla="*/ 3635924 h 3959924"/>
              <a:gd name="connsiteX31" fmla="*/ 925623 w 1856332"/>
              <a:gd name="connsiteY31" fmla="*/ 3959924 h 3959924"/>
              <a:gd name="connsiteX0" fmla="*/ 1228565 w 1856332"/>
              <a:gd name="connsiteY0" fmla="*/ 3214674 h 3959924"/>
              <a:gd name="connsiteX1" fmla="*/ 622681 w 1856332"/>
              <a:gd name="connsiteY1" fmla="*/ 3214674 h 3959924"/>
              <a:gd name="connsiteX2" fmla="*/ 466697 w 1856332"/>
              <a:gd name="connsiteY2" fmla="*/ 3144149 h 3959924"/>
              <a:gd name="connsiteX3" fmla="*/ 8303 w 1856332"/>
              <a:gd name="connsiteY3" fmla="*/ 1942070 h 3959924"/>
              <a:gd name="connsiteX4" fmla="*/ 81139 w 1856332"/>
              <a:gd name="connsiteY4" fmla="*/ 1779444 h 3959924"/>
              <a:gd name="connsiteX5" fmla="*/ 243764 w 1856332"/>
              <a:gd name="connsiteY5" fmla="*/ 1852280 h 3959924"/>
              <a:gd name="connsiteX6" fmla="*/ 504770 w 1856332"/>
              <a:gd name="connsiteY6" fmla="*/ 2536736 h 3959924"/>
              <a:gd name="connsiteX7" fmla="*/ 555637 w 1856332"/>
              <a:gd name="connsiteY7" fmla="*/ 2536736 h 3959924"/>
              <a:gd name="connsiteX8" fmla="*/ 226299 w 1856332"/>
              <a:gd name="connsiteY8" fmla="*/ 1210417 h 3959924"/>
              <a:gd name="connsiteX9" fmla="*/ 551784 w 1856332"/>
              <a:gd name="connsiteY9" fmla="*/ 1210417 h 3959924"/>
              <a:gd name="connsiteX10" fmla="*/ 551784 w 1856332"/>
              <a:gd name="connsiteY10" fmla="*/ 168335 h 3959924"/>
              <a:gd name="connsiteX11" fmla="*/ 720119 w 1856332"/>
              <a:gd name="connsiteY11" fmla="*/ 0 h 3959924"/>
              <a:gd name="connsiteX12" fmla="*/ 888454 w 1856332"/>
              <a:gd name="connsiteY12" fmla="*/ 168335 h 3959924"/>
              <a:gd name="connsiteX13" fmla="*/ 888454 w 1856332"/>
              <a:gd name="connsiteY13" fmla="*/ 1210417 h 3959924"/>
              <a:gd name="connsiteX14" fmla="*/ 968040 w 1856332"/>
              <a:gd name="connsiteY14" fmla="*/ 1210417 h 3959924"/>
              <a:gd name="connsiteX15" fmla="*/ 968040 w 1856332"/>
              <a:gd name="connsiteY15" fmla="*/ 168335 h 3959924"/>
              <a:gd name="connsiteX16" fmla="*/ 1136375 w 1856332"/>
              <a:gd name="connsiteY16" fmla="*/ 0 h 3959924"/>
              <a:gd name="connsiteX17" fmla="*/ 1304710 w 1856332"/>
              <a:gd name="connsiteY17" fmla="*/ 168335 h 3959924"/>
              <a:gd name="connsiteX18" fmla="*/ 1304710 w 1856332"/>
              <a:gd name="connsiteY18" fmla="*/ 1210417 h 3959924"/>
              <a:gd name="connsiteX19" fmla="*/ 1631589 w 1856332"/>
              <a:gd name="connsiteY19" fmla="*/ 1210417 h 3959924"/>
              <a:gd name="connsiteX20" fmla="*/ 1302251 w 1856332"/>
              <a:gd name="connsiteY20" fmla="*/ 2536736 h 3959924"/>
              <a:gd name="connsiteX21" fmla="*/ 1351562 w 1856332"/>
              <a:gd name="connsiteY21" fmla="*/ 2536736 h 3959924"/>
              <a:gd name="connsiteX22" fmla="*/ 1612568 w 1856332"/>
              <a:gd name="connsiteY22" fmla="*/ 1852280 h 3959924"/>
              <a:gd name="connsiteX23" fmla="*/ 1775193 w 1856332"/>
              <a:gd name="connsiteY23" fmla="*/ 1779444 h 3959924"/>
              <a:gd name="connsiteX24" fmla="*/ 1848029 w 1856332"/>
              <a:gd name="connsiteY24" fmla="*/ 1942070 h 3959924"/>
              <a:gd name="connsiteX25" fmla="*/ 1389635 w 1856332"/>
              <a:gd name="connsiteY25" fmla="*/ 3144149 h 3959924"/>
              <a:gd name="connsiteX26" fmla="*/ 1228565 w 1856332"/>
              <a:gd name="connsiteY26" fmla="*/ 3214674 h 3959924"/>
              <a:gd name="connsiteX27" fmla="*/ 925623 w 1856332"/>
              <a:gd name="connsiteY27" fmla="*/ 3959924 h 3959924"/>
              <a:gd name="connsiteX28" fmla="*/ 601623 w 1856332"/>
              <a:gd name="connsiteY28" fmla="*/ 3635924 h 3959924"/>
              <a:gd name="connsiteX29" fmla="*/ 925623 w 1856332"/>
              <a:gd name="connsiteY29" fmla="*/ 3311924 h 3959924"/>
              <a:gd name="connsiteX30" fmla="*/ 1249623 w 1856332"/>
              <a:gd name="connsiteY30" fmla="*/ 3635924 h 3959924"/>
              <a:gd name="connsiteX31" fmla="*/ 925623 w 1856332"/>
              <a:gd name="connsiteY31" fmla="*/ 3959924 h 3959924"/>
              <a:gd name="connsiteX0" fmla="*/ 1228565 w 1856332"/>
              <a:gd name="connsiteY0" fmla="*/ 3214674 h 3959924"/>
              <a:gd name="connsiteX1" fmla="*/ 622681 w 1856332"/>
              <a:gd name="connsiteY1" fmla="*/ 3214674 h 3959924"/>
              <a:gd name="connsiteX2" fmla="*/ 466697 w 1856332"/>
              <a:gd name="connsiteY2" fmla="*/ 3144149 h 3959924"/>
              <a:gd name="connsiteX3" fmla="*/ 8303 w 1856332"/>
              <a:gd name="connsiteY3" fmla="*/ 1942070 h 3959924"/>
              <a:gd name="connsiteX4" fmla="*/ 81139 w 1856332"/>
              <a:gd name="connsiteY4" fmla="*/ 1779444 h 3959924"/>
              <a:gd name="connsiteX5" fmla="*/ 243764 w 1856332"/>
              <a:gd name="connsiteY5" fmla="*/ 1852280 h 3959924"/>
              <a:gd name="connsiteX6" fmla="*/ 504770 w 1856332"/>
              <a:gd name="connsiteY6" fmla="*/ 2536736 h 3959924"/>
              <a:gd name="connsiteX7" fmla="*/ 555637 w 1856332"/>
              <a:gd name="connsiteY7" fmla="*/ 2536736 h 3959924"/>
              <a:gd name="connsiteX8" fmla="*/ 226299 w 1856332"/>
              <a:gd name="connsiteY8" fmla="*/ 1210417 h 3959924"/>
              <a:gd name="connsiteX9" fmla="*/ 551784 w 1856332"/>
              <a:gd name="connsiteY9" fmla="*/ 1210417 h 3959924"/>
              <a:gd name="connsiteX10" fmla="*/ 551784 w 1856332"/>
              <a:gd name="connsiteY10" fmla="*/ 168335 h 3959924"/>
              <a:gd name="connsiteX11" fmla="*/ 720119 w 1856332"/>
              <a:gd name="connsiteY11" fmla="*/ 0 h 3959924"/>
              <a:gd name="connsiteX12" fmla="*/ 888454 w 1856332"/>
              <a:gd name="connsiteY12" fmla="*/ 168335 h 3959924"/>
              <a:gd name="connsiteX13" fmla="*/ 888454 w 1856332"/>
              <a:gd name="connsiteY13" fmla="*/ 1210417 h 3959924"/>
              <a:gd name="connsiteX14" fmla="*/ 968040 w 1856332"/>
              <a:gd name="connsiteY14" fmla="*/ 1210417 h 3959924"/>
              <a:gd name="connsiteX15" fmla="*/ 968040 w 1856332"/>
              <a:gd name="connsiteY15" fmla="*/ 168335 h 3959924"/>
              <a:gd name="connsiteX16" fmla="*/ 1136375 w 1856332"/>
              <a:gd name="connsiteY16" fmla="*/ 0 h 3959924"/>
              <a:gd name="connsiteX17" fmla="*/ 1304710 w 1856332"/>
              <a:gd name="connsiteY17" fmla="*/ 168335 h 3959924"/>
              <a:gd name="connsiteX18" fmla="*/ 1304710 w 1856332"/>
              <a:gd name="connsiteY18" fmla="*/ 1210417 h 3959924"/>
              <a:gd name="connsiteX19" fmla="*/ 1631589 w 1856332"/>
              <a:gd name="connsiteY19" fmla="*/ 1210417 h 3959924"/>
              <a:gd name="connsiteX20" fmla="*/ 1302251 w 1856332"/>
              <a:gd name="connsiteY20" fmla="*/ 2536736 h 3959924"/>
              <a:gd name="connsiteX21" fmla="*/ 1351562 w 1856332"/>
              <a:gd name="connsiteY21" fmla="*/ 2536736 h 3959924"/>
              <a:gd name="connsiteX22" fmla="*/ 1612568 w 1856332"/>
              <a:gd name="connsiteY22" fmla="*/ 1852280 h 3959924"/>
              <a:gd name="connsiteX23" fmla="*/ 1775193 w 1856332"/>
              <a:gd name="connsiteY23" fmla="*/ 1779444 h 3959924"/>
              <a:gd name="connsiteX24" fmla="*/ 1848029 w 1856332"/>
              <a:gd name="connsiteY24" fmla="*/ 1942070 h 3959924"/>
              <a:gd name="connsiteX25" fmla="*/ 1389635 w 1856332"/>
              <a:gd name="connsiteY25" fmla="*/ 3144149 h 3959924"/>
              <a:gd name="connsiteX26" fmla="*/ 1228565 w 1856332"/>
              <a:gd name="connsiteY26" fmla="*/ 3214674 h 3959924"/>
              <a:gd name="connsiteX27" fmla="*/ 925623 w 1856332"/>
              <a:gd name="connsiteY27" fmla="*/ 3959924 h 3959924"/>
              <a:gd name="connsiteX28" fmla="*/ 601623 w 1856332"/>
              <a:gd name="connsiteY28" fmla="*/ 3635924 h 3959924"/>
              <a:gd name="connsiteX29" fmla="*/ 925623 w 1856332"/>
              <a:gd name="connsiteY29" fmla="*/ 3311924 h 3959924"/>
              <a:gd name="connsiteX30" fmla="*/ 1249623 w 1856332"/>
              <a:gd name="connsiteY30" fmla="*/ 3635924 h 3959924"/>
              <a:gd name="connsiteX31" fmla="*/ 925623 w 1856332"/>
              <a:gd name="connsiteY31" fmla="*/ 3959924 h 3959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1856332" h="3959924">
                <a:moveTo>
                  <a:pt x="1228565" y="3214674"/>
                </a:moveTo>
                <a:lnTo>
                  <a:pt x="622681" y="3214674"/>
                </a:lnTo>
                <a:cubicBezTo>
                  <a:pt x="495703" y="3202920"/>
                  <a:pt x="501057" y="3225622"/>
                  <a:pt x="466697" y="3144149"/>
                </a:cubicBezTo>
                <a:lnTo>
                  <a:pt x="8303" y="1942070"/>
                </a:lnTo>
                <a:cubicBezTo>
                  <a:pt x="-16491" y="1877049"/>
                  <a:pt x="16118" y="1804239"/>
                  <a:pt x="81139" y="1779444"/>
                </a:cubicBezTo>
                <a:cubicBezTo>
                  <a:pt x="146160" y="1754650"/>
                  <a:pt x="218970" y="1787259"/>
                  <a:pt x="243764" y="1852280"/>
                </a:cubicBezTo>
                <a:lnTo>
                  <a:pt x="504770" y="2536736"/>
                </a:lnTo>
                <a:lnTo>
                  <a:pt x="555637" y="2536736"/>
                </a:lnTo>
                <a:lnTo>
                  <a:pt x="226299" y="1210417"/>
                </a:lnTo>
                <a:lnTo>
                  <a:pt x="551784" y="1210417"/>
                </a:lnTo>
                <a:lnTo>
                  <a:pt x="551784" y="168335"/>
                </a:lnTo>
                <a:cubicBezTo>
                  <a:pt x="551784" y="75366"/>
                  <a:pt x="627150" y="0"/>
                  <a:pt x="720119" y="0"/>
                </a:cubicBezTo>
                <a:cubicBezTo>
                  <a:pt x="813088" y="0"/>
                  <a:pt x="888454" y="75366"/>
                  <a:pt x="888454" y="168335"/>
                </a:cubicBezTo>
                <a:lnTo>
                  <a:pt x="888454" y="1210417"/>
                </a:lnTo>
                <a:lnTo>
                  <a:pt x="968040" y="1210417"/>
                </a:lnTo>
                <a:lnTo>
                  <a:pt x="968040" y="168335"/>
                </a:lnTo>
                <a:cubicBezTo>
                  <a:pt x="968040" y="75366"/>
                  <a:pt x="1043406" y="0"/>
                  <a:pt x="1136375" y="0"/>
                </a:cubicBezTo>
                <a:cubicBezTo>
                  <a:pt x="1229344" y="0"/>
                  <a:pt x="1304710" y="75366"/>
                  <a:pt x="1304710" y="168335"/>
                </a:cubicBezTo>
                <a:lnTo>
                  <a:pt x="1304710" y="1210417"/>
                </a:lnTo>
                <a:lnTo>
                  <a:pt x="1631589" y="1210417"/>
                </a:lnTo>
                <a:lnTo>
                  <a:pt x="1302251" y="2536736"/>
                </a:lnTo>
                <a:lnTo>
                  <a:pt x="1351562" y="2536736"/>
                </a:lnTo>
                <a:lnTo>
                  <a:pt x="1612568" y="1852280"/>
                </a:lnTo>
                <a:cubicBezTo>
                  <a:pt x="1637362" y="1787259"/>
                  <a:pt x="1710172" y="1754650"/>
                  <a:pt x="1775193" y="1779444"/>
                </a:cubicBezTo>
                <a:cubicBezTo>
                  <a:pt x="1840214" y="1804239"/>
                  <a:pt x="1872823" y="1877049"/>
                  <a:pt x="1848029" y="1942070"/>
                </a:cubicBezTo>
                <a:lnTo>
                  <a:pt x="1389635" y="3144149"/>
                </a:lnTo>
                <a:cubicBezTo>
                  <a:pt x="1348984" y="3225622"/>
                  <a:pt x="1356391" y="3202920"/>
                  <a:pt x="1228565" y="3214674"/>
                </a:cubicBezTo>
                <a:close/>
                <a:moveTo>
                  <a:pt x="925623" y="3959924"/>
                </a:moveTo>
                <a:cubicBezTo>
                  <a:pt x="746683" y="3959924"/>
                  <a:pt x="601623" y="3814864"/>
                  <a:pt x="601623" y="3635924"/>
                </a:cubicBezTo>
                <a:cubicBezTo>
                  <a:pt x="601623" y="3456984"/>
                  <a:pt x="746683" y="3311924"/>
                  <a:pt x="925623" y="3311924"/>
                </a:cubicBezTo>
                <a:cubicBezTo>
                  <a:pt x="1104563" y="3311924"/>
                  <a:pt x="1249623" y="3456984"/>
                  <a:pt x="1249623" y="3635924"/>
                </a:cubicBezTo>
                <a:cubicBezTo>
                  <a:pt x="1249623" y="3814864"/>
                  <a:pt x="1104563" y="3959924"/>
                  <a:pt x="925623" y="395992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88" name="Donut 87">
            <a:extLst>
              <a:ext uri="{FF2B5EF4-FFF2-40B4-BE49-F238E27FC236}">
                <a16:creationId xmlns:a16="http://schemas.microsoft.com/office/drawing/2014/main" id="{4E09E652-E42B-4D35-B750-1E418CF08FA6}"/>
              </a:ext>
            </a:extLst>
          </p:cNvPr>
          <p:cNvSpPr/>
          <p:nvPr/>
        </p:nvSpPr>
        <p:spPr>
          <a:xfrm>
            <a:off x="5691893" y="1539942"/>
            <a:ext cx="507661" cy="521714"/>
          </a:xfrm>
          <a:custGeom>
            <a:avLst/>
            <a:gdLst/>
            <a:ahLst/>
            <a:cxnLst/>
            <a:rect l="l" t="t" r="r" b="b"/>
            <a:pathLst>
              <a:path w="356471" h="366339">
                <a:moveTo>
                  <a:pt x="144025" y="123680"/>
                </a:moveTo>
                <a:cubicBezTo>
                  <a:pt x="89551" y="123680"/>
                  <a:pt x="45391" y="167840"/>
                  <a:pt x="45391" y="222314"/>
                </a:cubicBezTo>
                <a:cubicBezTo>
                  <a:pt x="45391" y="276788"/>
                  <a:pt x="89551" y="320948"/>
                  <a:pt x="144025" y="320948"/>
                </a:cubicBezTo>
                <a:cubicBezTo>
                  <a:pt x="198499" y="320948"/>
                  <a:pt x="242659" y="276788"/>
                  <a:pt x="242659" y="222314"/>
                </a:cubicBezTo>
                <a:cubicBezTo>
                  <a:pt x="242659" y="167840"/>
                  <a:pt x="198499" y="123680"/>
                  <a:pt x="144025" y="123680"/>
                </a:cubicBezTo>
                <a:close/>
                <a:moveTo>
                  <a:pt x="354808" y="0"/>
                </a:moveTo>
                <a:lnTo>
                  <a:pt x="356471" y="85288"/>
                </a:lnTo>
                <a:lnTo>
                  <a:pt x="334733" y="64382"/>
                </a:lnTo>
                <a:lnTo>
                  <a:pt x="260258" y="141819"/>
                </a:lnTo>
                <a:cubicBezTo>
                  <a:pt x="278587" y="163579"/>
                  <a:pt x="288050" y="191841"/>
                  <a:pt x="288050" y="222314"/>
                </a:cubicBezTo>
                <a:cubicBezTo>
                  <a:pt x="288050" y="301857"/>
                  <a:pt x="223568" y="366339"/>
                  <a:pt x="144025" y="366339"/>
                </a:cubicBezTo>
                <a:cubicBezTo>
                  <a:pt x="64482" y="366339"/>
                  <a:pt x="0" y="301857"/>
                  <a:pt x="0" y="222314"/>
                </a:cubicBezTo>
                <a:cubicBezTo>
                  <a:pt x="0" y="142771"/>
                  <a:pt x="64482" y="78289"/>
                  <a:pt x="144025" y="78289"/>
                </a:cubicBezTo>
                <a:cubicBezTo>
                  <a:pt x="170876" y="78289"/>
                  <a:pt x="196011" y="85637"/>
                  <a:pt x="216282" y="100527"/>
                </a:cubicBezTo>
                <a:lnTo>
                  <a:pt x="291257" y="22569"/>
                </a:lnTo>
                <a:lnTo>
                  <a:pt x="269519" y="166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89" name="Donut 90">
            <a:extLst>
              <a:ext uri="{FF2B5EF4-FFF2-40B4-BE49-F238E27FC236}">
                <a16:creationId xmlns:a16="http://schemas.microsoft.com/office/drawing/2014/main" id="{D86BE85A-63D8-48D0-8B07-9669B75E9D9D}"/>
              </a:ext>
            </a:extLst>
          </p:cNvPr>
          <p:cNvSpPr/>
          <p:nvPr/>
        </p:nvSpPr>
        <p:spPr>
          <a:xfrm>
            <a:off x="6568402" y="1501877"/>
            <a:ext cx="532052" cy="543757"/>
          </a:xfrm>
          <a:custGeom>
            <a:avLst/>
            <a:gdLst/>
            <a:ahLst/>
            <a:cxnLst/>
            <a:rect l="l" t="t" r="r" b="b"/>
            <a:pathLst>
              <a:path w="373598" h="381817">
                <a:moveTo>
                  <a:pt x="229573" y="45391"/>
                </a:moveTo>
                <a:cubicBezTo>
                  <a:pt x="175099" y="45391"/>
                  <a:pt x="130939" y="89551"/>
                  <a:pt x="130939" y="144025"/>
                </a:cubicBezTo>
                <a:cubicBezTo>
                  <a:pt x="130939" y="198499"/>
                  <a:pt x="175099" y="242659"/>
                  <a:pt x="229573" y="242659"/>
                </a:cubicBezTo>
                <a:cubicBezTo>
                  <a:pt x="284047" y="242659"/>
                  <a:pt x="328207" y="198499"/>
                  <a:pt x="328207" y="144025"/>
                </a:cubicBezTo>
                <a:cubicBezTo>
                  <a:pt x="328207" y="89551"/>
                  <a:pt x="284047" y="45391"/>
                  <a:pt x="229573" y="45391"/>
                </a:cubicBezTo>
                <a:close/>
                <a:moveTo>
                  <a:pt x="229573" y="0"/>
                </a:moveTo>
                <a:cubicBezTo>
                  <a:pt x="309116" y="0"/>
                  <a:pt x="373598" y="64482"/>
                  <a:pt x="373598" y="144025"/>
                </a:cubicBezTo>
                <a:cubicBezTo>
                  <a:pt x="373598" y="223568"/>
                  <a:pt x="309116" y="288050"/>
                  <a:pt x="229573" y="288050"/>
                </a:cubicBezTo>
                <a:cubicBezTo>
                  <a:pt x="202172" y="288050"/>
                  <a:pt x="176558" y="280398"/>
                  <a:pt x="156060" y="264966"/>
                </a:cubicBezTo>
                <a:lnTo>
                  <a:pt x="128993" y="292033"/>
                </a:lnTo>
                <a:lnTo>
                  <a:pt x="160228" y="323268"/>
                </a:lnTo>
                <a:cubicBezTo>
                  <a:pt x="171055" y="334095"/>
                  <a:pt x="171055" y="351650"/>
                  <a:pt x="160228" y="362477"/>
                </a:cubicBezTo>
                <a:cubicBezTo>
                  <a:pt x="149401" y="373304"/>
                  <a:pt x="131846" y="373304"/>
                  <a:pt x="121019" y="362477"/>
                </a:cubicBezTo>
                <a:lnTo>
                  <a:pt x="89784" y="331242"/>
                </a:lnTo>
                <a:lnTo>
                  <a:pt x="39209" y="381817"/>
                </a:lnTo>
                <a:cubicBezTo>
                  <a:pt x="28381" y="392644"/>
                  <a:pt x="10827" y="392644"/>
                  <a:pt x="0" y="381817"/>
                </a:cubicBezTo>
                <a:cubicBezTo>
                  <a:pt x="-10828" y="370989"/>
                  <a:pt x="-10828" y="353435"/>
                  <a:pt x="0" y="342608"/>
                </a:cubicBezTo>
                <a:lnTo>
                  <a:pt x="50575" y="292033"/>
                </a:lnTo>
                <a:lnTo>
                  <a:pt x="16166" y="257624"/>
                </a:lnTo>
                <a:cubicBezTo>
                  <a:pt x="5339" y="246797"/>
                  <a:pt x="5339" y="229242"/>
                  <a:pt x="16166" y="218415"/>
                </a:cubicBezTo>
                <a:cubicBezTo>
                  <a:pt x="26993" y="207588"/>
                  <a:pt x="44548" y="207588"/>
                  <a:pt x="55375" y="218415"/>
                </a:cubicBezTo>
                <a:lnTo>
                  <a:pt x="89784" y="252824"/>
                </a:lnTo>
                <a:lnTo>
                  <a:pt x="115252" y="227356"/>
                </a:lnTo>
                <a:cubicBezTo>
                  <a:pt x="95803" y="205073"/>
                  <a:pt x="85548" y="175747"/>
                  <a:pt x="85548" y="144025"/>
                </a:cubicBezTo>
                <a:cubicBezTo>
                  <a:pt x="85548" y="64482"/>
                  <a:pt x="150030" y="0"/>
                  <a:pt x="229573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90" name="Oval 6">
            <a:extLst>
              <a:ext uri="{FF2B5EF4-FFF2-40B4-BE49-F238E27FC236}">
                <a16:creationId xmlns:a16="http://schemas.microsoft.com/office/drawing/2014/main" id="{319E467E-1F19-4CBB-A070-3B6CE4078D17}"/>
              </a:ext>
            </a:extLst>
          </p:cNvPr>
          <p:cNvSpPr/>
          <p:nvPr/>
        </p:nvSpPr>
        <p:spPr>
          <a:xfrm>
            <a:off x="7560710" y="2604583"/>
            <a:ext cx="507960" cy="502639"/>
          </a:xfrm>
          <a:custGeom>
            <a:avLst/>
            <a:gdLst/>
            <a:ahLst/>
            <a:cxnLst/>
            <a:rect l="l" t="t" r="r" b="b"/>
            <a:pathLst>
              <a:path w="3220460" h="3186731">
                <a:moveTo>
                  <a:pt x="1762834" y="1282034"/>
                </a:moveTo>
                <a:lnTo>
                  <a:pt x="273698" y="2771171"/>
                </a:lnTo>
                <a:cubicBezTo>
                  <a:pt x="253145" y="2791724"/>
                  <a:pt x="253145" y="2825048"/>
                  <a:pt x="273698" y="2845601"/>
                </a:cubicBezTo>
                <a:cubicBezTo>
                  <a:pt x="294251" y="2866154"/>
                  <a:pt x="327575" y="2866154"/>
                  <a:pt x="348128" y="2845601"/>
                </a:cubicBezTo>
                <a:lnTo>
                  <a:pt x="1830131" y="1363598"/>
                </a:lnTo>
                <a:close/>
                <a:moveTo>
                  <a:pt x="2703218" y="237332"/>
                </a:moveTo>
                <a:cubicBezTo>
                  <a:pt x="2623680" y="237332"/>
                  <a:pt x="2559202" y="301810"/>
                  <a:pt x="2559202" y="381348"/>
                </a:cubicBezTo>
                <a:cubicBezTo>
                  <a:pt x="2559202" y="460886"/>
                  <a:pt x="2623680" y="525364"/>
                  <a:pt x="2703218" y="525364"/>
                </a:cubicBezTo>
                <a:cubicBezTo>
                  <a:pt x="2782756" y="525364"/>
                  <a:pt x="2847234" y="460886"/>
                  <a:pt x="2847234" y="381348"/>
                </a:cubicBezTo>
                <a:cubicBezTo>
                  <a:pt x="2847234" y="301810"/>
                  <a:pt x="2782756" y="237332"/>
                  <a:pt x="2703218" y="237332"/>
                </a:cubicBezTo>
                <a:close/>
                <a:moveTo>
                  <a:pt x="2413103" y="0"/>
                </a:moveTo>
                <a:cubicBezTo>
                  <a:pt x="2858994" y="0"/>
                  <a:pt x="3220460" y="361466"/>
                  <a:pt x="3220460" y="807357"/>
                </a:cubicBezTo>
                <a:cubicBezTo>
                  <a:pt x="3220460" y="1253248"/>
                  <a:pt x="2858994" y="1614714"/>
                  <a:pt x="2413103" y="1614714"/>
                </a:cubicBezTo>
                <a:cubicBezTo>
                  <a:pt x="2305542" y="1614714"/>
                  <a:pt x="2202893" y="1593680"/>
                  <a:pt x="2109223" y="1555067"/>
                </a:cubicBezTo>
                <a:lnTo>
                  <a:pt x="2191945" y="1637789"/>
                </a:lnTo>
                <a:cubicBezTo>
                  <a:pt x="2226856" y="1672699"/>
                  <a:pt x="2226855" y="1729300"/>
                  <a:pt x="2191945" y="1764210"/>
                </a:cubicBezTo>
                <a:lnTo>
                  <a:pt x="2045068" y="1911087"/>
                </a:lnTo>
                <a:cubicBezTo>
                  <a:pt x="2010158" y="1945998"/>
                  <a:pt x="1953557" y="1945998"/>
                  <a:pt x="1918647" y="1911087"/>
                </a:cubicBezTo>
                <a:lnTo>
                  <a:pt x="1799123" y="1791564"/>
                </a:lnTo>
                <a:lnTo>
                  <a:pt x="1749496" y="1841190"/>
                </a:lnTo>
                <a:lnTo>
                  <a:pt x="1832980" y="1924673"/>
                </a:lnTo>
                <a:lnTo>
                  <a:pt x="1761893" y="1995760"/>
                </a:lnTo>
                <a:lnTo>
                  <a:pt x="1678410" y="1912277"/>
                </a:lnTo>
                <a:lnTo>
                  <a:pt x="1650246" y="1940441"/>
                </a:lnTo>
                <a:lnTo>
                  <a:pt x="1735612" y="2025807"/>
                </a:lnTo>
                <a:lnTo>
                  <a:pt x="1573330" y="2188089"/>
                </a:lnTo>
                <a:lnTo>
                  <a:pt x="1487964" y="2102723"/>
                </a:lnTo>
                <a:lnTo>
                  <a:pt x="1451742" y="2138944"/>
                </a:lnTo>
                <a:lnTo>
                  <a:pt x="1537109" y="2224311"/>
                </a:lnTo>
                <a:lnTo>
                  <a:pt x="1374830" y="2386590"/>
                </a:lnTo>
                <a:lnTo>
                  <a:pt x="1289463" y="2301223"/>
                </a:lnTo>
                <a:lnTo>
                  <a:pt x="1225079" y="2365608"/>
                </a:lnTo>
                <a:lnTo>
                  <a:pt x="1310445" y="2450974"/>
                </a:lnTo>
                <a:lnTo>
                  <a:pt x="1239358" y="2522061"/>
                </a:lnTo>
                <a:lnTo>
                  <a:pt x="1153992" y="2436695"/>
                </a:lnTo>
                <a:lnTo>
                  <a:pt x="1104364" y="2486322"/>
                </a:lnTo>
                <a:lnTo>
                  <a:pt x="1189730" y="2571689"/>
                </a:lnTo>
                <a:lnTo>
                  <a:pt x="1034153" y="2727266"/>
                </a:lnTo>
                <a:lnTo>
                  <a:pt x="948787" y="2641900"/>
                </a:lnTo>
                <a:lnTo>
                  <a:pt x="905863" y="2684824"/>
                </a:lnTo>
                <a:lnTo>
                  <a:pt x="991230" y="2770191"/>
                </a:lnTo>
                <a:lnTo>
                  <a:pt x="842353" y="2919067"/>
                </a:lnTo>
                <a:lnTo>
                  <a:pt x="756986" y="2833700"/>
                </a:lnTo>
                <a:lnTo>
                  <a:pt x="692119" y="2898567"/>
                </a:lnTo>
                <a:lnTo>
                  <a:pt x="777486" y="2983934"/>
                </a:lnTo>
                <a:lnTo>
                  <a:pt x="628610" y="3132811"/>
                </a:lnTo>
                <a:lnTo>
                  <a:pt x="618557" y="3122757"/>
                </a:lnTo>
                <a:lnTo>
                  <a:pt x="622830" y="3134825"/>
                </a:lnTo>
                <a:lnTo>
                  <a:pt x="346551" y="3150831"/>
                </a:lnTo>
                <a:lnTo>
                  <a:pt x="0" y="3186731"/>
                </a:lnTo>
                <a:lnTo>
                  <a:pt x="51749" y="2750557"/>
                </a:lnTo>
                <a:lnTo>
                  <a:pt x="48979" y="2747788"/>
                </a:lnTo>
                <a:lnTo>
                  <a:pt x="52495" y="2744272"/>
                </a:lnTo>
                <a:lnTo>
                  <a:pt x="52938" y="2740533"/>
                </a:lnTo>
                <a:lnTo>
                  <a:pt x="54575" y="2742192"/>
                </a:lnTo>
                <a:lnTo>
                  <a:pt x="1671288" y="1125479"/>
                </a:lnTo>
                <a:cubicBezTo>
                  <a:pt x="1628971" y="1027979"/>
                  <a:pt x="1605746" y="920380"/>
                  <a:pt x="1605746" y="807357"/>
                </a:cubicBezTo>
                <a:cubicBezTo>
                  <a:pt x="1605746" y="361466"/>
                  <a:pt x="1967212" y="0"/>
                  <a:pt x="241310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91" name="Block Arc 25">
            <a:extLst>
              <a:ext uri="{FF2B5EF4-FFF2-40B4-BE49-F238E27FC236}">
                <a16:creationId xmlns:a16="http://schemas.microsoft.com/office/drawing/2014/main" id="{5F7FD4D6-1C06-4ABB-98F4-AC79D3C6A6D8}"/>
              </a:ext>
            </a:extLst>
          </p:cNvPr>
          <p:cNvSpPr/>
          <p:nvPr/>
        </p:nvSpPr>
        <p:spPr>
          <a:xfrm>
            <a:off x="5081797" y="2603460"/>
            <a:ext cx="349473" cy="504884"/>
          </a:xfrm>
          <a:custGeom>
            <a:avLst/>
            <a:gdLst/>
            <a:ahLst/>
            <a:cxnLst/>
            <a:rect l="l" t="t" r="r" b="b"/>
            <a:pathLst>
              <a:path w="2215656" h="3200962">
                <a:moveTo>
                  <a:pt x="1107829" y="2097026"/>
                </a:moveTo>
                <a:cubicBezTo>
                  <a:pt x="1025315" y="2097026"/>
                  <a:pt x="958423" y="2163918"/>
                  <a:pt x="958423" y="2246432"/>
                </a:cubicBezTo>
                <a:cubicBezTo>
                  <a:pt x="958423" y="2302715"/>
                  <a:pt x="989546" y="2351730"/>
                  <a:pt x="1036590" y="2375275"/>
                </a:cubicBezTo>
                <a:lnTo>
                  <a:pt x="985422" y="2684898"/>
                </a:lnTo>
                <a:lnTo>
                  <a:pt x="1230236" y="2684898"/>
                </a:lnTo>
                <a:lnTo>
                  <a:pt x="1179068" y="2375275"/>
                </a:lnTo>
                <a:cubicBezTo>
                  <a:pt x="1226112" y="2351730"/>
                  <a:pt x="1257234" y="2302715"/>
                  <a:pt x="1257234" y="2246432"/>
                </a:cubicBezTo>
                <a:cubicBezTo>
                  <a:pt x="1257234" y="2163918"/>
                  <a:pt x="1190343" y="2097026"/>
                  <a:pt x="1107829" y="2097026"/>
                </a:cubicBezTo>
                <a:close/>
                <a:moveTo>
                  <a:pt x="1102513" y="266871"/>
                </a:moveTo>
                <a:cubicBezTo>
                  <a:pt x="874876" y="269781"/>
                  <a:pt x="691868" y="455143"/>
                  <a:pt x="691868" y="682798"/>
                </a:cubicBezTo>
                <a:lnTo>
                  <a:pt x="690469" y="682798"/>
                </a:lnTo>
                <a:lnTo>
                  <a:pt x="690469" y="1580962"/>
                </a:lnTo>
                <a:lnTo>
                  <a:pt x="1525188" y="1580962"/>
                </a:lnTo>
                <a:lnTo>
                  <a:pt x="1525188" y="672127"/>
                </a:lnTo>
                <a:lnTo>
                  <a:pt x="1523654" y="672166"/>
                </a:lnTo>
                <a:cubicBezTo>
                  <a:pt x="1517835" y="444585"/>
                  <a:pt x="1330149" y="263961"/>
                  <a:pt x="1102513" y="266871"/>
                </a:cubicBezTo>
                <a:close/>
                <a:moveTo>
                  <a:pt x="1099102" y="56"/>
                </a:moveTo>
                <a:cubicBezTo>
                  <a:pt x="1472767" y="-4720"/>
                  <a:pt x="1780852" y="291773"/>
                  <a:pt x="1790404" y="665346"/>
                </a:cubicBezTo>
                <a:lnTo>
                  <a:pt x="1742843" y="666562"/>
                </a:lnTo>
                <a:lnTo>
                  <a:pt x="1790627" y="666562"/>
                </a:lnTo>
                <a:lnTo>
                  <a:pt x="1790627" y="1580962"/>
                </a:lnTo>
                <a:lnTo>
                  <a:pt x="2041344" y="1580962"/>
                </a:lnTo>
                <a:cubicBezTo>
                  <a:pt x="2137614" y="1580962"/>
                  <a:pt x="2215656" y="1659004"/>
                  <a:pt x="2215656" y="1755274"/>
                </a:cubicBezTo>
                <a:lnTo>
                  <a:pt x="2215656" y="3026650"/>
                </a:lnTo>
                <a:cubicBezTo>
                  <a:pt x="2215656" y="3122920"/>
                  <a:pt x="2137614" y="3200962"/>
                  <a:pt x="2041344" y="3200962"/>
                </a:cubicBezTo>
                <a:lnTo>
                  <a:pt x="174312" y="3200962"/>
                </a:lnTo>
                <a:cubicBezTo>
                  <a:pt x="78042" y="3200962"/>
                  <a:pt x="0" y="3122920"/>
                  <a:pt x="0" y="3026650"/>
                </a:cubicBezTo>
                <a:lnTo>
                  <a:pt x="0" y="1755274"/>
                </a:lnTo>
                <a:cubicBezTo>
                  <a:pt x="0" y="1659004"/>
                  <a:pt x="78042" y="1580962"/>
                  <a:pt x="174312" y="1580962"/>
                </a:cubicBezTo>
                <a:lnTo>
                  <a:pt x="425030" y="1580962"/>
                </a:lnTo>
                <a:lnTo>
                  <a:pt x="425030" y="676764"/>
                </a:lnTo>
                <a:lnTo>
                  <a:pt x="425634" y="676764"/>
                </a:lnTo>
                <a:cubicBezTo>
                  <a:pt x="428273" y="305830"/>
                  <a:pt x="727452" y="4806"/>
                  <a:pt x="1099102" y="5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92" name="Block Arc 31">
            <a:extLst>
              <a:ext uri="{FF2B5EF4-FFF2-40B4-BE49-F238E27FC236}">
                <a16:creationId xmlns:a16="http://schemas.microsoft.com/office/drawing/2014/main" id="{7D9DF903-DA8F-4191-AEDF-7DDF26A64847}"/>
              </a:ext>
            </a:extLst>
          </p:cNvPr>
          <p:cNvSpPr/>
          <p:nvPr/>
        </p:nvSpPr>
        <p:spPr>
          <a:xfrm>
            <a:off x="8411005" y="2603460"/>
            <a:ext cx="455959" cy="504884"/>
          </a:xfrm>
          <a:custGeom>
            <a:avLst/>
            <a:gdLst/>
            <a:ahLst/>
            <a:cxnLst/>
            <a:rect l="l" t="t" r="r" b="b"/>
            <a:pathLst>
              <a:path w="2890784" h="3200962">
                <a:moveTo>
                  <a:pt x="1107828" y="2097026"/>
                </a:moveTo>
                <a:cubicBezTo>
                  <a:pt x="1025313" y="2097026"/>
                  <a:pt x="958422" y="2163918"/>
                  <a:pt x="958422" y="2246432"/>
                </a:cubicBezTo>
                <a:cubicBezTo>
                  <a:pt x="958422" y="2302715"/>
                  <a:pt x="989545" y="2351730"/>
                  <a:pt x="1036589" y="2375275"/>
                </a:cubicBezTo>
                <a:lnTo>
                  <a:pt x="985421" y="2684898"/>
                </a:lnTo>
                <a:lnTo>
                  <a:pt x="1230235" y="2684898"/>
                </a:lnTo>
                <a:lnTo>
                  <a:pt x="1179067" y="2375275"/>
                </a:lnTo>
                <a:cubicBezTo>
                  <a:pt x="1226111" y="2351730"/>
                  <a:pt x="1257233" y="2302715"/>
                  <a:pt x="1257233" y="2246432"/>
                </a:cubicBezTo>
                <a:cubicBezTo>
                  <a:pt x="1257233" y="2163918"/>
                  <a:pt x="1190342" y="2097026"/>
                  <a:pt x="1107828" y="2097026"/>
                </a:cubicBezTo>
                <a:close/>
                <a:moveTo>
                  <a:pt x="2199259" y="56"/>
                </a:moveTo>
                <a:cubicBezTo>
                  <a:pt x="2572924" y="-4720"/>
                  <a:pt x="2881009" y="291773"/>
                  <a:pt x="2890561" y="665346"/>
                </a:cubicBezTo>
                <a:lnTo>
                  <a:pt x="2843000" y="666562"/>
                </a:lnTo>
                <a:lnTo>
                  <a:pt x="2890784" y="666562"/>
                </a:lnTo>
                <a:lnTo>
                  <a:pt x="2890784" y="1580962"/>
                </a:lnTo>
                <a:lnTo>
                  <a:pt x="2625345" y="1580962"/>
                </a:lnTo>
                <a:lnTo>
                  <a:pt x="2625345" y="672127"/>
                </a:lnTo>
                <a:lnTo>
                  <a:pt x="2623811" y="672166"/>
                </a:lnTo>
                <a:cubicBezTo>
                  <a:pt x="2617992" y="444585"/>
                  <a:pt x="2430306" y="263961"/>
                  <a:pt x="2202670" y="266871"/>
                </a:cubicBezTo>
                <a:cubicBezTo>
                  <a:pt x="1975033" y="269781"/>
                  <a:pt x="1792025" y="455143"/>
                  <a:pt x="1792025" y="682798"/>
                </a:cubicBezTo>
                <a:lnTo>
                  <a:pt x="1790626" y="682798"/>
                </a:lnTo>
                <a:lnTo>
                  <a:pt x="1790626" y="1580962"/>
                </a:lnTo>
                <a:lnTo>
                  <a:pt x="2041344" y="1580962"/>
                </a:lnTo>
                <a:cubicBezTo>
                  <a:pt x="2137614" y="1580962"/>
                  <a:pt x="2215656" y="1659004"/>
                  <a:pt x="2215656" y="1755274"/>
                </a:cubicBezTo>
                <a:lnTo>
                  <a:pt x="2215656" y="3026650"/>
                </a:lnTo>
                <a:cubicBezTo>
                  <a:pt x="2215656" y="3122920"/>
                  <a:pt x="2137614" y="3200962"/>
                  <a:pt x="2041344" y="3200962"/>
                </a:cubicBezTo>
                <a:lnTo>
                  <a:pt x="174312" y="3200962"/>
                </a:lnTo>
                <a:cubicBezTo>
                  <a:pt x="78042" y="3200962"/>
                  <a:pt x="0" y="3122920"/>
                  <a:pt x="0" y="3026650"/>
                </a:cubicBezTo>
                <a:lnTo>
                  <a:pt x="0" y="1755274"/>
                </a:lnTo>
                <a:cubicBezTo>
                  <a:pt x="0" y="1659004"/>
                  <a:pt x="78042" y="1580962"/>
                  <a:pt x="174312" y="1580962"/>
                </a:cubicBezTo>
                <a:lnTo>
                  <a:pt x="1525187" y="1580962"/>
                </a:lnTo>
                <a:lnTo>
                  <a:pt x="1525187" y="676764"/>
                </a:lnTo>
                <a:lnTo>
                  <a:pt x="1525791" y="676764"/>
                </a:lnTo>
                <a:cubicBezTo>
                  <a:pt x="1528430" y="305830"/>
                  <a:pt x="1827609" y="4806"/>
                  <a:pt x="2199259" y="5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93" name="Freeform 53">
            <a:extLst>
              <a:ext uri="{FF2B5EF4-FFF2-40B4-BE49-F238E27FC236}">
                <a16:creationId xmlns:a16="http://schemas.microsoft.com/office/drawing/2014/main" id="{D57F2C4B-7240-41A7-B169-E1E9E5390396}"/>
              </a:ext>
            </a:extLst>
          </p:cNvPr>
          <p:cNvSpPr/>
          <p:nvPr/>
        </p:nvSpPr>
        <p:spPr>
          <a:xfrm>
            <a:off x="10130939" y="2599748"/>
            <a:ext cx="499664" cy="512309"/>
          </a:xfrm>
          <a:custGeom>
            <a:avLst/>
            <a:gdLst>
              <a:gd name="connsiteX0" fmla="*/ 0 w 2305050"/>
              <a:gd name="connsiteY0" fmla="*/ 0 h 2352675"/>
              <a:gd name="connsiteX1" fmla="*/ 771525 w 2305050"/>
              <a:gd name="connsiteY1" fmla="*/ 561975 h 2352675"/>
              <a:gd name="connsiteX2" fmla="*/ 2019300 w 2305050"/>
              <a:gd name="connsiteY2" fmla="*/ 428625 h 2352675"/>
              <a:gd name="connsiteX3" fmla="*/ 2266950 w 2305050"/>
              <a:gd name="connsiteY3" fmla="*/ 657225 h 2352675"/>
              <a:gd name="connsiteX4" fmla="*/ 1143000 w 2305050"/>
              <a:gd name="connsiteY4" fmla="*/ 1009650 h 2352675"/>
              <a:gd name="connsiteX5" fmla="*/ 1628775 w 2305050"/>
              <a:gd name="connsiteY5" fmla="*/ 1533525 h 2352675"/>
              <a:gd name="connsiteX6" fmla="*/ 2076450 w 2305050"/>
              <a:gd name="connsiteY6" fmla="*/ 1533525 h 2352675"/>
              <a:gd name="connsiteX7" fmla="*/ 2305050 w 2305050"/>
              <a:gd name="connsiteY7" fmla="*/ 1724025 h 2352675"/>
              <a:gd name="connsiteX8" fmla="*/ 1838325 w 2305050"/>
              <a:gd name="connsiteY8" fmla="*/ 1857375 h 2352675"/>
              <a:gd name="connsiteX9" fmla="*/ 2009775 w 2305050"/>
              <a:gd name="connsiteY9" fmla="*/ 2105025 h 2352675"/>
              <a:gd name="connsiteX10" fmla="*/ 1733550 w 2305050"/>
              <a:gd name="connsiteY10" fmla="*/ 1971675 h 2352675"/>
              <a:gd name="connsiteX11" fmla="*/ 1543050 w 2305050"/>
              <a:gd name="connsiteY11" fmla="*/ 2352675 h 2352675"/>
              <a:gd name="connsiteX12" fmla="*/ 1314450 w 2305050"/>
              <a:gd name="connsiteY12" fmla="*/ 2133600 h 2352675"/>
              <a:gd name="connsiteX13" fmla="*/ 1447800 w 2305050"/>
              <a:gd name="connsiteY13" fmla="*/ 1771650 h 2352675"/>
              <a:gd name="connsiteX14" fmla="*/ 923925 w 2305050"/>
              <a:gd name="connsiteY14" fmla="*/ 1190625 h 2352675"/>
              <a:gd name="connsiteX15" fmla="*/ 447675 w 2305050"/>
              <a:gd name="connsiteY15" fmla="*/ 2276475 h 2352675"/>
              <a:gd name="connsiteX16" fmla="*/ 238125 w 2305050"/>
              <a:gd name="connsiteY16" fmla="*/ 2171700 h 2352675"/>
              <a:gd name="connsiteX17" fmla="*/ 523875 w 2305050"/>
              <a:gd name="connsiteY17" fmla="*/ 714375 h 2352675"/>
              <a:gd name="connsiteX18" fmla="*/ 0 w 2305050"/>
              <a:gd name="connsiteY18" fmla="*/ 0 h 2352675"/>
              <a:gd name="connsiteX0" fmla="*/ 0 w 2305050"/>
              <a:gd name="connsiteY0" fmla="*/ 0 h 2352675"/>
              <a:gd name="connsiteX1" fmla="*/ 771525 w 2305050"/>
              <a:gd name="connsiteY1" fmla="*/ 561975 h 2352675"/>
              <a:gd name="connsiteX2" fmla="*/ 2019300 w 2305050"/>
              <a:gd name="connsiteY2" fmla="*/ 428625 h 2352675"/>
              <a:gd name="connsiteX3" fmla="*/ 2266950 w 2305050"/>
              <a:gd name="connsiteY3" fmla="*/ 657225 h 2352675"/>
              <a:gd name="connsiteX4" fmla="*/ 1143000 w 2305050"/>
              <a:gd name="connsiteY4" fmla="*/ 1009650 h 2352675"/>
              <a:gd name="connsiteX5" fmla="*/ 1628775 w 2305050"/>
              <a:gd name="connsiteY5" fmla="*/ 1533525 h 2352675"/>
              <a:gd name="connsiteX6" fmla="*/ 2076450 w 2305050"/>
              <a:gd name="connsiteY6" fmla="*/ 1533525 h 2352675"/>
              <a:gd name="connsiteX7" fmla="*/ 2305050 w 2305050"/>
              <a:gd name="connsiteY7" fmla="*/ 1724025 h 2352675"/>
              <a:gd name="connsiteX8" fmla="*/ 1838325 w 2305050"/>
              <a:gd name="connsiteY8" fmla="*/ 1857375 h 2352675"/>
              <a:gd name="connsiteX9" fmla="*/ 2009775 w 2305050"/>
              <a:gd name="connsiteY9" fmla="*/ 2105025 h 2352675"/>
              <a:gd name="connsiteX10" fmla="*/ 1733550 w 2305050"/>
              <a:gd name="connsiteY10" fmla="*/ 1971675 h 2352675"/>
              <a:gd name="connsiteX11" fmla="*/ 1543050 w 2305050"/>
              <a:gd name="connsiteY11" fmla="*/ 2352675 h 2352675"/>
              <a:gd name="connsiteX12" fmla="*/ 1314450 w 2305050"/>
              <a:gd name="connsiteY12" fmla="*/ 2133600 h 2352675"/>
              <a:gd name="connsiteX13" fmla="*/ 1447800 w 2305050"/>
              <a:gd name="connsiteY13" fmla="*/ 1771650 h 2352675"/>
              <a:gd name="connsiteX14" fmla="*/ 923925 w 2305050"/>
              <a:gd name="connsiteY14" fmla="*/ 1190625 h 2352675"/>
              <a:gd name="connsiteX15" fmla="*/ 447675 w 2305050"/>
              <a:gd name="connsiteY15" fmla="*/ 2276475 h 2352675"/>
              <a:gd name="connsiteX16" fmla="*/ 260071 w 2305050"/>
              <a:gd name="connsiteY16" fmla="*/ 2087575 h 2352675"/>
              <a:gd name="connsiteX17" fmla="*/ 523875 w 2305050"/>
              <a:gd name="connsiteY17" fmla="*/ 714375 h 2352675"/>
              <a:gd name="connsiteX18" fmla="*/ 0 w 2305050"/>
              <a:gd name="connsiteY18" fmla="*/ 0 h 2352675"/>
              <a:gd name="connsiteX0" fmla="*/ 0 w 2305050"/>
              <a:gd name="connsiteY0" fmla="*/ 0 h 2352675"/>
              <a:gd name="connsiteX1" fmla="*/ 771525 w 2305050"/>
              <a:gd name="connsiteY1" fmla="*/ 561975 h 2352675"/>
              <a:gd name="connsiteX2" fmla="*/ 2019300 w 2305050"/>
              <a:gd name="connsiteY2" fmla="*/ 428625 h 2352675"/>
              <a:gd name="connsiteX3" fmla="*/ 2266950 w 2305050"/>
              <a:gd name="connsiteY3" fmla="*/ 657225 h 2352675"/>
              <a:gd name="connsiteX4" fmla="*/ 1143000 w 2305050"/>
              <a:gd name="connsiteY4" fmla="*/ 1009650 h 2352675"/>
              <a:gd name="connsiteX5" fmla="*/ 1628775 w 2305050"/>
              <a:gd name="connsiteY5" fmla="*/ 1533525 h 2352675"/>
              <a:gd name="connsiteX6" fmla="*/ 2076450 w 2305050"/>
              <a:gd name="connsiteY6" fmla="*/ 1533525 h 2352675"/>
              <a:gd name="connsiteX7" fmla="*/ 2305050 w 2305050"/>
              <a:gd name="connsiteY7" fmla="*/ 1724025 h 2352675"/>
              <a:gd name="connsiteX8" fmla="*/ 1838325 w 2305050"/>
              <a:gd name="connsiteY8" fmla="*/ 1857375 h 2352675"/>
              <a:gd name="connsiteX9" fmla="*/ 2009775 w 2305050"/>
              <a:gd name="connsiteY9" fmla="*/ 2105025 h 2352675"/>
              <a:gd name="connsiteX10" fmla="*/ 1733550 w 2305050"/>
              <a:gd name="connsiteY10" fmla="*/ 1971675 h 2352675"/>
              <a:gd name="connsiteX11" fmla="*/ 1543050 w 2305050"/>
              <a:gd name="connsiteY11" fmla="*/ 2352675 h 2352675"/>
              <a:gd name="connsiteX12" fmla="*/ 1314450 w 2305050"/>
              <a:gd name="connsiteY12" fmla="*/ 2133600 h 2352675"/>
              <a:gd name="connsiteX13" fmla="*/ 1447800 w 2305050"/>
              <a:gd name="connsiteY13" fmla="*/ 1771650 h 2352675"/>
              <a:gd name="connsiteX14" fmla="*/ 923925 w 2305050"/>
              <a:gd name="connsiteY14" fmla="*/ 1190625 h 2352675"/>
              <a:gd name="connsiteX15" fmla="*/ 447675 w 2305050"/>
              <a:gd name="connsiteY15" fmla="*/ 2276475 h 2352675"/>
              <a:gd name="connsiteX16" fmla="*/ 296647 w 2305050"/>
              <a:gd name="connsiteY16" fmla="*/ 2094890 h 2352675"/>
              <a:gd name="connsiteX17" fmla="*/ 523875 w 2305050"/>
              <a:gd name="connsiteY17" fmla="*/ 714375 h 2352675"/>
              <a:gd name="connsiteX18" fmla="*/ 0 w 2305050"/>
              <a:gd name="connsiteY18" fmla="*/ 0 h 2352675"/>
              <a:gd name="connsiteX0" fmla="*/ 0 w 2305050"/>
              <a:gd name="connsiteY0" fmla="*/ 0 h 2352675"/>
              <a:gd name="connsiteX1" fmla="*/ 771525 w 2305050"/>
              <a:gd name="connsiteY1" fmla="*/ 561975 h 2352675"/>
              <a:gd name="connsiteX2" fmla="*/ 2019300 w 2305050"/>
              <a:gd name="connsiteY2" fmla="*/ 428625 h 2352675"/>
              <a:gd name="connsiteX3" fmla="*/ 2266950 w 2305050"/>
              <a:gd name="connsiteY3" fmla="*/ 657225 h 2352675"/>
              <a:gd name="connsiteX4" fmla="*/ 1143000 w 2305050"/>
              <a:gd name="connsiteY4" fmla="*/ 1009650 h 2352675"/>
              <a:gd name="connsiteX5" fmla="*/ 1628775 w 2305050"/>
              <a:gd name="connsiteY5" fmla="*/ 1533525 h 2352675"/>
              <a:gd name="connsiteX6" fmla="*/ 2076450 w 2305050"/>
              <a:gd name="connsiteY6" fmla="*/ 1533525 h 2352675"/>
              <a:gd name="connsiteX7" fmla="*/ 2305050 w 2305050"/>
              <a:gd name="connsiteY7" fmla="*/ 1724025 h 2352675"/>
              <a:gd name="connsiteX8" fmla="*/ 1838325 w 2305050"/>
              <a:gd name="connsiteY8" fmla="*/ 1857375 h 2352675"/>
              <a:gd name="connsiteX9" fmla="*/ 2009775 w 2305050"/>
              <a:gd name="connsiteY9" fmla="*/ 2105025 h 2352675"/>
              <a:gd name="connsiteX10" fmla="*/ 1733550 w 2305050"/>
              <a:gd name="connsiteY10" fmla="*/ 1971675 h 2352675"/>
              <a:gd name="connsiteX11" fmla="*/ 1543050 w 2305050"/>
              <a:gd name="connsiteY11" fmla="*/ 2352675 h 2352675"/>
              <a:gd name="connsiteX12" fmla="*/ 1314450 w 2305050"/>
              <a:gd name="connsiteY12" fmla="*/ 2133600 h 2352675"/>
              <a:gd name="connsiteX13" fmla="*/ 1447800 w 2305050"/>
              <a:gd name="connsiteY13" fmla="*/ 1771650 h 2352675"/>
              <a:gd name="connsiteX14" fmla="*/ 923925 w 2305050"/>
              <a:gd name="connsiteY14" fmla="*/ 1190625 h 2352675"/>
              <a:gd name="connsiteX15" fmla="*/ 447675 w 2305050"/>
              <a:gd name="connsiteY15" fmla="*/ 2276475 h 2352675"/>
              <a:gd name="connsiteX16" fmla="*/ 292990 w 2305050"/>
              <a:gd name="connsiteY16" fmla="*/ 2036368 h 2352675"/>
              <a:gd name="connsiteX17" fmla="*/ 523875 w 2305050"/>
              <a:gd name="connsiteY17" fmla="*/ 714375 h 2352675"/>
              <a:gd name="connsiteX18" fmla="*/ 0 w 2305050"/>
              <a:gd name="connsiteY18" fmla="*/ 0 h 2352675"/>
              <a:gd name="connsiteX0" fmla="*/ 0 w 2305050"/>
              <a:gd name="connsiteY0" fmla="*/ 0 h 2352675"/>
              <a:gd name="connsiteX1" fmla="*/ 771525 w 2305050"/>
              <a:gd name="connsiteY1" fmla="*/ 561975 h 2352675"/>
              <a:gd name="connsiteX2" fmla="*/ 2019300 w 2305050"/>
              <a:gd name="connsiteY2" fmla="*/ 428625 h 2352675"/>
              <a:gd name="connsiteX3" fmla="*/ 2266950 w 2305050"/>
              <a:gd name="connsiteY3" fmla="*/ 657225 h 2352675"/>
              <a:gd name="connsiteX4" fmla="*/ 1143000 w 2305050"/>
              <a:gd name="connsiteY4" fmla="*/ 1009650 h 2352675"/>
              <a:gd name="connsiteX5" fmla="*/ 1628775 w 2305050"/>
              <a:gd name="connsiteY5" fmla="*/ 1533525 h 2352675"/>
              <a:gd name="connsiteX6" fmla="*/ 2076450 w 2305050"/>
              <a:gd name="connsiteY6" fmla="*/ 1533525 h 2352675"/>
              <a:gd name="connsiteX7" fmla="*/ 2305050 w 2305050"/>
              <a:gd name="connsiteY7" fmla="*/ 1724025 h 2352675"/>
              <a:gd name="connsiteX8" fmla="*/ 1838325 w 2305050"/>
              <a:gd name="connsiteY8" fmla="*/ 1857375 h 2352675"/>
              <a:gd name="connsiteX9" fmla="*/ 2009775 w 2305050"/>
              <a:gd name="connsiteY9" fmla="*/ 2105025 h 2352675"/>
              <a:gd name="connsiteX10" fmla="*/ 1733550 w 2305050"/>
              <a:gd name="connsiteY10" fmla="*/ 1971675 h 2352675"/>
              <a:gd name="connsiteX11" fmla="*/ 1543050 w 2305050"/>
              <a:gd name="connsiteY11" fmla="*/ 2352675 h 2352675"/>
              <a:gd name="connsiteX12" fmla="*/ 1314450 w 2305050"/>
              <a:gd name="connsiteY12" fmla="*/ 2133600 h 2352675"/>
              <a:gd name="connsiteX13" fmla="*/ 1447800 w 2305050"/>
              <a:gd name="connsiteY13" fmla="*/ 1771650 h 2352675"/>
              <a:gd name="connsiteX14" fmla="*/ 923925 w 2305050"/>
              <a:gd name="connsiteY14" fmla="*/ 1190625 h 2352675"/>
              <a:gd name="connsiteX15" fmla="*/ 414757 w 2305050"/>
              <a:gd name="connsiteY15" fmla="*/ 2305735 h 2352675"/>
              <a:gd name="connsiteX16" fmla="*/ 292990 w 2305050"/>
              <a:gd name="connsiteY16" fmla="*/ 2036368 h 2352675"/>
              <a:gd name="connsiteX17" fmla="*/ 523875 w 2305050"/>
              <a:gd name="connsiteY17" fmla="*/ 714375 h 2352675"/>
              <a:gd name="connsiteX18" fmla="*/ 0 w 2305050"/>
              <a:gd name="connsiteY18" fmla="*/ 0 h 2352675"/>
              <a:gd name="connsiteX0" fmla="*/ 0 w 2305050"/>
              <a:gd name="connsiteY0" fmla="*/ 0 h 2352675"/>
              <a:gd name="connsiteX1" fmla="*/ 771525 w 2305050"/>
              <a:gd name="connsiteY1" fmla="*/ 561975 h 2352675"/>
              <a:gd name="connsiteX2" fmla="*/ 2019300 w 2305050"/>
              <a:gd name="connsiteY2" fmla="*/ 428625 h 2352675"/>
              <a:gd name="connsiteX3" fmla="*/ 2292554 w 2305050"/>
              <a:gd name="connsiteY3" fmla="*/ 627964 h 2352675"/>
              <a:gd name="connsiteX4" fmla="*/ 1143000 w 2305050"/>
              <a:gd name="connsiteY4" fmla="*/ 1009650 h 2352675"/>
              <a:gd name="connsiteX5" fmla="*/ 1628775 w 2305050"/>
              <a:gd name="connsiteY5" fmla="*/ 1533525 h 2352675"/>
              <a:gd name="connsiteX6" fmla="*/ 2076450 w 2305050"/>
              <a:gd name="connsiteY6" fmla="*/ 1533525 h 2352675"/>
              <a:gd name="connsiteX7" fmla="*/ 2305050 w 2305050"/>
              <a:gd name="connsiteY7" fmla="*/ 1724025 h 2352675"/>
              <a:gd name="connsiteX8" fmla="*/ 1838325 w 2305050"/>
              <a:gd name="connsiteY8" fmla="*/ 1857375 h 2352675"/>
              <a:gd name="connsiteX9" fmla="*/ 2009775 w 2305050"/>
              <a:gd name="connsiteY9" fmla="*/ 2105025 h 2352675"/>
              <a:gd name="connsiteX10" fmla="*/ 1733550 w 2305050"/>
              <a:gd name="connsiteY10" fmla="*/ 1971675 h 2352675"/>
              <a:gd name="connsiteX11" fmla="*/ 1543050 w 2305050"/>
              <a:gd name="connsiteY11" fmla="*/ 2352675 h 2352675"/>
              <a:gd name="connsiteX12" fmla="*/ 1314450 w 2305050"/>
              <a:gd name="connsiteY12" fmla="*/ 2133600 h 2352675"/>
              <a:gd name="connsiteX13" fmla="*/ 1447800 w 2305050"/>
              <a:gd name="connsiteY13" fmla="*/ 1771650 h 2352675"/>
              <a:gd name="connsiteX14" fmla="*/ 923925 w 2305050"/>
              <a:gd name="connsiteY14" fmla="*/ 1190625 h 2352675"/>
              <a:gd name="connsiteX15" fmla="*/ 414757 w 2305050"/>
              <a:gd name="connsiteY15" fmla="*/ 2305735 h 2352675"/>
              <a:gd name="connsiteX16" fmla="*/ 292990 w 2305050"/>
              <a:gd name="connsiteY16" fmla="*/ 2036368 h 2352675"/>
              <a:gd name="connsiteX17" fmla="*/ 523875 w 2305050"/>
              <a:gd name="connsiteY17" fmla="*/ 714375 h 2352675"/>
              <a:gd name="connsiteX18" fmla="*/ 0 w 2305050"/>
              <a:gd name="connsiteY18" fmla="*/ 0 h 2352675"/>
              <a:gd name="connsiteX0" fmla="*/ 0 w 2305050"/>
              <a:gd name="connsiteY0" fmla="*/ 0 h 2352675"/>
              <a:gd name="connsiteX1" fmla="*/ 771525 w 2305050"/>
              <a:gd name="connsiteY1" fmla="*/ 561975 h 2352675"/>
              <a:gd name="connsiteX2" fmla="*/ 2081480 w 2305050"/>
              <a:gd name="connsiteY2" fmla="*/ 476174 h 2352675"/>
              <a:gd name="connsiteX3" fmla="*/ 2292554 w 2305050"/>
              <a:gd name="connsiteY3" fmla="*/ 627964 h 2352675"/>
              <a:gd name="connsiteX4" fmla="*/ 1143000 w 2305050"/>
              <a:gd name="connsiteY4" fmla="*/ 1009650 h 2352675"/>
              <a:gd name="connsiteX5" fmla="*/ 1628775 w 2305050"/>
              <a:gd name="connsiteY5" fmla="*/ 1533525 h 2352675"/>
              <a:gd name="connsiteX6" fmla="*/ 2076450 w 2305050"/>
              <a:gd name="connsiteY6" fmla="*/ 1533525 h 2352675"/>
              <a:gd name="connsiteX7" fmla="*/ 2305050 w 2305050"/>
              <a:gd name="connsiteY7" fmla="*/ 1724025 h 2352675"/>
              <a:gd name="connsiteX8" fmla="*/ 1838325 w 2305050"/>
              <a:gd name="connsiteY8" fmla="*/ 1857375 h 2352675"/>
              <a:gd name="connsiteX9" fmla="*/ 2009775 w 2305050"/>
              <a:gd name="connsiteY9" fmla="*/ 2105025 h 2352675"/>
              <a:gd name="connsiteX10" fmla="*/ 1733550 w 2305050"/>
              <a:gd name="connsiteY10" fmla="*/ 1971675 h 2352675"/>
              <a:gd name="connsiteX11" fmla="*/ 1543050 w 2305050"/>
              <a:gd name="connsiteY11" fmla="*/ 2352675 h 2352675"/>
              <a:gd name="connsiteX12" fmla="*/ 1314450 w 2305050"/>
              <a:gd name="connsiteY12" fmla="*/ 2133600 h 2352675"/>
              <a:gd name="connsiteX13" fmla="*/ 1447800 w 2305050"/>
              <a:gd name="connsiteY13" fmla="*/ 1771650 h 2352675"/>
              <a:gd name="connsiteX14" fmla="*/ 923925 w 2305050"/>
              <a:gd name="connsiteY14" fmla="*/ 1190625 h 2352675"/>
              <a:gd name="connsiteX15" fmla="*/ 414757 w 2305050"/>
              <a:gd name="connsiteY15" fmla="*/ 2305735 h 2352675"/>
              <a:gd name="connsiteX16" fmla="*/ 292990 w 2305050"/>
              <a:gd name="connsiteY16" fmla="*/ 2036368 h 2352675"/>
              <a:gd name="connsiteX17" fmla="*/ 523875 w 2305050"/>
              <a:gd name="connsiteY17" fmla="*/ 714375 h 2352675"/>
              <a:gd name="connsiteX18" fmla="*/ 0 w 2305050"/>
              <a:gd name="connsiteY18" fmla="*/ 0 h 2352675"/>
              <a:gd name="connsiteX0" fmla="*/ 0 w 2305050"/>
              <a:gd name="connsiteY0" fmla="*/ 0 h 2352675"/>
              <a:gd name="connsiteX1" fmla="*/ 771525 w 2305050"/>
              <a:gd name="connsiteY1" fmla="*/ 561975 h 2352675"/>
              <a:gd name="connsiteX2" fmla="*/ 2004671 w 2305050"/>
              <a:gd name="connsiteY2" fmla="*/ 468859 h 2352675"/>
              <a:gd name="connsiteX3" fmla="*/ 2292554 w 2305050"/>
              <a:gd name="connsiteY3" fmla="*/ 627964 h 2352675"/>
              <a:gd name="connsiteX4" fmla="*/ 1143000 w 2305050"/>
              <a:gd name="connsiteY4" fmla="*/ 1009650 h 2352675"/>
              <a:gd name="connsiteX5" fmla="*/ 1628775 w 2305050"/>
              <a:gd name="connsiteY5" fmla="*/ 1533525 h 2352675"/>
              <a:gd name="connsiteX6" fmla="*/ 2076450 w 2305050"/>
              <a:gd name="connsiteY6" fmla="*/ 1533525 h 2352675"/>
              <a:gd name="connsiteX7" fmla="*/ 2305050 w 2305050"/>
              <a:gd name="connsiteY7" fmla="*/ 1724025 h 2352675"/>
              <a:gd name="connsiteX8" fmla="*/ 1838325 w 2305050"/>
              <a:gd name="connsiteY8" fmla="*/ 1857375 h 2352675"/>
              <a:gd name="connsiteX9" fmla="*/ 2009775 w 2305050"/>
              <a:gd name="connsiteY9" fmla="*/ 2105025 h 2352675"/>
              <a:gd name="connsiteX10" fmla="*/ 1733550 w 2305050"/>
              <a:gd name="connsiteY10" fmla="*/ 1971675 h 2352675"/>
              <a:gd name="connsiteX11" fmla="*/ 1543050 w 2305050"/>
              <a:gd name="connsiteY11" fmla="*/ 2352675 h 2352675"/>
              <a:gd name="connsiteX12" fmla="*/ 1314450 w 2305050"/>
              <a:gd name="connsiteY12" fmla="*/ 2133600 h 2352675"/>
              <a:gd name="connsiteX13" fmla="*/ 1447800 w 2305050"/>
              <a:gd name="connsiteY13" fmla="*/ 1771650 h 2352675"/>
              <a:gd name="connsiteX14" fmla="*/ 923925 w 2305050"/>
              <a:gd name="connsiteY14" fmla="*/ 1190625 h 2352675"/>
              <a:gd name="connsiteX15" fmla="*/ 414757 w 2305050"/>
              <a:gd name="connsiteY15" fmla="*/ 2305735 h 2352675"/>
              <a:gd name="connsiteX16" fmla="*/ 292990 w 2305050"/>
              <a:gd name="connsiteY16" fmla="*/ 2036368 h 2352675"/>
              <a:gd name="connsiteX17" fmla="*/ 523875 w 2305050"/>
              <a:gd name="connsiteY17" fmla="*/ 714375 h 2352675"/>
              <a:gd name="connsiteX18" fmla="*/ 0 w 2305050"/>
              <a:gd name="connsiteY18" fmla="*/ 0 h 2352675"/>
              <a:gd name="connsiteX0" fmla="*/ 0 w 2305050"/>
              <a:gd name="connsiteY0" fmla="*/ 0 h 2352675"/>
              <a:gd name="connsiteX1" fmla="*/ 771525 w 2305050"/>
              <a:gd name="connsiteY1" fmla="*/ 561975 h 2352675"/>
              <a:gd name="connsiteX2" fmla="*/ 1960779 w 2305050"/>
              <a:gd name="connsiteY2" fmla="*/ 472517 h 2352675"/>
              <a:gd name="connsiteX3" fmla="*/ 2292554 w 2305050"/>
              <a:gd name="connsiteY3" fmla="*/ 627964 h 2352675"/>
              <a:gd name="connsiteX4" fmla="*/ 1143000 w 2305050"/>
              <a:gd name="connsiteY4" fmla="*/ 1009650 h 2352675"/>
              <a:gd name="connsiteX5" fmla="*/ 1628775 w 2305050"/>
              <a:gd name="connsiteY5" fmla="*/ 1533525 h 2352675"/>
              <a:gd name="connsiteX6" fmla="*/ 2076450 w 2305050"/>
              <a:gd name="connsiteY6" fmla="*/ 1533525 h 2352675"/>
              <a:gd name="connsiteX7" fmla="*/ 2305050 w 2305050"/>
              <a:gd name="connsiteY7" fmla="*/ 1724025 h 2352675"/>
              <a:gd name="connsiteX8" fmla="*/ 1838325 w 2305050"/>
              <a:gd name="connsiteY8" fmla="*/ 1857375 h 2352675"/>
              <a:gd name="connsiteX9" fmla="*/ 2009775 w 2305050"/>
              <a:gd name="connsiteY9" fmla="*/ 2105025 h 2352675"/>
              <a:gd name="connsiteX10" fmla="*/ 1733550 w 2305050"/>
              <a:gd name="connsiteY10" fmla="*/ 1971675 h 2352675"/>
              <a:gd name="connsiteX11" fmla="*/ 1543050 w 2305050"/>
              <a:gd name="connsiteY11" fmla="*/ 2352675 h 2352675"/>
              <a:gd name="connsiteX12" fmla="*/ 1314450 w 2305050"/>
              <a:gd name="connsiteY12" fmla="*/ 2133600 h 2352675"/>
              <a:gd name="connsiteX13" fmla="*/ 1447800 w 2305050"/>
              <a:gd name="connsiteY13" fmla="*/ 1771650 h 2352675"/>
              <a:gd name="connsiteX14" fmla="*/ 923925 w 2305050"/>
              <a:gd name="connsiteY14" fmla="*/ 1190625 h 2352675"/>
              <a:gd name="connsiteX15" fmla="*/ 414757 w 2305050"/>
              <a:gd name="connsiteY15" fmla="*/ 2305735 h 2352675"/>
              <a:gd name="connsiteX16" fmla="*/ 292990 w 2305050"/>
              <a:gd name="connsiteY16" fmla="*/ 2036368 h 2352675"/>
              <a:gd name="connsiteX17" fmla="*/ 523875 w 2305050"/>
              <a:gd name="connsiteY17" fmla="*/ 714375 h 2352675"/>
              <a:gd name="connsiteX18" fmla="*/ 0 w 2305050"/>
              <a:gd name="connsiteY18" fmla="*/ 0 h 2352675"/>
              <a:gd name="connsiteX0" fmla="*/ 0 w 2305050"/>
              <a:gd name="connsiteY0" fmla="*/ 0 h 2352675"/>
              <a:gd name="connsiteX1" fmla="*/ 771525 w 2305050"/>
              <a:gd name="connsiteY1" fmla="*/ 561975 h 2352675"/>
              <a:gd name="connsiteX2" fmla="*/ 1960779 w 2305050"/>
              <a:gd name="connsiteY2" fmla="*/ 472517 h 2352675"/>
              <a:gd name="connsiteX3" fmla="*/ 2270609 w 2305050"/>
              <a:gd name="connsiteY3" fmla="*/ 649910 h 2352675"/>
              <a:gd name="connsiteX4" fmla="*/ 1143000 w 2305050"/>
              <a:gd name="connsiteY4" fmla="*/ 1009650 h 2352675"/>
              <a:gd name="connsiteX5" fmla="*/ 1628775 w 2305050"/>
              <a:gd name="connsiteY5" fmla="*/ 1533525 h 2352675"/>
              <a:gd name="connsiteX6" fmla="*/ 2076450 w 2305050"/>
              <a:gd name="connsiteY6" fmla="*/ 1533525 h 2352675"/>
              <a:gd name="connsiteX7" fmla="*/ 2305050 w 2305050"/>
              <a:gd name="connsiteY7" fmla="*/ 1724025 h 2352675"/>
              <a:gd name="connsiteX8" fmla="*/ 1838325 w 2305050"/>
              <a:gd name="connsiteY8" fmla="*/ 1857375 h 2352675"/>
              <a:gd name="connsiteX9" fmla="*/ 2009775 w 2305050"/>
              <a:gd name="connsiteY9" fmla="*/ 2105025 h 2352675"/>
              <a:gd name="connsiteX10" fmla="*/ 1733550 w 2305050"/>
              <a:gd name="connsiteY10" fmla="*/ 1971675 h 2352675"/>
              <a:gd name="connsiteX11" fmla="*/ 1543050 w 2305050"/>
              <a:gd name="connsiteY11" fmla="*/ 2352675 h 2352675"/>
              <a:gd name="connsiteX12" fmla="*/ 1314450 w 2305050"/>
              <a:gd name="connsiteY12" fmla="*/ 2133600 h 2352675"/>
              <a:gd name="connsiteX13" fmla="*/ 1447800 w 2305050"/>
              <a:gd name="connsiteY13" fmla="*/ 1771650 h 2352675"/>
              <a:gd name="connsiteX14" fmla="*/ 923925 w 2305050"/>
              <a:gd name="connsiteY14" fmla="*/ 1190625 h 2352675"/>
              <a:gd name="connsiteX15" fmla="*/ 414757 w 2305050"/>
              <a:gd name="connsiteY15" fmla="*/ 2305735 h 2352675"/>
              <a:gd name="connsiteX16" fmla="*/ 292990 w 2305050"/>
              <a:gd name="connsiteY16" fmla="*/ 2036368 h 2352675"/>
              <a:gd name="connsiteX17" fmla="*/ 523875 w 2305050"/>
              <a:gd name="connsiteY17" fmla="*/ 714375 h 2352675"/>
              <a:gd name="connsiteX18" fmla="*/ 0 w 2305050"/>
              <a:gd name="connsiteY18" fmla="*/ 0 h 2352675"/>
              <a:gd name="connsiteX0" fmla="*/ 0 w 2305050"/>
              <a:gd name="connsiteY0" fmla="*/ 0 h 2352675"/>
              <a:gd name="connsiteX1" fmla="*/ 771525 w 2305050"/>
              <a:gd name="connsiteY1" fmla="*/ 561975 h 2352675"/>
              <a:gd name="connsiteX2" fmla="*/ 1960779 w 2305050"/>
              <a:gd name="connsiteY2" fmla="*/ 472517 h 2352675"/>
              <a:gd name="connsiteX3" fmla="*/ 2296212 w 2305050"/>
              <a:gd name="connsiteY3" fmla="*/ 646252 h 2352675"/>
              <a:gd name="connsiteX4" fmla="*/ 1143000 w 2305050"/>
              <a:gd name="connsiteY4" fmla="*/ 1009650 h 2352675"/>
              <a:gd name="connsiteX5" fmla="*/ 1628775 w 2305050"/>
              <a:gd name="connsiteY5" fmla="*/ 1533525 h 2352675"/>
              <a:gd name="connsiteX6" fmla="*/ 2076450 w 2305050"/>
              <a:gd name="connsiteY6" fmla="*/ 1533525 h 2352675"/>
              <a:gd name="connsiteX7" fmla="*/ 2305050 w 2305050"/>
              <a:gd name="connsiteY7" fmla="*/ 1724025 h 2352675"/>
              <a:gd name="connsiteX8" fmla="*/ 1838325 w 2305050"/>
              <a:gd name="connsiteY8" fmla="*/ 1857375 h 2352675"/>
              <a:gd name="connsiteX9" fmla="*/ 2009775 w 2305050"/>
              <a:gd name="connsiteY9" fmla="*/ 2105025 h 2352675"/>
              <a:gd name="connsiteX10" fmla="*/ 1733550 w 2305050"/>
              <a:gd name="connsiteY10" fmla="*/ 1971675 h 2352675"/>
              <a:gd name="connsiteX11" fmla="*/ 1543050 w 2305050"/>
              <a:gd name="connsiteY11" fmla="*/ 2352675 h 2352675"/>
              <a:gd name="connsiteX12" fmla="*/ 1314450 w 2305050"/>
              <a:gd name="connsiteY12" fmla="*/ 2133600 h 2352675"/>
              <a:gd name="connsiteX13" fmla="*/ 1447800 w 2305050"/>
              <a:gd name="connsiteY13" fmla="*/ 1771650 h 2352675"/>
              <a:gd name="connsiteX14" fmla="*/ 923925 w 2305050"/>
              <a:gd name="connsiteY14" fmla="*/ 1190625 h 2352675"/>
              <a:gd name="connsiteX15" fmla="*/ 414757 w 2305050"/>
              <a:gd name="connsiteY15" fmla="*/ 2305735 h 2352675"/>
              <a:gd name="connsiteX16" fmla="*/ 292990 w 2305050"/>
              <a:gd name="connsiteY16" fmla="*/ 2036368 h 2352675"/>
              <a:gd name="connsiteX17" fmla="*/ 523875 w 2305050"/>
              <a:gd name="connsiteY17" fmla="*/ 714375 h 2352675"/>
              <a:gd name="connsiteX18" fmla="*/ 0 w 2305050"/>
              <a:gd name="connsiteY18" fmla="*/ 0 h 2352675"/>
              <a:gd name="connsiteX0" fmla="*/ 0 w 2305050"/>
              <a:gd name="connsiteY0" fmla="*/ 0 h 2352675"/>
              <a:gd name="connsiteX1" fmla="*/ 771525 w 2305050"/>
              <a:gd name="connsiteY1" fmla="*/ 561975 h 2352675"/>
              <a:gd name="connsiteX2" fmla="*/ 1982725 w 2305050"/>
              <a:gd name="connsiteY2" fmla="*/ 494463 h 2352675"/>
              <a:gd name="connsiteX3" fmla="*/ 2296212 w 2305050"/>
              <a:gd name="connsiteY3" fmla="*/ 646252 h 2352675"/>
              <a:gd name="connsiteX4" fmla="*/ 1143000 w 2305050"/>
              <a:gd name="connsiteY4" fmla="*/ 1009650 h 2352675"/>
              <a:gd name="connsiteX5" fmla="*/ 1628775 w 2305050"/>
              <a:gd name="connsiteY5" fmla="*/ 1533525 h 2352675"/>
              <a:gd name="connsiteX6" fmla="*/ 2076450 w 2305050"/>
              <a:gd name="connsiteY6" fmla="*/ 1533525 h 2352675"/>
              <a:gd name="connsiteX7" fmla="*/ 2305050 w 2305050"/>
              <a:gd name="connsiteY7" fmla="*/ 1724025 h 2352675"/>
              <a:gd name="connsiteX8" fmla="*/ 1838325 w 2305050"/>
              <a:gd name="connsiteY8" fmla="*/ 1857375 h 2352675"/>
              <a:gd name="connsiteX9" fmla="*/ 2009775 w 2305050"/>
              <a:gd name="connsiteY9" fmla="*/ 2105025 h 2352675"/>
              <a:gd name="connsiteX10" fmla="*/ 1733550 w 2305050"/>
              <a:gd name="connsiteY10" fmla="*/ 1971675 h 2352675"/>
              <a:gd name="connsiteX11" fmla="*/ 1543050 w 2305050"/>
              <a:gd name="connsiteY11" fmla="*/ 2352675 h 2352675"/>
              <a:gd name="connsiteX12" fmla="*/ 1314450 w 2305050"/>
              <a:gd name="connsiteY12" fmla="*/ 2133600 h 2352675"/>
              <a:gd name="connsiteX13" fmla="*/ 1447800 w 2305050"/>
              <a:gd name="connsiteY13" fmla="*/ 1771650 h 2352675"/>
              <a:gd name="connsiteX14" fmla="*/ 923925 w 2305050"/>
              <a:gd name="connsiteY14" fmla="*/ 1190625 h 2352675"/>
              <a:gd name="connsiteX15" fmla="*/ 414757 w 2305050"/>
              <a:gd name="connsiteY15" fmla="*/ 2305735 h 2352675"/>
              <a:gd name="connsiteX16" fmla="*/ 292990 w 2305050"/>
              <a:gd name="connsiteY16" fmla="*/ 2036368 h 2352675"/>
              <a:gd name="connsiteX17" fmla="*/ 523875 w 2305050"/>
              <a:gd name="connsiteY17" fmla="*/ 714375 h 2352675"/>
              <a:gd name="connsiteX18" fmla="*/ 0 w 2305050"/>
              <a:gd name="connsiteY18" fmla="*/ 0 h 2352675"/>
              <a:gd name="connsiteX0" fmla="*/ 0 w 2305050"/>
              <a:gd name="connsiteY0" fmla="*/ 0 h 2352675"/>
              <a:gd name="connsiteX1" fmla="*/ 771525 w 2305050"/>
              <a:gd name="connsiteY1" fmla="*/ 561975 h 2352675"/>
              <a:gd name="connsiteX2" fmla="*/ 2041246 w 2305050"/>
              <a:gd name="connsiteY2" fmla="*/ 498120 h 2352675"/>
              <a:gd name="connsiteX3" fmla="*/ 2296212 w 2305050"/>
              <a:gd name="connsiteY3" fmla="*/ 646252 h 2352675"/>
              <a:gd name="connsiteX4" fmla="*/ 1143000 w 2305050"/>
              <a:gd name="connsiteY4" fmla="*/ 1009650 h 2352675"/>
              <a:gd name="connsiteX5" fmla="*/ 1628775 w 2305050"/>
              <a:gd name="connsiteY5" fmla="*/ 1533525 h 2352675"/>
              <a:gd name="connsiteX6" fmla="*/ 2076450 w 2305050"/>
              <a:gd name="connsiteY6" fmla="*/ 1533525 h 2352675"/>
              <a:gd name="connsiteX7" fmla="*/ 2305050 w 2305050"/>
              <a:gd name="connsiteY7" fmla="*/ 1724025 h 2352675"/>
              <a:gd name="connsiteX8" fmla="*/ 1838325 w 2305050"/>
              <a:gd name="connsiteY8" fmla="*/ 1857375 h 2352675"/>
              <a:gd name="connsiteX9" fmla="*/ 2009775 w 2305050"/>
              <a:gd name="connsiteY9" fmla="*/ 2105025 h 2352675"/>
              <a:gd name="connsiteX10" fmla="*/ 1733550 w 2305050"/>
              <a:gd name="connsiteY10" fmla="*/ 1971675 h 2352675"/>
              <a:gd name="connsiteX11" fmla="*/ 1543050 w 2305050"/>
              <a:gd name="connsiteY11" fmla="*/ 2352675 h 2352675"/>
              <a:gd name="connsiteX12" fmla="*/ 1314450 w 2305050"/>
              <a:gd name="connsiteY12" fmla="*/ 2133600 h 2352675"/>
              <a:gd name="connsiteX13" fmla="*/ 1447800 w 2305050"/>
              <a:gd name="connsiteY13" fmla="*/ 1771650 h 2352675"/>
              <a:gd name="connsiteX14" fmla="*/ 923925 w 2305050"/>
              <a:gd name="connsiteY14" fmla="*/ 1190625 h 2352675"/>
              <a:gd name="connsiteX15" fmla="*/ 414757 w 2305050"/>
              <a:gd name="connsiteY15" fmla="*/ 2305735 h 2352675"/>
              <a:gd name="connsiteX16" fmla="*/ 292990 w 2305050"/>
              <a:gd name="connsiteY16" fmla="*/ 2036368 h 2352675"/>
              <a:gd name="connsiteX17" fmla="*/ 523875 w 2305050"/>
              <a:gd name="connsiteY17" fmla="*/ 714375 h 2352675"/>
              <a:gd name="connsiteX18" fmla="*/ 0 w 2305050"/>
              <a:gd name="connsiteY18" fmla="*/ 0 h 2352675"/>
              <a:gd name="connsiteX0" fmla="*/ 0 w 2305050"/>
              <a:gd name="connsiteY0" fmla="*/ 0 h 2352675"/>
              <a:gd name="connsiteX1" fmla="*/ 771525 w 2305050"/>
              <a:gd name="connsiteY1" fmla="*/ 561975 h 2352675"/>
              <a:gd name="connsiteX2" fmla="*/ 2041246 w 2305050"/>
              <a:gd name="connsiteY2" fmla="*/ 498120 h 2352675"/>
              <a:gd name="connsiteX3" fmla="*/ 2296212 w 2305050"/>
              <a:gd name="connsiteY3" fmla="*/ 646252 h 2352675"/>
              <a:gd name="connsiteX4" fmla="*/ 1143000 w 2305050"/>
              <a:gd name="connsiteY4" fmla="*/ 1009650 h 2352675"/>
              <a:gd name="connsiteX5" fmla="*/ 1628775 w 2305050"/>
              <a:gd name="connsiteY5" fmla="*/ 1533525 h 2352675"/>
              <a:gd name="connsiteX6" fmla="*/ 2076450 w 2305050"/>
              <a:gd name="connsiteY6" fmla="*/ 1533525 h 2352675"/>
              <a:gd name="connsiteX7" fmla="*/ 2305050 w 2305050"/>
              <a:gd name="connsiteY7" fmla="*/ 1724025 h 2352675"/>
              <a:gd name="connsiteX8" fmla="*/ 1838325 w 2305050"/>
              <a:gd name="connsiteY8" fmla="*/ 1857375 h 2352675"/>
              <a:gd name="connsiteX9" fmla="*/ 2009775 w 2305050"/>
              <a:gd name="connsiteY9" fmla="*/ 2105025 h 2352675"/>
              <a:gd name="connsiteX10" fmla="*/ 1733550 w 2305050"/>
              <a:gd name="connsiteY10" fmla="*/ 1971675 h 2352675"/>
              <a:gd name="connsiteX11" fmla="*/ 1543050 w 2305050"/>
              <a:gd name="connsiteY11" fmla="*/ 2352675 h 2352675"/>
              <a:gd name="connsiteX12" fmla="*/ 1314450 w 2305050"/>
              <a:gd name="connsiteY12" fmla="*/ 2133600 h 2352675"/>
              <a:gd name="connsiteX13" fmla="*/ 1447800 w 2305050"/>
              <a:gd name="connsiteY13" fmla="*/ 1771650 h 2352675"/>
              <a:gd name="connsiteX14" fmla="*/ 923925 w 2305050"/>
              <a:gd name="connsiteY14" fmla="*/ 1190625 h 2352675"/>
              <a:gd name="connsiteX15" fmla="*/ 414757 w 2305050"/>
              <a:gd name="connsiteY15" fmla="*/ 2305735 h 2352675"/>
              <a:gd name="connsiteX16" fmla="*/ 292990 w 2305050"/>
              <a:gd name="connsiteY16" fmla="*/ 2036368 h 2352675"/>
              <a:gd name="connsiteX17" fmla="*/ 520217 w 2305050"/>
              <a:gd name="connsiteY17" fmla="*/ 750951 h 2352675"/>
              <a:gd name="connsiteX18" fmla="*/ 0 w 2305050"/>
              <a:gd name="connsiteY18" fmla="*/ 0 h 2352675"/>
              <a:gd name="connsiteX0" fmla="*/ 0 w 2305050"/>
              <a:gd name="connsiteY0" fmla="*/ 0 h 2352675"/>
              <a:gd name="connsiteX1" fmla="*/ 771525 w 2305050"/>
              <a:gd name="connsiteY1" fmla="*/ 561975 h 2352675"/>
              <a:gd name="connsiteX2" fmla="*/ 2041246 w 2305050"/>
              <a:gd name="connsiteY2" fmla="*/ 498120 h 2352675"/>
              <a:gd name="connsiteX3" fmla="*/ 2296212 w 2305050"/>
              <a:gd name="connsiteY3" fmla="*/ 646252 h 2352675"/>
              <a:gd name="connsiteX4" fmla="*/ 1143000 w 2305050"/>
              <a:gd name="connsiteY4" fmla="*/ 1009650 h 2352675"/>
              <a:gd name="connsiteX5" fmla="*/ 1628775 w 2305050"/>
              <a:gd name="connsiteY5" fmla="*/ 1533525 h 2352675"/>
              <a:gd name="connsiteX6" fmla="*/ 2076450 w 2305050"/>
              <a:gd name="connsiteY6" fmla="*/ 1533525 h 2352675"/>
              <a:gd name="connsiteX7" fmla="*/ 2305050 w 2305050"/>
              <a:gd name="connsiteY7" fmla="*/ 1724025 h 2352675"/>
              <a:gd name="connsiteX8" fmla="*/ 1838325 w 2305050"/>
              <a:gd name="connsiteY8" fmla="*/ 1857375 h 2352675"/>
              <a:gd name="connsiteX9" fmla="*/ 2009775 w 2305050"/>
              <a:gd name="connsiteY9" fmla="*/ 2105025 h 2352675"/>
              <a:gd name="connsiteX10" fmla="*/ 1733550 w 2305050"/>
              <a:gd name="connsiteY10" fmla="*/ 1971675 h 2352675"/>
              <a:gd name="connsiteX11" fmla="*/ 1543050 w 2305050"/>
              <a:gd name="connsiteY11" fmla="*/ 2352675 h 2352675"/>
              <a:gd name="connsiteX12" fmla="*/ 1314450 w 2305050"/>
              <a:gd name="connsiteY12" fmla="*/ 2133600 h 2352675"/>
              <a:gd name="connsiteX13" fmla="*/ 1447800 w 2305050"/>
              <a:gd name="connsiteY13" fmla="*/ 1771650 h 2352675"/>
              <a:gd name="connsiteX14" fmla="*/ 923925 w 2305050"/>
              <a:gd name="connsiteY14" fmla="*/ 1190625 h 2352675"/>
              <a:gd name="connsiteX15" fmla="*/ 414757 w 2305050"/>
              <a:gd name="connsiteY15" fmla="*/ 2305735 h 2352675"/>
              <a:gd name="connsiteX16" fmla="*/ 292990 w 2305050"/>
              <a:gd name="connsiteY16" fmla="*/ 2036368 h 2352675"/>
              <a:gd name="connsiteX17" fmla="*/ 520217 w 2305050"/>
              <a:gd name="connsiteY17" fmla="*/ 750951 h 2352675"/>
              <a:gd name="connsiteX18" fmla="*/ 0 w 2305050"/>
              <a:gd name="connsiteY18" fmla="*/ 0 h 2352675"/>
              <a:gd name="connsiteX0" fmla="*/ 0 w 2305050"/>
              <a:gd name="connsiteY0" fmla="*/ 0 h 2352675"/>
              <a:gd name="connsiteX1" fmla="*/ 771525 w 2305050"/>
              <a:gd name="connsiteY1" fmla="*/ 561975 h 2352675"/>
              <a:gd name="connsiteX2" fmla="*/ 2041246 w 2305050"/>
              <a:gd name="connsiteY2" fmla="*/ 498120 h 2352675"/>
              <a:gd name="connsiteX3" fmla="*/ 2296212 w 2305050"/>
              <a:gd name="connsiteY3" fmla="*/ 646252 h 2352675"/>
              <a:gd name="connsiteX4" fmla="*/ 1143000 w 2305050"/>
              <a:gd name="connsiteY4" fmla="*/ 1009650 h 2352675"/>
              <a:gd name="connsiteX5" fmla="*/ 1628775 w 2305050"/>
              <a:gd name="connsiteY5" fmla="*/ 1533525 h 2352675"/>
              <a:gd name="connsiteX6" fmla="*/ 2076450 w 2305050"/>
              <a:gd name="connsiteY6" fmla="*/ 1533525 h 2352675"/>
              <a:gd name="connsiteX7" fmla="*/ 2305050 w 2305050"/>
              <a:gd name="connsiteY7" fmla="*/ 1724025 h 2352675"/>
              <a:gd name="connsiteX8" fmla="*/ 1838325 w 2305050"/>
              <a:gd name="connsiteY8" fmla="*/ 1857375 h 2352675"/>
              <a:gd name="connsiteX9" fmla="*/ 2009775 w 2305050"/>
              <a:gd name="connsiteY9" fmla="*/ 2105025 h 2352675"/>
              <a:gd name="connsiteX10" fmla="*/ 1733550 w 2305050"/>
              <a:gd name="connsiteY10" fmla="*/ 1971675 h 2352675"/>
              <a:gd name="connsiteX11" fmla="*/ 1543050 w 2305050"/>
              <a:gd name="connsiteY11" fmla="*/ 2352675 h 2352675"/>
              <a:gd name="connsiteX12" fmla="*/ 1314450 w 2305050"/>
              <a:gd name="connsiteY12" fmla="*/ 2133600 h 2352675"/>
              <a:gd name="connsiteX13" fmla="*/ 1447800 w 2305050"/>
              <a:gd name="connsiteY13" fmla="*/ 1771650 h 2352675"/>
              <a:gd name="connsiteX14" fmla="*/ 923925 w 2305050"/>
              <a:gd name="connsiteY14" fmla="*/ 1190625 h 2352675"/>
              <a:gd name="connsiteX15" fmla="*/ 414757 w 2305050"/>
              <a:gd name="connsiteY15" fmla="*/ 2305735 h 2352675"/>
              <a:gd name="connsiteX16" fmla="*/ 292990 w 2305050"/>
              <a:gd name="connsiteY16" fmla="*/ 2036368 h 2352675"/>
              <a:gd name="connsiteX17" fmla="*/ 520217 w 2305050"/>
              <a:gd name="connsiteY17" fmla="*/ 750951 h 2352675"/>
              <a:gd name="connsiteX18" fmla="*/ 0 w 2305050"/>
              <a:gd name="connsiteY18" fmla="*/ 0 h 2352675"/>
              <a:gd name="connsiteX0" fmla="*/ 0 w 2305050"/>
              <a:gd name="connsiteY0" fmla="*/ 0 h 2352675"/>
              <a:gd name="connsiteX1" fmla="*/ 771525 w 2305050"/>
              <a:gd name="connsiteY1" fmla="*/ 561975 h 2352675"/>
              <a:gd name="connsiteX2" fmla="*/ 2041246 w 2305050"/>
              <a:gd name="connsiteY2" fmla="*/ 498120 h 2352675"/>
              <a:gd name="connsiteX3" fmla="*/ 2296212 w 2305050"/>
              <a:gd name="connsiteY3" fmla="*/ 646252 h 2352675"/>
              <a:gd name="connsiteX4" fmla="*/ 1143000 w 2305050"/>
              <a:gd name="connsiteY4" fmla="*/ 1009650 h 2352675"/>
              <a:gd name="connsiteX5" fmla="*/ 1628775 w 2305050"/>
              <a:gd name="connsiteY5" fmla="*/ 1533525 h 2352675"/>
              <a:gd name="connsiteX6" fmla="*/ 2076450 w 2305050"/>
              <a:gd name="connsiteY6" fmla="*/ 1533525 h 2352675"/>
              <a:gd name="connsiteX7" fmla="*/ 2305050 w 2305050"/>
              <a:gd name="connsiteY7" fmla="*/ 1724025 h 2352675"/>
              <a:gd name="connsiteX8" fmla="*/ 1838325 w 2305050"/>
              <a:gd name="connsiteY8" fmla="*/ 1857375 h 2352675"/>
              <a:gd name="connsiteX9" fmla="*/ 2009775 w 2305050"/>
              <a:gd name="connsiteY9" fmla="*/ 2105025 h 2352675"/>
              <a:gd name="connsiteX10" fmla="*/ 1733550 w 2305050"/>
              <a:gd name="connsiteY10" fmla="*/ 1971675 h 2352675"/>
              <a:gd name="connsiteX11" fmla="*/ 1543050 w 2305050"/>
              <a:gd name="connsiteY11" fmla="*/ 2352675 h 2352675"/>
              <a:gd name="connsiteX12" fmla="*/ 1314450 w 2305050"/>
              <a:gd name="connsiteY12" fmla="*/ 2133600 h 2352675"/>
              <a:gd name="connsiteX13" fmla="*/ 1447800 w 2305050"/>
              <a:gd name="connsiteY13" fmla="*/ 1771650 h 2352675"/>
              <a:gd name="connsiteX14" fmla="*/ 923925 w 2305050"/>
              <a:gd name="connsiteY14" fmla="*/ 1190625 h 2352675"/>
              <a:gd name="connsiteX15" fmla="*/ 414757 w 2305050"/>
              <a:gd name="connsiteY15" fmla="*/ 2305735 h 2352675"/>
              <a:gd name="connsiteX16" fmla="*/ 292990 w 2305050"/>
              <a:gd name="connsiteY16" fmla="*/ 2036368 h 2352675"/>
              <a:gd name="connsiteX17" fmla="*/ 520217 w 2305050"/>
              <a:gd name="connsiteY17" fmla="*/ 750951 h 2352675"/>
              <a:gd name="connsiteX18" fmla="*/ 0 w 2305050"/>
              <a:gd name="connsiteY18" fmla="*/ 0 h 2352675"/>
              <a:gd name="connsiteX0" fmla="*/ 0 w 2294077"/>
              <a:gd name="connsiteY0" fmla="*/ 0 h 2363647"/>
              <a:gd name="connsiteX1" fmla="*/ 760552 w 2294077"/>
              <a:gd name="connsiteY1" fmla="*/ 572947 h 2363647"/>
              <a:gd name="connsiteX2" fmla="*/ 2030273 w 2294077"/>
              <a:gd name="connsiteY2" fmla="*/ 509092 h 2363647"/>
              <a:gd name="connsiteX3" fmla="*/ 2285239 w 2294077"/>
              <a:gd name="connsiteY3" fmla="*/ 657224 h 2363647"/>
              <a:gd name="connsiteX4" fmla="*/ 1132027 w 2294077"/>
              <a:gd name="connsiteY4" fmla="*/ 1020622 h 2363647"/>
              <a:gd name="connsiteX5" fmla="*/ 1617802 w 2294077"/>
              <a:gd name="connsiteY5" fmla="*/ 1544497 h 2363647"/>
              <a:gd name="connsiteX6" fmla="*/ 2065477 w 2294077"/>
              <a:gd name="connsiteY6" fmla="*/ 1544497 h 2363647"/>
              <a:gd name="connsiteX7" fmla="*/ 2294077 w 2294077"/>
              <a:gd name="connsiteY7" fmla="*/ 1734997 h 2363647"/>
              <a:gd name="connsiteX8" fmla="*/ 1827352 w 2294077"/>
              <a:gd name="connsiteY8" fmla="*/ 1868347 h 2363647"/>
              <a:gd name="connsiteX9" fmla="*/ 1998802 w 2294077"/>
              <a:gd name="connsiteY9" fmla="*/ 2115997 h 2363647"/>
              <a:gd name="connsiteX10" fmla="*/ 1722577 w 2294077"/>
              <a:gd name="connsiteY10" fmla="*/ 1982647 h 2363647"/>
              <a:gd name="connsiteX11" fmla="*/ 1532077 w 2294077"/>
              <a:gd name="connsiteY11" fmla="*/ 2363647 h 2363647"/>
              <a:gd name="connsiteX12" fmla="*/ 1303477 w 2294077"/>
              <a:gd name="connsiteY12" fmla="*/ 2144572 h 2363647"/>
              <a:gd name="connsiteX13" fmla="*/ 1436827 w 2294077"/>
              <a:gd name="connsiteY13" fmla="*/ 1782622 h 2363647"/>
              <a:gd name="connsiteX14" fmla="*/ 912952 w 2294077"/>
              <a:gd name="connsiteY14" fmla="*/ 1201597 h 2363647"/>
              <a:gd name="connsiteX15" fmla="*/ 403784 w 2294077"/>
              <a:gd name="connsiteY15" fmla="*/ 2316707 h 2363647"/>
              <a:gd name="connsiteX16" fmla="*/ 282017 w 2294077"/>
              <a:gd name="connsiteY16" fmla="*/ 2047340 h 2363647"/>
              <a:gd name="connsiteX17" fmla="*/ 509244 w 2294077"/>
              <a:gd name="connsiteY17" fmla="*/ 761923 h 2363647"/>
              <a:gd name="connsiteX18" fmla="*/ 0 w 2294077"/>
              <a:gd name="connsiteY18" fmla="*/ 0 h 2363647"/>
              <a:gd name="connsiteX0" fmla="*/ 6569 w 2300646"/>
              <a:gd name="connsiteY0" fmla="*/ 0 h 2363647"/>
              <a:gd name="connsiteX1" fmla="*/ 767121 w 2300646"/>
              <a:gd name="connsiteY1" fmla="*/ 572947 h 2363647"/>
              <a:gd name="connsiteX2" fmla="*/ 2036842 w 2300646"/>
              <a:gd name="connsiteY2" fmla="*/ 509092 h 2363647"/>
              <a:gd name="connsiteX3" fmla="*/ 2291808 w 2300646"/>
              <a:gd name="connsiteY3" fmla="*/ 657224 h 2363647"/>
              <a:gd name="connsiteX4" fmla="*/ 1138596 w 2300646"/>
              <a:gd name="connsiteY4" fmla="*/ 1020622 h 2363647"/>
              <a:gd name="connsiteX5" fmla="*/ 1624371 w 2300646"/>
              <a:gd name="connsiteY5" fmla="*/ 1544497 h 2363647"/>
              <a:gd name="connsiteX6" fmla="*/ 2072046 w 2300646"/>
              <a:gd name="connsiteY6" fmla="*/ 1544497 h 2363647"/>
              <a:gd name="connsiteX7" fmla="*/ 2300646 w 2300646"/>
              <a:gd name="connsiteY7" fmla="*/ 1734997 h 2363647"/>
              <a:gd name="connsiteX8" fmla="*/ 1833921 w 2300646"/>
              <a:gd name="connsiteY8" fmla="*/ 1868347 h 2363647"/>
              <a:gd name="connsiteX9" fmla="*/ 2005371 w 2300646"/>
              <a:gd name="connsiteY9" fmla="*/ 2115997 h 2363647"/>
              <a:gd name="connsiteX10" fmla="*/ 1729146 w 2300646"/>
              <a:gd name="connsiteY10" fmla="*/ 1982647 h 2363647"/>
              <a:gd name="connsiteX11" fmla="*/ 1538646 w 2300646"/>
              <a:gd name="connsiteY11" fmla="*/ 2363647 h 2363647"/>
              <a:gd name="connsiteX12" fmla="*/ 1310046 w 2300646"/>
              <a:gd name="connsiteY12" fmla="*/ 2144572 h 2363647"/>
              <a:gd name="connsiteX13" fmla="*/ 1443396 w 2300646"/>
              <a:gd name="connsiteY13" fmla="*/ 1782622 h 2363647"/>
              <a:gd name="connsiteX14" fmla="*/ 919521 w 2300646"/>
              <a:gd name="connsiteY14" fmla="*/ 1201597 h 2363647"/>
              <a:gd name="connsiteX15" fmla="*/ 410353 w 2300646"/>
              <a:gd name="connsiteY15" fmla="*/ 2316707 h 2363647"/>
              <a:gd name="connsiteX16" fmla="*/ 288586 w 2300646"/>
              <a:gd name="connsiteY16" fmla="*/ 2047340 h 2363647"/>
              <a:gd name="connsiteX17" fmla="*/ 515813 w 2300646"/>
              <a:gd name="connsiteY17" fmla="*/ 761923 h 2363647"/>
              <a:gd name="connsiteX18" fmla="*/ 6569 w 2300646"/>
              <a:gd name="connsiteY18" fmla="*/ 0 h 2363647"/>
              <a:gd name="connsiteX0" fmla="*/ 6569 w 2300646"/>
              <a:gd name="connsiteY0" fmla="*/ 5505 h 2369152"/>
              <a:gd name="connsiteX1" fmla="*/ 767121 w 2300646"/>
              <a:gd name="connsiteY1" fmla="*/ 578452 h 2369152"/>
              <a:gd name="connsiteX2" fmla="*/ 2036842 w 2300646"/>
              <a:gd name="connsiteY2" fmla="*/ 514597 h 2369152"/>
              <a:gd name="connsiteX3" fmla="*/ 2291808 w 2300646"/>
              <a:gd name="connsiteY3" fmla="*/ 662729 h 2369152"/>
              <a:gd name="connsiteX4" fmla="*/ 1138596 w 2300646"/>
              <a:gd name="connsiteY4" fmla="*/ 1026127 h 2369152"/>
              <a:gd name="connsiteX5" fmla="*/ 1624371 w 2300646"/>
              <a:gd name="connsiteY5" fmla="*/ 1550002 h 2369152"/>
              <a:gd name="connsiteX6" fmla="*/ 2072046 w 2300646"/>
              <a:gd name="connsiteY6" fmla="*/ 1550002 h 2369152"/>
              <a:gd name="connsiteX7" fmla="*/ 2300646 w 2300646"/>
              <a:gd name="connsiteY7" fmla="*/ 1740502 h 2369152"/>
              <a:gd name="connsiteX8" fmla="*/ 1833921 w 2300646"/>
              <a:gd name="connsiteY8" fmla="*/ 1873852 h 2369152"/>
              <a:gd name="connsiteX9" fmla="*/ 2005371 w 2300646"/>
              <a:gd name="connsiteY9" fmla="*/ 2121502 h 2369152"/>
              <a:gd name="connsiteX10" fmla="*/ 1729146 w 2300646"/>
              <a:gd name="connsiteY10" fmla="*/ 1988152 h 2369152"/>
              <a:gd name="connsiteX11" fmla="*/ 1538646 w 2300646"/>
              <a:gd name="connsiteY11" fmla="*/ 2369152 h 2369152"/>
              <a:gd name="connsiteX12" fmla="*/ 1310046 w 2300646"/>
              <a:gd name="connsiteY12" fmla="*/ 2150077 h 2369152"/>
              <a:gd name="connsiteX13" fmla="*/ 1443396 w 2300646"/>
              <a:gd name="connsiteY13" fmla="*/ 1788127 h 2369152"/>
              <a:gd name="connsiteX14" fmla="*/ 919521 w 2300646"/>
              <a:gd name="connsiteY14" fmla="*/ 1207102 h 2369152"/>
              <a:gd name="connsiteX15" fmla="*/ 410353 w 2300646"/>
              <a:gd name="connsiteY15" fmla="*/ 2322212 h 2369152"/>
              <a:gd name="connsiteX16" fmla="*/ 288586 w 2300646"/>
              <a:gd name="connsiteY16" fmla="*/ 2052845 h 2369152"/>
              <a:gd name="connsiteX17" fmla="*/ 515813 w 2300646"/>
              <a:gd name="connsiteY17" fmla="*/ 767428 h 2369152"/>
              <a:gd name="connsiteX18" fmla="*/ 6569 w 2300646"/>
              <a:gd name="connsiteY18" fmla="*/ 5505 h 2369152"/>
              <a:gd name="connsiteX0" fmla="*/ 11167 w 2305244"/>
              <a:gd name="connsiteY0" fmla="*/ 5505 h 2369152"/>
              <a:gd name="connsiteX1" fmla="*/ 771719 w 2305244"/>
              <a:gd name="connsiteY1" fmla="*/ 578452 h 2369152"/>
              <a:gd name="connsiteX2" fmla="*/ 2041440 w 2305244"/>
              <a:gd name="connsiteY2" fmla="*/ 514597 h 2369152"/>
              <a:gd name="connsiteX3" fmla="*/ 2296406 w 2305244"/>
              <a:gd name="connsiteY3" fmla="*/ 662729 h 2369152"/>
              <a:gd name="connsiteX4" fmla="*/ 1143194 w 2305244"/>
              <a:gd name="connsiteY4" fmla="*/ 1026127 h 2369152"/>
              <a:gd name="connsiteX5" fmla="*/ 1628969 w 2305244"/>
              <a:gd name="connsiteY5" fmla="*/ 1550002 h 2369152"/>
              <a:gd name="connsiteX6" fmla="*/ 2076644 w 2305244"/>
              <a:gd name="connsiteY6" fmla="*/ 1550002 h 2369152"/>
              <a:gd name="connsiteX7" fmla="*/ 2305244 w 2305244"/>
              <a:gd name="connsiteY7" fmla="*/ 1740502 h 2369152"/>
              <a:gd name="connsiteX8" fmla="*/ 1838519 w 2305244"/>
              <a:gd name="connsiteY8" fmla="*/ 1873852 h 2369152"/>
              <a:gd name="connsiteX9" fmla="*/ 2009969 w 2305244"/>
              <a:gd name="connsiteY9" fmla="*/ 2121502 h 2369152"/>
              <a:gd name="connsiteX10" fmla="*/ 1733744 w 2305244"/>
              <a:gd name="connsiteY10" fmla="*/ 1988152 h 2369152"/>
              <a:gd name="connsiteX11" fmla="*/ 1543244 w 2305244"/>
              <a:gd name="connsiteY11" fmla="*/ 2369152 h 2369152"/>
              <a:gd name="connsiteX12" fmla="*/ 1314644 w 2305244"/>
              <a:gd name="connsiteY12" fmla="*/ 2150077 h 2369152"/>
              <a:gd name="connsiteX13" fmla="*/ 1447994 w 2305244"/>
              <a:gd name="connsiteY13" fmla="*/ 1788127 h 2369152"/>
              <a:gd name="connsiteX14" fmla="*/ 924119 w 2305244"/>
              <a:gd name="connsiteY14" fmla="*/ 1207102 h 2369152"/>
              <a:gd name="connsiteX15" fmla="*/ 414951 w 2305244"/>
              <a:gd name="connsiteY15" fmla="*/ 2322212 h 2369152"/>
              <a:gd name="connsiteX16" fmla="*/ 293184 w 2305244"/>
              <a:gd name="connsiteY16" fmla="*/ 2052845 h 2369152"/>
              <a:gd name="connsiteX17" fmla="*/ 520411 w 2305244"/>
              <a:gd name="connsiteY17" fmla="*/ 767428 h 2369152"/>
              <a:gd name="connsiteX18" fmla="*/ 11167 w 2305244"/>
              <a:gd name="connsiteY18" fmla="*/ 5505 h 2369152"/>
              <a:gd name="connsiteX0" fmla="*/ 11167 w 2305244"/>
              <a:gd name="connsiteY0" fmla="*/ 5505 h 2369152"/>
              <a:gd name="connsiteX1" fmla="*/ 771719 w 2305244"/>
              <a:gd name="connsiteY1" fmla="*/ 578452 h 2369152"/>
              <a:gd name="connsiteX2" fmla="*/ 2041440 w 2305244"/>
              <a:gd name="connsiteY2" fmla="*/ 514597 h 2369152"/>
              <a:gd name="connsiteX3" fmla="*/ 2296406 w 2305244"/>
              <a:gd name="connsiteY3" fmla="*/ 662729 h 2369152"/>
              <a:gd name="connsiteX4" fmla="*/ 1143194 w 2305244"/>
              <a:gd name="connsiteY4" fmla="*/ 1026127 h 2369152"/>
              <a:gd name="connsiteX5" fmla="*/ 1628969 w 2305244"/>
              <a:gd name="connsiteY5" fmla="*/ 1550002 h 2369152"/>
              <a:gd name="connsiteX6" fmla="*/ 2076644 w 2305244"/>
              <a:gd name="connsiteY6" fmla="*/ 1550002 h 2369152"/>
              <a:gd name="connsiteX7" fmla="*/ 2305244 w 2305244"/>
              <a:gd name="connsiteY7" fmla="*/ 1740502 h 2369152"/>
              <a:gd name="connsiteX8" fmla="*/ 1838519 w 2305244"/>
              <a:gd name="connsiteY8" fmla="*/ 1873852 h 2369152"/>
              <a:gd name="connsiteX9" fmla="*/ 2009969 w 2305244"/>
              <a:gd name="connsiteY9" fmla="*/ 2121502 h 2369152"/>
              <a:gd name="connsiteX10" fmla="*/ 1733744 w 2305244"/>
              <a:gd name="connsiteY10" fmla="*/ 1988152 h 2369152"/>
              <a:gd name="connsiteX11" fmla="*/ 1543244 w 2305244"/>
              <a:gd name="connsiteY11" fmla="*/ 2369152 h 2369152"/>
              <a:gd name="connsiteX12" fmla="*/ 1314644 w 2305244"/>
              <a:gd name="connsiteY12" fmla="*/ 2150077 h 2369152"/>
              <a:gd name="connsiteX13" fmla="*/ 1447994 w 2305244"/>
              <a:gd name="connsiteY13" fmla="*/ 1788127 h 2369152"/>
              <a:gd name="connsiteX14" fmla="*/ 909489 w 2305244"/>
              <a:gd name="connsiteY14" fmla="*/ 1185156 h 2369152"/>
              <a:gd name="connsiteX15" fmla="*/ 414951 w 2305244"/>
              <a:gd name="connsiteY15" fmla="*/ 2322212 h 2369152"/>
              <a:gd name="connsiteX16" fmla="*/ 293184 w 2305244"/>
              <a:gd name="connsiteY16" fmla="*/ 2052845 h 2369152"/>
              <a:gd name="connsiteX17" fmla="*/ 520411 w 2305244"/>
              <a:gd name="connsiteY17" fmla="*/ 767428 h 2369152"/>
              <a:gd name="connsiteX18" fmla="*/ 11167 w 2305244"/>
              <a:gd name="connsiteY18" fmla="*/ 5505 h 2369152"/>
              <a:gd name="connsiteX0" fmla="*/ 11167 w 2305244"/>
              <a:gd name="connsiteY0" fmla="*/ 5505 h 2369152"/>
              <a:gd name="connsiteX1" fmla="*/ 771719 w 2305244"/>
              <a:gd name="connsiteY1" fmla="*/ 578452 h 2369152"/>
              <a:gd name="connsiteX2" fmla="*/ 2041440 w 2305244"/>
              <a:gd name="connsiteY2" fmla="*/ 514597 h 2369152"/>
              <a:gd name="connsiteX3" fmla="*/ 2296406 w 2305244"/>
              <a:gd name="connsiteY3" fmla="*/ 662729 h 2369152"/>
              <a:gd name="connsiteX4" fmla="*/ 1106618 w 2305244"/>
              <a:gd name="connsiteY4" fmla="*/ 1004182 h 2369152"/>
              <a:gd name="connsiteX5" fmla="*/ 1628969 w 2305244"/>
              <a:gd name="connsiteY5" fmla="*/ 1550002 h 2369152"/>
              <a:gd name="connsiteX6" fmla="*/ 2076644 w 2305244"/>
              <a:gd name="connsiteY6" fmla="*/ 1550002 h 2369152"/>
              <a:gd name="connsiteX7" fmla="*/ 2305244 w 2305244"/>
              <a:gd name="connsiteY7" fmla="*/ 1740502 h 2369152"/>
              <a:gd name="connsiteX8" fmla="*/ 1838519 w 2305244"/>
              <a:gd name="connsiteY8" fmla="*/ 1873852 h 2369152"/>
              <a:gd name="connsiteX9" fmla="*/ 2009969 w 2305244"/>
              <a:gd name="connsiteY9" fmla="*/ 2121502 h 2369152"/>
              <a:gd name="connsiteX10" fmla="*/ 1733744 w 2305244"/>
              <a:gd name="connsiteY10" fmla="*/ 1988152 h 2369152"/>
              <a:gd name="connsiteX11" fmla="*/ 1543244 w 2305244"/>
              <a:gd name="connsiteY11" fmla="*/ 2369152 h 2369152"/>
              <a:gd name="connsiteX12" fmla="*/ 1314644 w 2305244"/>
              <a:gd name="connsiteY12" fmla="*/ 2150077 h 2369152"/>
              <a:gd name="connsiteX13" fmla="*/ 1447994 w 2305244"/>
              <a:gd name="connsiteY13" fmla="*/ 1788127 h 2369152"/>
              <a:gd name="connsiteX14" fmla="*/ 909489 w 2305244"/>
              <a:gd name="connsiteY14" fmla="*/ 1185156 h 2369152"/>
              <a:gd name="connsiteX15" fmla="*/ 414951 w 2305244"/>
              <a:gd name="connsiteY15" fmla="*/ 2322212 h 2369152"/>
              <a:gd name="connsiteX16" fmla="*/ 293184 w 2305244"/>
              <a:gd name="connsiteY16" fmla="*/ 2052845 h 2369152"/>
              <a:gd name="connsiteX17" fmla="*/ 520411 w 2305244"/>
              <a:gd name="connsiteY17" fmla="*/ 767428 h 2369152"/>
              <a:gd name="connsiteX18" fmla="*/ 11167 w 2305244"/>
              <a:gd name="connsiteY18" fmla="*/ 5505 h 2369152"/>
              <a:gd name="connsiteX0" fmla="*/ 11167 w 2305244"/>
              <a:gd name="connsiteY0" fmla="*/ 5505 h 2369152"/>
              <a:gd name="connsiteX1" fmla="*/ 771719 w 2305244"/>
              <a:gd name="connsiteY1" fmla="*/ 578452 h 2369152"/>
              <a:gd name="connsiteX2" fmla="*/ 2041440 w 2305244"/>
              <a:gd name="connsiteY2" fmla="*/ 514597 h 2369152"/>
              <a:gd name="connsiteX3" fmla="*/ 2296406 w 2305244"/>
              <a:gd name="connsiteY3" fmla="*/ 662729 h 2369152"/>
              <a:gd name="connsiteX4" fmla="*/ 1106618 w 2305244"/>
              <a:gd name="connsiteY4" fmla="*/ 1004182 h 2369152"/>
              <a:gd name="connsiteX5" fmla="*/ 1628969 w 2305244"/>
              <a:gd name="connsiteY5" fmla="*/ 1550002 h 2369152"/>
              <a:gd name="connsiteX6" fmla="*/ 2076644 w 2305244"/>
              <a:gd name="connsiteY6" fmla="*/ 1550002 h 2369152"/>
              <a:gd name="connsiteX7" fmla="*/ 2305244 w 2305244"/>
              <a:gd name="connsiteY7" fmla="*/ 1740502 h 2369152"/>
              <a:gd name="connsiteX8" fmla="*/ 1838519 w 2305244"/>
              <a:gd name="connsiteY8" fmla="*/ 1873852 h 2369152"/>
              <a:gd name="connsiteX9" fmla="*/ 2009969 w 2305244"/>
              <a:gd name="connsiteY9" fmla="*/ 2121502 h 2369152"/>
              <a:gd name="connsiteX10" fmla="*/ 1733744 w 2305244"/>
              <a:gd name="connsiteY10" fmla="*/ 1988152 h 2369152"/>
              <a:gd name="connsiteX11" fmla="*/ 1543244 w 2305244"/>
              <a:gd name="connsiteY11" fmla="*/ 2369152 h 2369152"/>
              <a:gd name="connsiteX12" fmla="*/ 1314644 w 2305244"/>
              <a:gd name="connsiteY12" fmla="*/ 2150077 h 2369152"/>
              <a:gd name="connsiteX13" fmla="*/ 1447994 w 2305244"/>
              <a:gd name="connsiteY13" fmla="*/ 1788127 h 2369152"/>
              <a:gd name="connsiteX14" fmla="*/ 898516 w 2305244"/>
              <a:gd name="connsiteY14" fmla="*/ 1196129 h 2369152"/>
              <a:gd name="connsiteX15" fmla="*/ 414951 w 2305244"/>
              <a:gd name="connsiteY15" fmla="*/ 2322212 h 2369152"/>
              <a:gd name="connsiteX16" fmla="*/ 293184 w 2305244"/>
              <a:gd name="connsiteY16" fmla="*/ 2052845 h 2369152"/>
              <a:gd name="connsiteX17" fmla="*/ 520411 w 2305244"/>
              <a:gd name="connsiteY17" fmla="*/ 767428 h 2369152"/>
              <a:gd name="connsiteX18" fmla="*/ 11167 w 2305244"/>
              <a:gd name="connsiteY18" fmla="*/ 5505 h 2369152"/>
              <a:gd name="connsiteX0" fmla="*/ 11167 w 2305244"/>
              <a:gd name="connsiteY0" fmla="*/ 5505 h 2369152"/>
              <a:gd name="connsiteX1" fmla="*/ 771719 w 2305244"/>
              <a:gd name="connsiteY1" fmla="*/ 578452 h 2369152"/>
              <a:gd name="connsiteX2" fmla="*/ 2041440 w 2305244"/>
              <a:gd name="connsiteY2" fmla="*/ 514597 h 2369152"/>
              <a:gd name="connsiteX3" fmla="*/ 2296406 w 2305244"/>
              <a:gd name="connsiteY3" fmla="*/ 662729 h 2369152"/>
              <a:gd name="connsiteX4" fmla="*/ 1124906 w 2305244"/>
              <a:gd name="connsiteY4" fmla="*/ 1004182 h 2369152"/>
              <a:gd name="connsiteX5" fmla="*/ 1628969 w 2305244"/>
              <a:gd name="connsiteY5" fmla="*/ 1550002 h 2369152"/>
              <a:gd name="connsiteX6" fmla="*/ 2076644 w 2305244"/>
              <a:gd name="connsiteY6" fmla="*/ 1550002 h 2369152"/>
              <a:gd name="connsiteX7" fmla="*/ 2305244 w 2305244"/>
              <a:gd name="connsiteY7" fmla="*/ 1740502 h 2369152"/>
              <a:gd name="connsiteX8" fmla="*/ 1838519 w 2305244"/>
              <a:gd name="connsiteY8" fmla="*/ 1873852 h 2369152"/>
              <a:gd name="connsiteX9" fmla="*/ 2009969 w 2305244"/>
              <a:gd name="connsiteY9" fmla="*/ 2121502 h 2369152"/>
              <a:gd name="connsiteX10" fmla="*/ 1733744 w 2305244"/>
              <a:gd name="connsiteY10" fmla="*/ 1988152 h 2369152"/>
              <a:gd name="connsiteX11" fmla="*/ 1543244 w 2305244"/>
              <a:gd name="connsiteY11" fmla="*/ 2369152 h 2369152"/>
              <a:gd name="connsiteX12" fmla="*/ 1314644 w 2305244"/>
              <a:gd name="connsiteY12" fmla="*/ 2150077 h 2369152"/>
              <a:gd name="connsiteX13" fmla="*/ 1447994 w 2305244"/>
              <a:gd name="connsiteY13" fmla="*/ 1788127 h 2369152"/>
              <a:gd name="connsiteX14" fmla="*/ 898516 w 2305244"/>
              <a:gd name="connsiteY14" fmla="*/ 1196129 h 2369152"/>
              <a:gd name="connsiteX15" fmla="*/ 414951 w 2305244"/>
              <a:gd name="connsiteY15" fmla="*/ 2322212 h 2369152"/>
              <a:gd name="connsiteX16" fmla="*/ 293184 w 2305244"/>
              <a:gd name="connsiteY16" fmla="*/ 2052845 h 2369152"/>
              <a:gd name="connsiteX17" fmla="*/ 520411 w 2305244"/>
              <a:gd name="connsiteY17" fmla="*/ 767428 h 2369152"/>
              <a:gd name="connsiteX18" fmla="*/ 11167 w 2305244"/>
              <a:gd name="connsiteY18" fmla="*/ 5505 h 2369152"/>
              <a:gd name="connsiteX0" fmla="*/ 11167 w 2305244"/>
              <a:gd name="connsiteY0" fmla="*/ 5505 h 2369152"/>
              <a:gd name="connsiteX1" fmla="*/ 771719 w 2305244"/>
              <a:gd name="connsiteY1" fmla="*/ 578452 h 2369152"/>
              <a:gd name="connsiteX2" fmla="*/ 2041440 w 2305244"/>
              <a:gd name="connsiteY2" fmla="*/ 514597 h 2369152"/>
              <a:gd name="connsiteX3" fmla="*/ 2296406 w 2305244"/>
              <a:gd name="connsiteY3" fmla="*/ 662729 h 2369152"/>
              <a:gd name="connsiteX4" fmla="*/ 1124906 w 2305244"/>
              <a:gd name="connsiteY4" fmla="*/ 1004182 h 2369152"/>
              <a:gd name="connsiteX5" fmla="*/ 1628969 w 2305244"/>
              <a:gd name="connsiteY5" fmla="*/ 1550002 h 2369152"/>
              <a:gd name="connsiteX6" fmla="*/ 2076644 w 2305244"/>
              <a:gd name="connsiteY6" fmla="*/ 1550002 h 2369152"/>
              <a:gd name="connsiteX7" fmla="*/ 2305244 w 2305244"/>
              <a:gd name="connsiteY7" fmla="*/ 1740502 h 2369152"/>
              <a:gd name="connsiteX8" fmla="*/ 1838519 w 2305244"/>
              <a:gd name="connsiteY8" fmla="*/ 1873852 h 2369152"/>
              <a:gd name="connsiteX9" fmla="*/ 2009969 w 2305244"/>
              <a:gd name="connsiteY9" fmla="*/ 2121502 h 2369152"/>
              <a:gd name="connsiteX10" fmla="*/ 1733744 w 2305244"/>
              <a:gd name="connsiteY10" fmla="*/ 1988152 h 2369152"/>
              <a:gd name="connsiteX11" fmla="*/ 1543244 w 2305244"/>
              <a:gd name="connsiteY11" fmla="*/ 2369152 h 2369152"/>
              <a:gd name="connsiteX12" fmla="*/ 1314644 w 2305244"/>
              <a:gd name="connsiteY12" fmla="*/ 2150077 h 2369152"/>
              <a:gd name="connsiteX13" fmla="*/ 1447994 w 2305244"/>
              <a:gd name="connsiteY13" fmla="*/ 1788127 h 2369152"/>
              <a:gd name="connsiteX14" fmla="*/ 909489 w 2305244"/>
              <a:gd name="connsiteY14" fmla="*/ 1225390 h 2369152"/>
              <a:gd name="connsiteX15" fmla="*/ 414951 w 2305244"/>
              <a:gd name="connsiteY15" fmla="*/ 2322212 h 2369152"/>
              <a:gd name="connsiteX16" fmla="*/ 293184 w 2305244"/>
              <a:gd name="connsiteY16" fmla="*/ 2052845 h 2369152"/>
              <a:gd name="connsiteX17" fmla="*/ 520411 w 2305244"/>
              <a:gd name="connsiteY17" fmla="*/ 767428 h 2369152"/>
              <a:gd name="connsiteX18" fmla="*/ 11167 w 2305244"/>
              <a:gd name="connsiteY18" fmla="*/ 5505 h 2369152"/>
              <a:gd name="connsiteX0" fmla="*/ 11167 w 2305244"/>
              <a:gd name="connsiteY0" fmla="*/ 5505 h 2369152"/>
              <a:gd name="connsiteX1" fmla="*/ 771719 w 2305244"/>
              <a:gd name="connsiteY1" fmla="*/ 578452 h 2369152"/>
              <a:gd name="connsiteX2" fmla="*/ 2041440 w 2305244"/>
              <a:gd name="connsiteY2" fmla="*/ 514597 h 2369152"/>
              <a:gd name="connsiteX3" fmla="*/ 2296406 w 2305244"/>
              <a:gd name="connsiteY3" fmla="*/ 662729 h 2369152"/>
              <a:gd name="connsiteX4" fmla="*/ 1124906 w 2305244"/>
              <a:gd name="connsiteY4" fmla="*/ 1004182 h 2369152"/>
              <a:gd name="connsiteX5" fmla="*/ 1628969 w 2305244"/>
              <a:gd name="connsiteY5" fmla="*/ 1550002 h 2369152"/>
              <a:gd name="connsiteX6" fmla="*/ 2076644 w 2305244"/>
              <a:gd name="connsiteY6" fmla="*/ 1550002 h 2369152"/>
              <a:gd name="connsiteX7" fmla="*/ 2305244 w 2305244"/>
              <a:gd name="connsiteY7" fmla="*/ 1740502 h 2369152"/>
              <a:gd name="connsiteX8" fmla="*/ 1838519 w 2305244"/>
              <a:gd name="connsiteY8" fmla="*/ 1873852 h 2369152"/>
              <a:gd name="connsiteX9" fmla="*/ 2009969 w 2305244"/>
              <a:gd name="connsiteY9" fmla="*/ 2121502 h 2369152"/>
              <a:gd name="connsiteX10" fmla="*/ 1733744 w 2305244"/>
              <a:gd name="connsiteY10" fmla="*/ 1988152 h 2369152"/>
              <a:gd name="connsiteX11" fmla="*/ 1543244 w 2305244"/>
              <a:gd name="connsiteY11" fmla="*/ 2369152 h 2369152"/>
              <a:gd name="connsiteX12" fmla="*/ 1314644 w 2305244"/>
              <a:gd name="connsiteY12" fmla="*/ 2150077 h 2369152"/>
              <a:gd name="connsiteX13" fmla="*/ 1473597 w 2305244"/>
              <a:gd name="connsiteY13" fmla="*/ 1788127 h 2369152"/>
              <a:gd name="connsiteX14" fmla="*/ 909489 w 2305244"/>
              <a:gd name="connsiteY14" fmla="*/ 1225390 h 2369152"/>
              <a:gd name="connsiteX15" fmla="*/ 414951 w 2305244"/>
              <a:gd name="connsiteY15" fmla="*/ 2322212 h 2369152"/>
              <a:gd name="connsiteX16" fmla="*/ 293184 w 2305244"/>
              <a:gd name="connsiteY16" fmla="*/ 2052845 h 2369152"/>
              <a:gd name="connsiteX17" fmla="*/ 520411 w 2305244"/>
              <a:gd name="connsiteY17" fmla="*/ 767428 h 2369152"/>
              <a:gd name="connsiteX18" fmla="*/ 11167 w 2305244"/>
              <a:gd name="connsiteY18" fmla="*/ 5505 h 2369152"/>
              <a:gd name="connsiteX0" fmla="*/ 11167 w 2305244"/>
              <a:gd name="connsiteY0" fmla="*/ 5505 h 2369152"/>
              <a:gd name="connsiteX1" fmla="*/ 771719 w 2305244"/>
              <a:gd name="connsiteY1" fmla="*/ 578452 h 2369152"/>
              <a:gd name="connsiteX2" fmla="*/ 2041440 w 2305244"/>
              <a:gd name="connsiteY2" fmla="*/ 514597 h 2369152"/>
              <a:gd name="connsiteX3" fmla="*/ 2296406 w 2305244"/>
              <a:gd name="connsiteY3" fmla="*/ 662729 h 2369152"/>
              <a:gd name="connsiteX4" fmla="*/ 1124906 w 2305244"/>
              <a:gd name="connsiteY4" fmla="*/ 1004182 h 2369152"/>
              <a:gd name="connsiteX5" fmla="*/ 1628969 w 2305244"/>
              <a:gd name="connsiteY5" fmla="*/ 1550002 h 2369152"/>
              <a:gd name="connsiteX6" fmla="*/ 2076644 w 2305244"/>
              <a:gd name="connsiteY6" fmla="*/ 1550002 h 2369152"/>
              <a:gd name="connsiteX7" fmla="*/ 2305244 w 2305244"/>
              <a:gd name="connsiteY7" fmla="*/ 1740502 h 2369152"/>
              <a:gd name="connsiteX8" fmla="*/ 1838519 w 2305244"/>
              <a:gd name="connsiteY8" fmla="*/ 1873852 h 2369152"/>
              <a:gd name="connsiteX9" fmla="*/ 2009969 w 2305244"/>
              <a:gd name="connsiteY9" fmla="*/ 2121502 h 2369152"/>
              <a:gd name="connsiteX10" fmla="*/ 1733744 w 2305244"/>
              <a:gd name="connsiteY10" fmla="*/ 1988152 h 2369152"/>
              <a:gd name="connsiteX11" fmla="*/ 1543244 w 2305244"/>
              <a:gd name="connsiteY11" fmla="*/ 2369152 h 2369152"/>
              <a:gd name="connsiteX12" fmla="*/ 1314644 w 2305244"/>
              <a:gd name="connsiteY12" fmla="*/ 2150077 h 2369152"/>
              <a:gd name="connsiteX13" fmla="*/ 1513830 w 2305244"/>
              <a:gd name="connsiteY13" fmla="*/ 1784469 h 2369152"/>
              <a:gd name="connsiteX14" fmla="*/ 909489 w 2305244"/>
              <a:gd name="connsiteY14" fmla="*/ 1225390 h 2369152"/>
              <a:gd name="connsiteX15" fmla="*/ 414951 w 2305244"/>
              <a:gd name="connsiteY15" fmla="*/ 2322212 h 2369152"/>
              <a:gd name="connsiteX16" fmla="*/ 293184 w 2305244"/>
              <a:gd name="connsiteY16" fmla="*/ 2052845 h 2369152"/>
              <a:gd name="connsiteX17" fmla="*/ 520411 w 2305244"/>
              <a:gd name="connsiteY17" fmla="*/ 767428 h 2369152"/>
              <a:gd name="connsiteX18" fmla="*/ 11167 w 2305244"/>
              <a:gd name="connsiteY18" fmla="*/ 5505 h 2369152"/>
              <a:gd name="connsiteX0" fmla="*/ 11167 w 2305244"/>
              <a:gd name="connsiteY0" fmla="*/ 5505 h 2369152"/>
              <a:gd name="connsiteX1" fmla="*/ 771719 w 2305244"/>
              <a:gd name="connsiteY1" fmla="*/ 578452 h 2369152"/>
              <a:gd name="connsiteX2" fmla="*/ 2041440 w 2305244"/>
              <a:gd name="connsiteY2" fmla="*/ 514597 h 2369152"/>
              <a:gd name="connsiteX3" fmla="*/ 2296406 w 2305244"/>
              <a:gd name="connsiteY3" fmla="*/ 662729 h 2369152"/>
              <a:gd name="connsiteX4" fmla="*/ 1124906 w 2305244"/>
              <a:gd name="connsiteY4" fmla="*/ 1004182 h 2369152"/>
              <a:gd name="connsiteX5" fmla="*/ 1628969 w 2305244"/>
              <a:gd name="connsiteY5" fmla="*/ 1550002 h 2369152"/>
              <a:gd name="connsiteX6" fmla="*/ 2076644 w 2305244"/>
              <a:gd name="connsiteY6" fmla="*/ 1550002 h 2369152"/>
              <a:gd name="connsiteX7" fmla="*/ 2305244 w 2305244"/>
              <a:gd name="connsiteY7" fmla="*/ 1740502 h 2369152"/>
              <a:gd name="connsiteX8" fmla="*/ 1838519 w 2305244"/>
              <a:gd name="connsiteY8" fmla="*/ 1873852 h 2369152"/>
              <a:gd name="connsiteX9" fmla="*/ 2009969 w 2305244"/>
              <a:gd name="connsiteY9" fmla="*/ 2121502 h 2369152"/>
              <a:gd name="connsiteX10" fmla="*/ 1733744 w 2305244"/>
              <a:gd name="connsiteY10" fmla="*/ 1988152 h 2369152"/>
              <a:gd name="connsiteX11" fmla="*/ 1543244 w 2305244"/>
              <a:gd name="connsiteY11" fmla="*/ 2369152 h 2369152"/>
              <a:gd name="connsiteX12" fmla="*/ 1314644 w 2305244"/>
              <a:gd name="connsiteY12" fmla="*/ 2150077 h 2369152"/>
              <a:gd name="connsiteX13" fmla="*/ 1495542 w 2305244"/>
              <a:gd name="connsiteY13" fmla="*/ 1788127 h 2369152"/>
              <a:gd name="connsiteX14" fmla="*/ 909489 w 2305244"/>
              <a:gd name="connsiteY14" fmla="*/ 1225390 h 2369152"/>
              <a:gd name="connsiteX15" fmla="*/ 414951 w 2305244"/>
              <a:gd name="connsiteY15" fmla="*/ 2322212 h 2369152"/>
              <a:gd name="connsiteX16" fmla="*/ 293184 w 2305244"/>
              <a:gd name="connsiteY16" fmla="*/ 2052845 h 2369152"/>
              <a:gd name="connsiteX17" fmla="*/ 520411 w 2305244"/>
              <a:gd name="connsiteY17" fmla="*/ 767428 h 2369152"/>
              <a:gd name="connsiteX18" fmla="*/ 11167 w 2305244"/>
              <a:gd name="connsiteY18" fmla="*/ 5505 h 2369152"/>
              <a:gd name="connsiteX0" fmla="*/ 11167 w 2305244"/>
              <a:gd name="connsiteY0" fmla="*/ 5505 h 2369152"/>
              <a:gd name="connsiteX1" fmla="*/ 771719 w 2305244"/>
              <a:gd name="connsiteY1" fmla="*/ 578452 h 2369152"/>
              <a:gd name="connsiteX2" fmla="*/ 2041440 w 2305244"/>
              <a:gd name="connsiteY2" fmla="*/ 514597 h 2369152"/>
              <a:gd name="connsiteX3" fmla="*/ 2296406 w 2305244"/>
              <a:gd name="connsiteY3" fmla="*/ 662729 h 2369152"/>
              <a:gd name="connsiteX4" fmla="*/ 1124906 w 2305244"/>
              <a:gd name="connsiteY4" fmla="*/ 1004182 h 2369152"/>
              <a:gd name="connsiteX5" fmla="*/ 1650914 w 2305244"/>
              <a:gd name="connsiteY5" fmla="*/ 1597551 h 2369152"/>
              <a:gd name="connsiteX6" fmla="*/ 2076644 w 2305244"/>
              <a:gd name="connsiteY6" fmla="*/ 1550002 h 2369152"/>
              <a:gd name="connsiteX7" fmla="*/ 2305244 w 2305244"/>
              <a:gd name="connsiteY7" fmla="*/ 1740502 h 2369152"/>
              <a:gd name="connsiteX8" fmla="*/ 1838519 w 2305244"/>
              <a:gd name="connsiteY8" fmla="*/ 1873852 h 2369152"/>
              <a:gd name="connsiteX9" fmla="*/ 2009969 w 2305244"/>
              <a:gd name="connsiteY9" fmla="*/ 2121502 h 2369152"/>
              <a:gd name="connsiteX10" fmla="*/ 1733744 w 2305244"/>
              <a:gd name="connsiteY10" fmla="*/ 1988152 h 2369152"/>
              <a:gd name="connsiteX11" fmla="*/ 1543244 w 2305244"/>
              <a:gd name="connsiteY11" fmla="*/ 2369152 h 2369152"/>
              <a:gd name="connsiteX12" fmla="*/ 1314644 w 2305244"/>
              <a:gd name="connsiteY12" fmla="*/ 2150077 h 2369152"/>
              <a:gd name="connsiteX13" fmla="*/ 1495542 w 2305244"/>
              <a:gd name="connsiteY13" fmla="*/ 1788127 h 2369152"/>
              <a:gd name="connsiteX14" fmla="*/ 909489 w 2305244"/>
              <a:gd name="connsiteY14" fmla="*/ 1225390 h 2369152"/>
              <a:gd name="connsiteX15" fmla="*/ 414951 w 2305244"/>
              <a:gd name="connsiteY15" fmla="*/ 2322212 h 2369152"/>
              <a:gd name="connsiteX16" fmla="*/ 293184 w 2305244"/>
              <a:gd name="connsiteY16" fmla="*/ 2052845 h 2369152"/>
              <a:gd name="connsiteX17" fmla="*/ 520411 w 2305244"/>
              <a:gd name="connsiteY17" fmla="*/ 767428 h 2369152"/>
              <a:gd name="connsiteX18" fmla="*/ 11167 w 2305244"/>
              <a:gd name="connsiteY18" fmla="*/ 5505 h 2369152"/>
              <a:gd name="connsiteX0" fmla="*/ 11167 w 2305244"/>
              <a:gd name="connsiteY0" fmla="*/ 5505 h 2369152"/>
              <a:gd name="connsiteX1" fmla="*/ 771719 w 2305244"/>
              <a:gd name="connsiteY1" fmla="*/ 578452 h 2369152"/>
              <a:gd name="connsiteX2" fmla="*/ 2041440 w 2305244"/>
              <a:gd name="connsiteY2" fmla="*/ 514597 h 2369152"/>
              <a:gd name="connsiteX3" fmla="*/ 2296406 w 2305244"/>
              <a:gd name="connsiteY3" fmla="*/ 662729 h 2369152"/>
              <a:gd name="connsiteX4" fmla="*/ 1124906 w 2305244"/>
              <a:gd name="connsiteY4" fmla="*/ 1004182 h 2369152"/>
              <a:gd name="connsiteX5" fmla="*/ 1676517 w 2305244"/>
              <a:gd name="connsiteY5" fmla="*/ 1608523 h 2369152"/>
              <a:gd name="connsiteX6" fmla="*/ 2076644 w 2305244"/>
              <a:gd name="connsiteY6" fmla="*/ 1550002 h 2369152"/>
              <a:gd name="connsiteX7" fmla="*/ 2305244 w 2305244"/>
              <a:gd name="connsiteY7" fmla="*/ 1740502 h 2369152"/>
              <a:gd name="connsiteX8" fmla="*/ 1838519 w 2305244"/>
              <a:gd name="connsiteY8" fmla="*/ 1873852 h 2369152"/>
              <a:gd name="connsiteX9" fmla="*/ 2009969 w 2305244"/>
              <a:gd name="connsiteY9" fmla="*/ 2121502 h 2369152"/>
              <a:gd name="connsiteX10" fmla="*/ 1733744 w 2305244"/>
              <a:gd name="connsiteY10" fmla="*/ 1988152 h 2369152"/>
              <a:gd name="connsiteX11" fmla="*/ 1543244 w 2305244"/>
              <a:gd name="connsiteY11" fmla="*/ 2369152 h 2369152"/>
              <a:gd name="connsiteX12" fmla="*/ 1314644 w 2305244"/>
              <a:gd name="connsiteY12" fmla="*/ 2150077 h 2369152"/>
              <a:gd name="connsiteX13" fmla="*/ 1495542 w 2305244"/>
              <a:gd name="connsiteY13" fmla="*/ 1788127 h 2369152"/>
              <a:gd name="connsiteX14" fmla="*/ 909489 w 2305244"/>
              <a:gd name="connsiteY14" fmla="*/ 1225390 h 2369152"/>
              <a:gd name="connsiteX15" fmla="*/ 414951 w 2305244"/>
              <a:gd name="connsiteY15" fmla="*/ 2322212 h 2369152"/>
              <a:gd name="connsiteX16" fmla="*/ 293184 w 2305244"/>
              <a:gd name="connsiteY16" fmla="*/ 2052845 h 2369152"/>
              <a:gd name="connsiteX17" fmla="*/ 520411 w 2305244"/>
              <a:gd name="connsiteY17" fmla="*/ 767428 h 2369152"/>
              <a:gd name="connsiteX18" fmla="*/ 11167 w 2305244"/>
              <a:gd name="connsiteY18" fmla="*/ 5505 h 2369152"/>
              <a:gd name="connsiteX0" fmla="*/ 11167 w 2305244"/>
              <a:gd name="connsiteY0" fmla="*/ 5505 h 2369152"/>
              <a:gd name="connsiteX1" fmla="*/ 771719 w 2305244"/>
              <a:gd name="connsiteY1" fmla="*/ 578452 h 2369152"/>
              <a:gd name="connsiteX2" fmla="*/ 2041440 w 2305244"/>
              <a:gd name="connsiteY2" fmla="*/ 514597 h 2369152"/>
              <a:gd name="connsiteX3" fmla="*/ 2296406 w 2305244"/>
              <a:gd name="connsiteY3" fmla="*/ 662729 h 2369152"/>
              <a:gd name="connsiteX4" fmla="*/ 1124906 w 2305244"/>
              <a:gd name="connsiteY4" fmla="*/ 1004182 h 2369152"/>
              <a:gd name="connsiteX5" fmla="*/ 1676517 w 2305244"/>
              <a:gd name="connsiteY5" fmla="*/ 1608523 h 2369152"/>
              <a:gd name="connsiteX6" fmla="*/ 2032752 w 2305244"/>
              <a:gd name="connsiteY6" fmla="*/ 1550002 h 2369152"/>
              <a:gd name="connsiteX7" fmla="*/ 2305244 w 2305244"/>
              <a:gd name="connsiteY7" fmla="*/ 1740502 h 2369152"/>
              <a:gd name="connsiteX8" fmla="*/ 1838519 w 2305244"/>
              <a:gd name="connsiteY8" fmla="*/ 1873852 h 2369152"/>
              <a:gd name="connsiteX9" fmla="*/ 2009969 w 2305244"/>
              <a:gd name="connsiteY9" fmla="*/ 2121502 h 2369152"/>
              <a:gd name="connsiteX10" fmla="*/ 1733744 w 2305244"/>
              <a:gd name="connsiteY10" fmla="*/ 1988152 h 2369152"/>
              <a:gd name="connsiteX11" fmla="*/ 1543244 w 2305244"/>
              <a:gd name="connsiteY11" fmla="*/ 2369152 h 2369152"/>
              <a:gd name="connsiteX12" fmla="*/ 1314644 w 2305244"/>
              <a:gd name="connsiteY12" fmla="*/ 2150077 h 2369152"/>
              <a:gd name="connsiteX13" fmla="*/ 1495542 w 2305244"/>
              <a:gd name="connsiteY13" fmla="*/ 1788127 h 2369152"/>
              <a:gd name="connsiteX14" fmla="*/ 909489 w 2305244"/>
              <a:gd name="connsiteY14" fmla="*/ 1225390 h 2369152"/>
              <a:gd name="connsiteX15" fmla="*/ 414951 w 2305244"/>
              <a:gd name="connsiteY15" fmla="*/ 2322212 h 2369152"/>
              <a:gd name="connsiteX16" fmla="*/ 293184 w 2305244"/>
              <a:gd name="connsiteY16" fmla="*/ 2052845 h 2369152"/>
              <a:gd name="connsiteX17" fmla="*/ 520411 w 2305244"/>
              <a:gd name="connsiteY17" fmla="*/ 767428 h 2369152"/>
              <a:gd name="connsiteX18" fmla="*/ 11167 w 2305244"/>
              <a:gd name="connsiteY18" fmla="*/ 5505 h 2369152"/>
              <a:gd name="connsiteX0" fmla="*/ 2305244 w 2305244"/>
              <a:gd name="connsiteY0" fmla="*/ 1740502 h 2369152"/>
              <a:gd name="connsiteX1" fmla="*/ 1838519 w 2305244"/>
              <a:gd name="connsiteY1" fmla="*/ 1873852 h 2369152"/>
              <a:gd name="connsiteX2" fmla="*/ 2009969 w 2305244"/>
              <a:gd name="connsiteY2" fmla="*/ 2121502 h 2369152"/>
              <a:gd name="connsiteX3" fmla="*/ 1733744 w 2305244"/>
              <a:gd name="connsiteY3" fmla="*/ 1988152 h 2369152"/>
              <a:gd name="connsiteX4" fmla="*/ 1543244 w 2305244"/>
              <a:gd name="connsiteY4" fmla="*/ 2369152 h 2369152"/>
              <a:gd name="connsiteX5" fmla="*/ 1314644 w 2305244"/>
              <a:gd name="connsiteY5" fmla="*/ 2150077 h 2369152"/>
              <a:gd name="connsiteX6" fmla="*/ 1495542 w 2305244"/>
              <a:gd name="connsiteY6" fmla="*/ 1788127 h 2369152"/>
              <a:gd name="connsiteX7" fmla="*/ 909489 w 2305244"/>
              <a:gd name="connsiteY7" fmla="*/ 1225390 h 2369152"/>
              <a:gd name="connsiteX8" fmla="*/ 414951 w 2305244"/>
              <a:gd name="connsiteY8" fmla="*/ 2322212 h 2369152"/>
              <a:gd name="connsiteX9" fmla="*/ 293184 w 2305244"/>
              <a:gd name="connsiteY9" fmla="*/ 2052845 h 2369152"/>
              <a:gd name="connsiteX10" fmla="*/ 520411 w 2305244"/>
              <a:gd name="connsiteY10" fmla="*/ 767428 h 2369152"/>
              <a:gd name="connsiteX11" fmla="*/ 11167 w 2305244"/>
              <a:gd name="connsiteY11" fmla="*/ 5505 h 2369152"/>
              <a:gd name="connsiteX12" fmla="*/ 771719 w 2305244"/>
              <a:gd name="connsiteY12" fmla="*/ 578452 h 2369152"/>
              <a:gd name="connsiteX13" fmla="*/ 2041440 w 2305244"/>
              <a:gd name="connsiteY13" fmla="*/ 514597 h 2369152"/>
              <a:gd name="connsiteX14" fmla="*/ 2296406 w 2305244"/>
              <a:gd name="connsiteY14" fmla="*/ 662729 h 2369152"/>
              <a:gd name="connsiteX15" fmla="*/ 1124906 w 2305244"/>
              <a:gd name="connsiteY15" fmla="*/ 1004182 h 2369152"/>
              <a:gd name="connsiteX16" fmla="*/ 1676517 w 2305244"/>
              <a:gd name="connsiteY16" fmla="*/ 1608523 h 2369152"/>
              <a:gd name="connsiteX17" fmla="*/ 2124192 w 2305244"/>
              <a:gd name="connsiteY17" fmla="*/ 1641442 h 2369152"/>
              <a:gd name="connsiteX0" fmla="*/ 2305244 w 2305244"/>
              <a:gd name="connsiteY0" fmla="*/ 1740502 h 2369152"/>
              <a:gd name="connsiteX1" fmla="*/ 1838519 w 2305244"/>
              <a:gd name="connsiteY1" fmla="*/ 1873852 h 2369152"/>
              <a:gd name="connsiteX2" fmla="*/ 2009969 w 2305244"/>
              <a:gd name="connsiteY2" fmla="*/ 2121502 h 2369152"/>
              <a:gd name="connsiteX3" fmla="*/ 1733744 w 2305244"/>
              <a:gd name="connsiteY3" fmla="*/ 1988152 h 2369152"/>
              <a:gd name="connsiteX4" fmla="*/ 1543244 w 2305244"/>
              <a:gd name="connsiteY4" fmla="*/ 2369152 h 2369152"/>
              <a:gd name="connsiteX5" fmla="*/ 1314644 w 2305244"/>
              <a:gd name="connsiteY5" fmla="*/ 2150077 h 2369152"/>
              <a:gd name="connsiteX6" fmla="*/ 1495542 w 2305244"/>
              <a:gd name="connsiteY6" fmla="*/ 1788127 h 2369152"/>
              <a:gd name="connsiteX7" fmla="*/ 909489 w 2305244"/>
              <a:gd name="connsiteY7" fmla="*/ 1225390 h 2369152"/>
              <a:gd name="connsiteX8" fmla="*/ 414951 w 2305244"/>
              <a:gd name="connsiteY8" fmla="*/ 2322212 h 2369152"/>
              <a:gd name="connsiteX9" fmla="*/ 293184 w 2305244"/>
              <a:gd name="connsiteY9" fmla="*/ 2052845 h 2369152"/>
              <a:gd name="connsiteX10" fmla="*/ 520411 w 2305244"/>
              <a:gd name="connsiteY10" fmla="*/ 767428 h 2369152"/>
              <a:gd name="connsiteX11" fmla="*/ 11167 w 2305244"/>
              <a:gd name="connsiteY11" fmla="*/ 5505 h 2369152"/>
              <a:gd name="connsiteX12" fmla="*/ 771719 w 2305244"/>
              <a:gd name="connsiteY12" fmla="*/ 578452 h 2369152"/>
              <a:gd name="connsiteX13" fmla="*/ 2041440 w 2305244"/>
              <a:gd name="connsiteY13" fmla="*/ 514597 h 2369152"/>
              <a:gd name="connsiteX14" fmla="*/ 2296406 w 2305244"/>
              <a:gd name="connsiteY14" fmla="*/ 662729 h 2369152"/>
              <a:gd name="connsiteX15" fmla="*/ 1124906 w 2305244"/>
              <a:gd name="connsiteY15" fmla="*/ 1004182 h 2369152"/>
              <a:gd name="connsiteX16" fmla="*/ 1676517 w 2305244"/>
              <a:gd name="connsiteY16" fmla="*/ 1608523 h 2369152"/>
              <a:gd name="connsiteX17" fmla="*/ 2102246 w 2305244"/>
              <a:gd name="connsiteY17" fmla="*/ 1579262 h 2369152"/>
              <a:gd name="connsiteX0" fmla="*/ 2275983 w 2296406"/>
              <a:gd name="connsiteY0" fmla="*/ 1747817 h 2369152"/>
              <a:gd name="connsiteX1" fmla="*/ 1838519 w 2296406"/>
              <a:gd name="connsiteY1" fmla="*/ 1873852 h 2369152"/>
              <a:gd name="connsiteX2" fmla="*/ 2009969 w 2296406"/>
              <a:gd name="connsiteY2" fmla="*/ 2121502 h 2369152"/>
              <a:gd name="connsiteX3" fmla="*/ 1733744 w 2296406"/>
              <a:gd name="connsiteY3" fmla="*/ 1988152 h 2369152"/>
              <a:gd name="connsiteX4" fmla="*/ 1543244 w 2296406"/>
              <a:gd name="connsiteY4" fmla="*/ 2369152 h 2369152"/>
              <a:gd name="connsiteX5" fmla="*/ 1314644 w 2296406"/>
              <a:gd name="connsiteY5" fmla="*/ 2150077 h 2369152"/>
              <a:gd name="connsiteX6" fmla="*/ 1495542 w 2296406"/>
              <a:gd name="connsiteY6" fmla="*/ 1788127 h 2369152"/>
              <a:gd name="connsiteX7" fmla="*/ 909489 w 2296406"/>
              <a:gd name="connsiteY7" fmla="*/ 1225390 h 2369152"/>
              <a:gd name="connsiteX8" fmla="*/ 414951 w 2296406"/>
              <a:gd name="connsiteY8" fmla="*/ 2322212 h 2369152"/>
              <a:gd name="connsiteX9" fmla="*/ 293184 w 2296406"/>
              <a:gd name="connsiteY9" fmla="*/ 2052845 h 2369152"/>
              <a:gd name="connsiteX10" fmla="*/ 520411 w 2296406"/>
              <a:gd name="connsiteY10" fmla="*/ 767428 h 2369152"/>
              <a:gd name="connsiteX11" fmla="*/ 11167 w 2296406"/>
              <a:gd name="connsiteY11" fmla="*/ 5505 h 2369152"/>
              <a:gd name="connsiteX12" fmla="*/ 771719 w 2296406"/>
              <a:gd name="connsiteY12" fmla="*/ 578452 h 2369152"/>
              <a:gd name="connsiteX13" fmla="*/ 2041440 w 2296406"/>
              <a:gd name="connsiteY13" fmla="*/ 514597 h 2369152"/>
              <a:gd name="connsiteX14" fmla="*/ 2296406 w 2296406"/>
              <a:gd name="connsiteY14" fmla="*/ 662729 h 2369152"/>
              <a:gd name="connsiteX15" fmla="*/ 1124906 w 2296406"/>
              <a:gd name="connsiteY15" fmla="*/ 1004182 h 2369152"/>
              <a:gd name="connsiteX16" fmla="*/ 1676517 w 2296406"/>
              <a:gd name="connsiteY16" fmla="*/ 1608523 h 2369152"/>
              <a:gd name="connsiteX17" fmla="*/ 2102246 w 2296406"/>
              <a:gd name="connsiteY17" fmla="*/ 1579262 h 2369152"/>
              <a:gd name="connsiteX0" fmla="*/ 2290614 w 2296406"/>
              <a:gd name="connsiteY0" fmla="*/ 1777078 h 2369152"/>
              <a:gd name="connsiteX1" fmla="*/ 1838519 w 2296406"/>
              <a:gd name="connsiteY1" fmla="*/ 1873852 h 2369152"/>
              <a:gd name="connsiteX2" fmla="*/ 2009969 w 2296406"/>
              <a:gd name="connsiteY2" fmla="*/ 2121502 h 2369152"/>
              <a:gd name="connsiteX3" fmla="*/ 1733744 w 2296406"/>
              <a:gd name="connsiteY3" fmla="*/ 1988152 h 2369152"/>
              <a:gd name="connsiteX4" fmla="*/ 1543244 w 2296406"/>
              <a:gd name="connsiteY4" fmla="*/ 2369152 h 2369152"/>
              <a:gd name="connsiteX5" fmla="*/ 1314644 w 2296406"/>
              <a:gd name="connsiteY5" fmla="*/ 2150077 h 2369152"/>
              <a:gd name="connsiteX6" fmla="*/ 1495542 w 2296406"/>
              <a:gd name="connsiteY6" fmla="*/ 1788127 h 2369152"/>
              <a:gd name="connsiteX7" fmla="*/ 909489 w 2296406"/>
              <a:gd name="connsiteY7" fmla="*/ 1225390 h 2369152"/>
              <a:gd name="connsiteX8" fmla="*/ 414951 w 2296406"/>
              <a:gd name="connsiteY8" fmla="*/ 2322212 h 2369152"/>
              <a:gd name="connsiteX9" fmla="*/ 293184 w 2296406"/>
              <a:gd name="connsiteY9" fmla="*/ 2052845 h 2369152"/>
              <a:gd name="connsiteX10" fmla="*/ 520411 w 2296406"/>
              <a:gd name="connsiteY10" fmla="*/ 767428 h 2369152"/>
              <a:gd name="connsiteX11" fmla="*/ 11167 w 2296406"/>
              <a:gd name="connsiteY11" fmla="*/ 5505 h 2369152"/>
              <a:gd name="connsiteX12" fmla="*/ 771719 w 2296406"/>
              <a:gd name="connsiteY12" fmla="*/ 578452 h 2369152"/>
              <a:gd name="connsiteX13" fmla="*/ 2041440 w 2296406"/>
              <a:gd name="connsiteY13" fmla="*/ 514597 h 2369152"/>
              <a:gd name="connsiteX14" fmla="*/ 2296406 w 2296406"/>
              <a:gd name="connsiteY14" fmla="*/ 662729 h 2369152"/>
              <a:gd name="connsiteX15" fmla="*/ 1124906 w 2296406"/>
              <a:gd name="connsiteY15" fmla="*/ 1004182 h 2369152"/>
              <a:gd name="connsiteX16" fmla="*/ 1676517 w 2296406"/>
              <a:gd name="connsiteY16" fmla="*/ 1608523 h 2369152"/>
              <a:gd name="connsiteX17" fmla="*/ 2102246 w 2296406"/>
              <a:gd name="connsiteY17" fmla="*/ 1579262 h 2369152"/>
              <a:gd name="connsiteX0" fmla="*/ 2290614 w 2296406"/>
              <a:gd name="connsiteY0" fmla="*/ 1740502 h 2369152"/>
              <a:gd name="connsiteX1" fmla="*/ 1838519 w 2296406"/>
              <a:gd name="connsiteY1" fmla="*/ 1873852 h 2369152"/>
              <a:gd name="connsiteX2" fmla="*/ 2009969 w 2296406"/>
              <a:gd name="connsiteY2" fmla="*/ 2121502 h 2369152"/>
              <a:gd name="connsiteX3" fmla="*/ 1733744 w 2296406"/>
              <a:gd name="connsiteY3" fmla="*/ 1988152 h 2369152"/>
              <a:gd name="connsiteX4" fmla="*/ 1543244 w 2296406"/>
              <a:gd name="connsiteY4" fmla="*/ 2369152 h 2369152"/>
              <a:gd name="connsiteX5" fmla="*/ 1314644 w 2296406"/>
              <a:gd name="connsiteY5" fmla="*/ 2150077 h 2369152"/>
              <a:gd name="connsiteX6" fmla="*/ 1495542 w 2296406"/>
              <a:gd name="connsiteY6" fmla="*/ 1788127 h 2369152"/>
              <a:gd name="connsiteX7" fmla="*/ 909489 w 2296406"/>
              <a:gd name="connsiteY7" fmla="*/ 1225390 h 2369152"/>
              <a:gd name="connsiteX8" fmla="*/ 414951 w 2296406"/>
              <a:gd name="connsiteY8" fmla="*/ 2322212 h 2369152"/>
              <a:gd name="connsiteX9" fmla="*/ 293184 w 2296406"/>
              <a:gd name="connsiteY9" fmla="*/ 2052845 h 2369152"/>
              <a:gd name="connsiteX10" fmla="*/ 520411 w 2296406"/>
              <a:gd name="connsiteY10" fmla="*/ 767428 h 2369152"/>
              <a:gd name="connsiteX11" fmla="*/ 11167 w 2296406"/>
              <a:gd name="connsiteY11" fmla="*/ 5505 h 2369152"/>
              <a:gd name="connsiteX12" fmla="*/ 771719 w 2296406"/>
              <a:gd name="connsiteY12" fmla="*/ 578452 h 2369152"/>
              <a:gd name="connsiteX13" fmla="*/ 2041440 w 2296406"/>
              <a:gd name="connsiteY13" fmla="*/ 514597 h 2369152"/>
              <a:gd name="connsiteX14" fmla="*/ 2296406 w 2296406"/>
              <a:gd name="connsiteY14" fmla="*/ 662729 h 2369152"/>
              <a:gd name="connsiteX15" fmla="*/ 1124906 w 2296406"/>
              <a:gd name="connsiteY15" fmla="*/ 1004182 h 2369152"/>
              <a:gd name="connsiteX16" fmla="*/ 1676517 w 2296406"/>
              <a:gd name="connsiteY16" fmla="*/ 1608523 h 2369152"/>
              <a:gd name="connsiteX17" fmla="*/ 2102246 w 2296406"/>
              <a:gd name="connsiteY17" fmla="*/ 1579262 h 2369152"/>
              <a:gd name="connsiteX0" fmla="*/ 2290614 w 2296406"/>
              <a:gd name="connsiteY0" fmla="*/ 1740502 h 2369152"/>
              <a:gd name="connsiteX1" fmla="*/ 1838519 w 2296406"/>
              <a:gd name="connsiteY1" fmla="*/ 1873852 h 2369152"/>
              <a:gd name="connsiteX2" fmla="*/ 2009969 w 2296406"/>
              <a:gd name="connsiteY2" fmla="*/ 2121502 h 2369152"/>
              <a:gd name="connsiteX3" fmla="*/ 1733744 w 2296406"/>
              <a:gd name="connsiteY3" fmla="*/ 1988152 h 2369152"/>
              <a:gd name="connsiteX4" fmla="*/ 1543244 w 2296406"/>
              <a:gd name="connsiteY4" fmla="*/ 2369152 h 2369152"/>
              <a:gd name="connsiteX5" fmla="*/ 1314644 w 2296406"/>
              <a:gd name="connsiteY5" fmla="*/ 2150077 h 2369152"/>
              <a:gd name="connsiteX6" fmla="*/ 1495542 w 2296406"/>
              <a:gd name="connsiteY6" fmla="*/ 1788127 h 2369152"/>
              <a:gd name="connsiteX7" fmla="*/ 909489 w 2296406"/>
              <a:gd name="connsiteY7" fmla="*/ 1225390 h 2369152"/>
              <a:gd name="connsiteX8" fmla="*/ 414951 w 2296406"/>
              <a:gd name="connsiteY8" fmla="*/ 2322212 h 2369152"/>
              <a:gd name="connsiteX9" fmla="*/ 293184 w 2296406"/>
              <a:gd name="connsiteY9" fmla="*/ 2052845 h 2369152"/>
              <a:gd name="connsiteX10" fmla="*/ 520411 w 2296406"/>
              <a:gd name="connsiteY10" fmla="*/ 767428 h 2369152"/>
              <a:gd name="connsiteX11" fmla="*/ 11167 w 2296406"/>
              <a:gd name="connsiteY11" fmla="*/ 5505 h 2369152"/>
              <a:gd name="connsiteX12" fmla="*/ 771719 w 2296406"/>
              <a:gd name="connsiteY12" fmla="*/ 578452 h 2369152"/>
              <a:gd name="connsiteX13" fmla="*/ 2041440 w 2296406"/>
              <a:gd name="connsiteY13" fmla="*/ 514597 h 2369152"/>
              <a:gd name="connsiteX14" fmla="*/ 2296406 w 2296406"/>
              <a:gd name="connsiteY14" fmla="*/ 662729 h 2369152"/>
              <a:gd name="connsiteX15" fmla="*/ 1124906 w 2296406"/>
              <a:gd name="connsiteY15" fmla="*/ 1004182 h 2369152"/>
              <a:gd name="connsiteX16" fmla="*/ 1676517 w 2296406"/>
              <a:gd name="connsiteY16" fmla="*/ 1608523 h 2369152"/>
              <a:gd name="connsiteX17" fmla="*/ 2062012 w 2296406"/>
              <a:gd name="connsiteY17" fmla="*/ 1560974 h 2369152"/>
              <a:gd name="connsiteX0" fmla="*/ 2257695 w 2296406"/>
              <a:gd name="connsiteY0" fmla="*/ 1755133 h 2369152"/>
              <a:gd name="connsiteX1" fmla="*/ 1838519 w 2296406"/>
              <a:gd name="connsiteY1" fmla="*/ 1873852 h 2369152"/>
              <a:gd name="connsiteX2" fmla="*/ 2009969 w 2296406"/>
              <a:gd name="connsiteY2" fmla="*/ 2121502 h 2369152"/>
              <a:gd name="connsiteX3" fmla="*/ 1733744 w 2296406"/>
              <a:gd name="connsiteY3" fmla="*/ 1988152 h 2369152"/>
              <a:gd name="connsiteX4" fmla="*/ 1543244 w 2296406"/>
              <a:gd name="connsiteY4" fmla="*/ 2369152 h 2369152"/>
              <a:gd name="connsiteX5" fmla="*/ 1314644 w 2296406"/>
              <a:gd name="connsiteY5" fmla="*/ 2150077 h 2369152"/>
              <a:gd name="connsiteX6" fmla="*/ 1495542 w 2296406"/>
              <a:gd name="connsiteY6" fmla="*/ 1788127 h 2369152"/>
              <a:gd name="connsiteX7" fmla="*/ 909489 w 2296406"/>
              <a:gd name="connsiteY7" fmla="*/ 1225390 h 2369152"/>
              <a:gd name="connsiteX8" fmla="*/ 414951 w 2296406"/>
              <a:gd name="connsiteY8" fmla="*/ 2322212 h 2369152"/>
              <a:gd name="connsiteX9" fmla="*/ 293184 w 2296406"/>
              <a:gd name="connsiteY9" fmla="*/ 2052845 h 2369152"/>
              <a:gd name="connsiteX10" fmla="*/ 520411 w 2296406"/>
              <a:gd name="connsiteY10" fmla="*/ 767428 h 2369152"/>
              <a:gd name="connsiteX11" fmla="*/ 11167 w 2296406"/>
              <a:gd name="connsiteY11" fmla="*/ 5505 h 2369152"/>
              <a:gd name="connsiteX12" fmla="*/ 771719 w 2296406"/>
              <a:gd name="connsiteY12" fmla="*/ 578452 h 2369152"/>
              <a:gd name="connsiteX13" fmla="*/ 2041440 w 2296406"/>
              <a:gd name="connsiteY13" fmla="*/ 514597 h 2369152"/>
              <a:gd name="connsiteX14" fmla="*/ 2296406 w 2296406"/>
              <a:gd name="connsiteY14" fmla="*/ 662729 h 2369152"/>
              <a:gd name="connsiteX15" fmla="*/ 1124906 w 2296406"/>
              <a:gd name="connsiteY15" fmla="*/ 1004182 h 2369152"/>
              <a:gd name="connsiteX16" fmla="*/ 1676517 w 2296406"/>
              <a:gd name="connsiteY16" fmla="*/ 1608523 h 2369152"/>
              <a:gd name="connsiteX17" fmla="*/ 2062012 w 2296406"/>
              <a:gd name="connsiteY17" fmla="*/ 1560974 h 2369152"/>
              <a:gd name="connsiteX0" fmla="*/ 2279640 w 2296406"/>
              <a:gd name="connsiteY0" fmla="*/ 1747818 h 2369152"/>
              <a:gd name="connsiteX1" fmla="*/ 1838519 w 2296406"/>
              <a:gd name="connsiteY1" fmla="*/ 1873852 h 2369152"/>
              <a:gd name="connsiteX2" fmla="*/ 2009969 w 2296406"/>
              <a:gd name="connsiteY2" fmla="*/ 2121502 h 2369152"/>
              <a:gd name="connsiteX3" fmla="*/ 1733744 w 2296406"/>
              <a:gd name="connsiteY3" fmla="*/ 1988152 h 2369152"/>
              <a:gd name="connsiteX4" fmla="*/ 1543244 w 2296406"/>
              <a:gd name="connsiteY4" fmla="*/ 2369152 h 2369152"/>
              <a:gd name="connsiteX5" fmla="*/ 1314644 w 2296406"/>
              <a:gd name="connsiteY5" fmla="*/ 2150077 h 2369152"/>
              <a:gd name="connsiteX6" fmla="*/ 1495542 w 2296406"/>
              <a:gd name="connsiteY6" fmla="*/ 1788127 h 2369152"/>
              <a:gd name="connsiteX7" fmla="*/ 909489 w 2296406"/>
              <a:gd name="connsiteY7" fmla="*/ 1225390 h 2369152"/>
              <a:gd name="connsiteX8" fmla="*/ 414951 w 2296406"/>
              <a:gd name="connsiteY8" fmla="*/ 2322212 h 2369152"/>
              <a:gd name="connsiteX9" fmla="*/ 293184 w 2296406"/>
              <a:gd name="connsiteY9" fmla="*/ 2052845 h 2369152"/>
              <a:gd name="connsiteX10" fmla="*/ 520411 w 2296406"/>
              <a:gd name="connsiteY10" fmla="*/ 767428 h 2369152"/>
              <a:gd name="connsiteX11" fmla="*/ 11167 w 2296406"/>
              <a:gd name="connsiteY11" fmla="*/ 5505 h 2369152"/>
              <a:gd name="connsiteX12" fmla="*/ 771719 w 2296406"/>
              <a:gd name="connsiteY12" fmla="*/ 578452 h 2369152"/>
              <a:gd name="connsiteX13" fmla="*/ 2041440 w 2296406"/>
              <a:gd name="connsiteY13" fmla="*/ 514597 h 2369152"/>
              <a:gd name="connsiteX14" fmla="*/ 2296406 w 2296406"/>
              <a:gd name="connsiteY14" fmla="*/ 662729 h 2369152"/>
              <a:gd name="connsiteX15" fmla="*/ 1124906 w 2296406"/>
              <a:gd name="connsiteY15" fmla="*/ 1004182 h 2369152"/>
              <a:gd name="connsiteX16" fmla="*/ 1676517 w 2296406"/>
              <a:gd name="connsiteY16" fmla="*/ 1608523 h 2369152"/>
              <a:gd name="connsiteX17" fmla="*/ 2062012 w 2296406"/>
              <a:gd name="connsiteY17" fmla="*/ 1560974 h 2369152"/>
              <a:gd name="connsiteX0" fmla="*/ 2279640 w 2296406"/>
              <a:gd name="connsiteY0" fmla="*/ 1747818 h 2369152"/>
              <a:gd name="connsiteX1" fmla="*/ 1838519 w 2296406"/>
              <a:gd name="connsiteY1" fmla="*/ 1873852 h 2369152"/>
              <a:gd name="connsiteX2" fmla="*/ 2009969 w 2296406"/>
              <a:gd name="connsiteY2" fmla="*/ 2121502 h 2369152"/>
              <a:gd name="connsiteX3" fmla="*/ 1733744 w 2296406"/>
              <a:gd name="connsiteY3" fmla="*/ 1988152 h 2369152"/>
              <a:gd name="connsiteX4" fmla="*/ 1543244 w 2296406"/>
              <a:gd name="connsiteY4" fmla="*/ 2369152 h 2369152"/>
              <a:gd name="connsiteX5" fmla="*/ 1314644 w 2296406"/>
              <a:gd name="connsiteY5" fmla="*/ 2150077 h 2369152"/>
              <a:gd name="connsiteX6" fmla="*/ 1495542 w 2296406"/>
              <a:gd name="connsiteY6" fmla="*/ 1788127 h 2369152"/>
              <a:gd name="connsiteX7" fmla="*/ 909489 w 2296406"/>
              <a:gd name="connsiteY7" fmla="*/ 1225390 h 2369152"/>
              <a:gd name="connsiteX8" fmla="*/ 414951 w 2296406"/>
              <a:gd name="connsiteY8" fmla="*/ 2322212 h 2369152"/>
              <a:gd name="connsiteX9" fmla="*/ 293184 w 2296406"/>
              <a:gd name="connsiteY9" fmla="*/ 2052845 h 2369152"/>
              <a:gd name="connsiteX10" fmla="*/ 520411 w 2296406"/>
              <a:gd name="connsiteY10" fmla="*/ 767428 h 2369152"/>
              <a:gd name="connsiteX11" fmla="*/ 11167 w 2296406"/>
              <a:gd name="connsiteY11" fmla="*/ 5505 h 2369152"/>
              <a:gd name="connsiteX12" fmla="*/ 771719 w 2296406"/>
              <a:gd name="connsiteY12" fmla="*/ 578452 h 2369152"/>
              <a:gd name="connsiteX13" fmla="*/ 2041440 w 2296406"/>
              <a:gd name="connsiteY13" fmla="*/ 514597 h 2369152"/>
              <a:gd name="connsiteX14" fmla="*/ 2296406 w 2296406"/>
              <a:gd name="connsiteY14" fmla="*/ 662729 h 2369152"/>
              <a:gd name="connsiteX15" fmla="*/ 1124906 w 2296406"/>
              <a:gd name="connsiteY15" fmla="*/ 1004182 h 2369152"/>
              <a:gd name="connsiteX16" fmla="*/ 1676517 w 2296406"/>
              <a:gd name="connsiteY16" fmla="*/ 1608523 h 2369152"/>
              <a:gd name="connsiteX17" fmla="*/ 2094931 w 2296406"/>
              <a:gd name="connsiteY17" fmla="*/ 1557316 h 2369152"/>
              <a:gd name="connsiteX0" fmla="*/ 2279640 w 2296406"/>
              <a:gd name="connsiteY0" fmla="*/ 1747818 h 2369152"/>
              <a:gd name="connsiteX1" fmla="*/ 1838519 w 2296406"/>
              <a:gd name="connsiteY1" fmla="*/ 1873852 h 2369152"/>
              <a:gd name="connsiteX2" fmla="*/ 2009969 w 2296406"/>
              <a:gd name="connsiteY2" fmla="*/ 2121502 h 2369152"/>
              <a:gd name="connsiteX3" fmla="*/ 1733744 w 2296406"/>
              <a:gd name="connsiteY3" fmla="*/ 1988152 h 2369152"/>
              <a:gd name="connsiteX4" fmla="*/ 1543244 w 2296406"/>
              <a:gd name="connsiteY4" fmla="*/ 2369152 h 2369152"/>
              <a:gd name="connsiteX5" fmla="*/ 1391454 w 2296406"/>
              <a:gd name="connsiteY5" fmla="*/ 2150077 h 2369152"/>
              <a:gd name="connsiteX6" fmla="*/ 1495542 w 2296406"/>
              <a:gd name="connsiteY6" fmla="*/ 1788127 h 2369152"/>
              <a:gd name="connsiteX7" fmla="*/ 909489 w 2296406"/>
              <a:gd name="connsiteY7" fmla="*/ 1225390 h 2369152"/>
              <a:gd name="connsiteX8" fmla="*/ 414951 w 2296406"/>
              <a:gd name="connsiteY8" fmla="*/ 2322212 h 2369152"/>
              <a:gd name="connsiteX9" fmla="*/ 293184 w 2296406"/>
              <a:gd name="connsiteY9" fmla="*/ 2052845 h 2369152"/>
              <a:gd name="connsiteX10" fmla="*/ 520411 w 2296406"/>
              <a:gd name="connsiteY10" fmla="*/ 767428 h 2369152"/>
              <a:gd name="connsiteX11" fmla="*/ 11167 w 2296406"/>
              <a:gd name="connsiteY11" fmla="*/ 5505 h 2369152"/>
              <a:gd name="connsiteX12" fmla="*/ 771719 w 2296406"/>
              <a:gd name="connsiteY12" fmla="*/ 578452 h 2369152"/>
              <a:gd name="connsiteX13" fmla="*/ 2041440 w 2296406"/>
              <a:gd name="connsiteY13" fmla="*/ 514597 h 2369152"/>
              <a:gd name="connsiteX14" fmla="*/ 2296406 w 2296406"/>
              <a:gd name="connsiteY14" fmla="*/ 662729 h 2369152"/>
              <a:gd name="connsiteX15" fmla="*/ 1124906 w 2296406"/>
              <a:gd name="connsiteY15" fmla="*/ 1004182 h 2369152"/>
              <a:gd name="connsiteX16" fmla="*/ 1676517 w 2296406"/>
              <a:gd name="connsiteY16" fmla="*/ 1608523 h 2369152"/>
              <a:gd name="connsiteX17" fmla="*/ 2094931 w 2296406"/>
              <a:gd name="connsiteY17" fmla="*/ 1557316 h 2369152"/>
              <a:gd name="connsiteX0" fmla="*/ 2279640 w 2296406"/>
              <a:gd name="connsiteY0" fmla="*/ 1747818 h 2369152"/>
              <a:gd name="connsiteX1" fmla="*/ 1838519 w 2296406"/>
              <a:gd name="connsiteY1" fmla="*/ 1873852 h 2369152"/>
              <a:gd name="connsiteX2" fmla="*/ 2009969 w 2296406"/>
              <a:gd name="connsiteY2" fmla="*/ 2121502 h 2369152"/>
              <a:gd name="connsiteX3" fmla="*/ 1733744 w 2296406"/>
              <a:gd name="connsiteY3" fmla="*/ 1988152 h 2369152"/>
              <a:gd name="connsiteX4" fmla="*/ 1543244 w 2296406"/>
              <a:gd name="connsiteY4" fmla="*/ 2369152 h 2369152"/>
              <a:gd name="connsiteX5" fmla="*/ 1380482 w 2296406"/>
              <a:gd name="connsiteY5" fmla="*/ 2120816 h 2369152"/>
              <a:gd name="connsiteX6" fmla="*/ 1495542 w 2296406"/>
              <a:gd name="connsiteY6" fmla="*/ 1788127 h 2369152"/>
              <a:gd name="connsiteX7" fmla="*/ 909489 w 2296406"/>
              <a:gd name="connsiteY7" fmla="*/ 1225390 h 2369152"/>
              <a:gd name="connsiteX8" fmla="*/ 414951 w 2296406"/>
              <a:gd name="connsiteY8" fmla="*/ 2322212 h 2369152"/>
              <a:gd name="connsiteX9" fmla="*/ 293184 w 2296406"/>
              <a:gd name="connsiteY9" fmla="*/ 2052845 h 2369152"/>
              <a:gd name="connsiteX10" fmla="*/ 520411 w 2296406"/>
              <a:gd name="connsiteY10" fmla="*/ 767428 h 2369152"/>
              <a:gd name="connsiteX11" fmla="*/ 11167 w 2296406"/>
              <a:gd name="connsiteY11" fmla="*/ 5505 h 2369152"/>
              <a:gd name="connsiteX12" fmla="*/ 771719 w 2296406"/>
              <a:gd name="connsiteY12" fmla="*/ 578452 h 2369152"/>
              <a:gd name="connsiteX13" fmla="*/ 2041440 w 2296406"/>
              <a:gd name="connsiteY13" fmla="*/ 514597 h 2369152"/>
              <a:gd name="connsiteX14" fmla="*/ 2296406 w 2296406"/>
              <a:gd name="connsiteY14" fmla="*/ 662729 h 2369152"/>
              <a:gd name="connsiteX15" fmla="*/ 1124906 w 2296406"/>
              <a:gd name="connsiteY15" fmla="*/ 1004182 h 2369152"/>
              <a:gd name="connsiteX16" fmla="*/ 1676517 w 2296406"/>
              <a:gd name="connsiteY16" fmla="*/ 1608523 h 2369152"/>
              <a:gd name="connsiteX17" fmla="*/ 2094931 w 2296406"/>
              <a:gd name="connsiteY17" fmla="*/ 1557316 h 2369152"/>
              <a:gd name="connsiteX0" fmla="*/ 2279640 w 2296406"/>
              <a:gd name="connsiteY0" fmla="*/ 1747818 h 2354521"/>
              <a:gd name="connsiteX1" fmla="*/ 1838519 w 2296406"/>
              <a:gd name="connsiteY1" fmla="*/ 1873852 h 2354521"/>
              <a:gd name="connsiteX2" fmla="*/ 2009969 w 2296406"/>
              <a:gd name="connsiteY2" fmla="*/ 2121502 h 2354521"/>
              <a:gd name="connsiteX3" fmla="*/ 1733744 w 2296406"/>
              <a:gd name="connsiteY3" fmla="*/ 1988152 h 2354521"/>
              <a:gd name="connsiteX4" fmla="*/ 1528613 w 2296406"/>
              <a:gd name="connsiteY4" fmla="*/ 2354521 h 2354521"/>
              <a:gd name="connsiteX5" fmla="*/ 1380482 w 2296406"/>
              <a:gd name="connsiteY5" fmla="*/ 2120816 h 2354521"/>
              <a:gd name="connsiteX6" fmla="*/ 1495542 w 2296406"/>
              <a:gd name="connsiteY6" fmla="*/ 1788127 h 2354521"/>
              <a:gd name="connsiteX7" fmla="*/ 909489 w 2296406"/>
              <a:gd name="connsiteY7" fmla="*/ 1225390 h 2354521"/>
              <a:gd name="connsiteX8" fmla="*/ 414951 w 2296406"/>
              <a:gd name="connsiteY8" fmla="*/ 2322212 h 2354521"/>
              <a:gd name="connsiteX9" fmla="*/ 293184 w 2296406"/>
              <a:gd name="connsiteY9" fmla="*/ 2052845 h 2354521"/>
              <a:gd name="connsiteX10" fmla="*/ 520411 w 2296406"/>
              <a:gd name="connsiteY10" fmla="*/ 767428 h 2354521"/>
              <a:gd name="connsiteX11" fmla="*/ 11167 w 2296406"/>
              <a:gd name="connsiteY11" fmla="*/ 5505 h 2354521"/>
              <a:gd name="connsiteX12" fmla="*/ 771719 w 2296406"/>
              <a:gd name="connsiteY12" fmla="*/ 578452 h 2354521"/>
              <a:gd name="connsiteX13" fmla="*/ 2041440 w 2296406"/>
              <a:gd name="connsiteY13" fmla="*/ 514597 h 2354521"/>
              <a:gd name="connsiteX14" fmla="*/ 2296406 w 2296406"/>
              <a:gd name="connsiteY14" fmla="*/ 662729 h 2354521"/>
              <a:gd name="connsiteX15" fmla="*/ 1124906 w 2296406"/>
              <a:gd name="connsiteY15" fmla="*/ 1004182 h 2354521"/>
              <a:gd name="connsiteX16" fmla="*/ 1676517 w 2296406"/>
              <a:gd name="connsiteY16" fmla="*/ 1608523 h 2354521"/>
              <a:gd name="connsiteX17" fmla="*/ 2094931 w 2296406"/>
              <a:gd name="connsiteY17" fmla="*/ 1557316 h 2354521"/>
              <a:gd name="connsiteX0" fmla="*/ 2279640 w 2296406"/>
              <a:gd name="connsiteY0" fmla="*/ 1747818 h 2354521"/>
              <a:gd name="connsiteX1" fmla="*/ 1838519 w 2296406"/>
              <a:gd name="connsiteY1" fmla="*/ 1873852 h 2354521"/>
              <a:gd name="connsiteX2" fmla="*/ 2009969 w 2296406"/>
              <a:gd name="connsiteY2" fmla="*/ 2121502 h 2354521"/>
              <a:gd name="connsiteX3" fmla="*/ 1682537 w 2296406"/>
              <a:gd name="connsiteY3" fmla="*/ 1962549 h 2354521"/>
              <a:gd name="connsiteX4" fmla="*/ 1528613 w 2296406"/>
              <a:gd name="connsiteY4" fmla="*/ 2354521 h 2354521"/>
              <a:gd name="connsiteX5" fmla="*/ 1380482 w 2296406"/>
              <a:gd name="connsiteY5" fmla="*/ 2120816 h 2354521"/>
              <a:gd name="connsiteX6" fmla="*/ 1495542 w 2296406"/>
              <a:gd name="connsiteY6" fmla="*/ 1788127 h 2354521"/>
              <a:gd name="connsiteX7" fmla="*/ 909489 w 2296406"/>
              <a:gd name="connsiteY7" fmla="*/ 1225390 h 2354521"/>
              <a:gd name="connsiteX8" fmla="*/ 414951 w 2296406"/>
              <a:gd name="connsiteY8" fmla="*/ 2322212 h 2354521"/>
              <a:gd name="connsiteX9" fmla="*/ 293184 w 2296406"/>
              <a:gd name="connsiteY9" fmla="*/ 2052845 h 2354521"/>
              <a:gd name="connsiteX10" fmla="*/ 520411 w 2296406"/>
              <a:gd name="connsiteY10" fmla="*/ 767428 h 2354521"/>
              <a:gd name="connsiteX11" fmla="*/ 11167 w 2296406"/>
              <a:gd name="connsiteY11" fmla="*/ 5505 h 2354521"/>
              <a:gd name="connsiteX12" fmla="*/ 771719 w 2296406"/>
              <a:gd name="connsiteY12" fmla="*/ 578452 h 2354521"/>
              <a:gd name="connsiteX13" fmla="*/ 2041440 w 2296406"/>
              <a:gd name="connsiteY13" fmla="*/ 514597 h 2354521"/>
              <a:gd name="connsiteX14" fmla="*/ 2296406 w 2296406"/>
              <a:gd name="connsiteY14" fmla="*/ 662729 h 2354521"/>
              <a:gd name="connsiteX15" fmla="*/ 1124906 w 2296406"/>
              <a:gd name="connsiteY15" fmla="*/ 1004182 h 2354521"/>
              <a:gd name="connsiteX16" fmla="*/ 1676517 w 2296406"/>
              <a:gd name="connsiteY16" fmla="*/ 1608523 h 2354521"/>
              <a:gd name="connsiteX17" fmla="*/ 2094931 w 2296406"/>
              <a:gd name="connsiteY17" fmla="*/ 1557316 h 2354521"/>
              <a:gd name="connsiteX0" fmla="*/ 2279640 w 2296406"/>
              <a:gd name="connsiteY0" fmla="*/ 1747818 h 2354521"/>
              <a:gd name="connsiteX1" fmla="*/ 1816574 w 2296406"/>
              <a:gd name="connsiteY1" fmla="*/ 1851907 h 2354521"/>
              <a:gd name="connsiteX2" fmla="*/ 2009969 w 2296406"/>
              <a:gd name="connsiteY2" fmla="*/ 2121502 h 2354521"/>
              <a:gd name="connsiteX3" fmla="*/ 1682537 w 2296406"/>
              <a:gd name="connsiteY3" fmla="*/ 1962549 h 2354521"/>
              <a:gd name="connsiteX4" fmla="*/ 1528613 w 2296406"/>
              <a:gd name="connsiteY4" fmla="*/ 2354521 h 2354521"/>
              <a:gd name="connsiteX5" fmla="*/ 1380482 w 2296406"/>
              <a:gd name="connsiteY5" fmla="*/ 2120816 h 2354521"/>
              <a:gd name="connsiteX6" fmla="*/ 1495542 w 2296406"/>
              <a:gd name="connsiteY6" fmla="*/ 1788127 h 2354521"/>
              <a:gd name="connsiteX7" fmla="*/ 909489 w 2296406"/>
              <a:gd name="connsiteY7" fmla="*/ 1225390 h 2354521"/>
              <a:gd name="connsiteX8" fmla="*/ 414951 w 2296406"/>
              <a:gd name="connsiteY8" fmla="*/ 2322212 h 2354521"/>
              <a:gd name="connsiteX9" fmla="*/ 293184 w 2296406"/>
              <a:gd name="connsiteY9" fmla="*/ 2052845 h 2354521"/>
              <a:gd name="connsiteX10" fmla="*/ 520411 w 2296406"/>
              <a:gd name="connsiteY10" fmla="*/ 767428 h 2354521"/>
              <a:gd name="connsiteX11" fmla="*/ 11167 w 2296406"/>
              <a:gd name="connsiteY11" fmla="*/ 5505 h 2354521"/>
              <a:gd name="connsiteX12" fmla="*/ 771719 w 2296406"/>
              <a:gd name="connsiteY12" fmla="*/ 578452 h 2354521"/>
              <a:gd name="connsiteX13" fmla="*/ 2041440 w 2296406"/>
              <a:gd name="connsiteY13" fmla="*/ 514597 h 2354521"/>
              <a:gd name="connsiteX14" fmla="*/ 2296406 w 2296406"/>
              <a:gd name="connsiteY14" fmla="*/ 662729 h 2354521"/>
              <a:gd name="connsiteX15" fmla="*/ 1124906 w 2296406"/>
              <a:gd name="connsiteY15" fmla="*/ 1004182 h 2354521"/>
              <a:gd name="connsiteX16" fmla="*/ 1676517 w 2296406"/>
              <a:gd name="connsiteY16" fmla="*/ 1608523 h 2354521"/>
              <a:gd name="connsiteX17" fmla="*/ 2094931 w 2296406"/>
              <a:gd name="connsiteY17" fmla="*/ 1557316 h 2354521"/>
              <a:gd name="connsiteX0" fmla="*/ 2279640 w 2296406"/>
              <a:gd name="connsiteY0" fmla="*/ 1747818 h 2354521"/>
              <a:gd name="connsiteX1" fmla="*/ 1816574 w 2296406"/>
              <a:gd name="connsiteY1" fmla="*/ 1851907 h 2354521"/>
              <a:gd name="connsiteX2" fmla="*/ 1991681 w 2296406"/>
              <a:gd name="connsiteY2" fmla="*/ 2136133 h 2354521"/>
              <a:gd name="connsiteX3" fmla="*/ 1682537 w 2296406"/>
              <a:gd name="connsiteY3" fmla="*/ 1962549 h 2354521"/>
              <a:gd name="connsiteX4" fmla="*/ 1528613 w 2296406"/>
              <a:gd name="connsiteY4" fmla="*/ 2354521 h 2354521"/>
              <a:gd name="connsiteX5" fmla="*/ 1380482 w 2296406"/>
              <a:gd name="connsiteY5" fmla="*/ 2120816 h 2354521"/>
              <a:gd name="connsiteX6" fmla="*/ 1495542 w 2296406"/>
              <a:gd name="connsiteY6" fmla="*/ 1788127 h 2354521"/>
              <a:gd name="connsiteX7" fmla="*/ 909489 w 2296406"/>
              <a:gd name="connsiteY7" fmla="*/ 1225390 h 2354521"/>
              <a:gd name="connsiteX8" fmla="*/ 414951 w 2296406"/>
              <a:gd name="connsiteY8" fmla="*/ 2322212 h 2354521"/>
              <a:gd name="connsiteX9" fmla="*/ 293184 w 2296406"/>
              <a:gd name="connsiteY9" fmla="*/ 2052845 h 2354521"/>
              <a:gd name="connsiteX10" fmla="*/ 520411 w 2296406"/>
              <a:gd name="connsiteY10" fmla="*/ 767428 h 2354521"/>
              <a:gd name="connsiteX11" fmla="*/ 11167 w 2296406"/>
              <a:gd name="connsiteY11" fmla="*/ 5505 h 2354521"/>
              <a:gd name="connsiteX12" fmla="*/ 771719 w 2296406"/>
              <a:gd name="connsiteY12" fmla="*/ 578452 h 2354521"/>
              <a:gd name="connsiteX13" fmla="*/ 2041440 w 2296406"/>
              <a:gd name="connsiteY13" fmla="*/ 514597 h 2354521"/>
              <a:gd name="connsiteX14" fmla="*/ 2296406 w 2296406"/>
              <a:gd name="connsiteY14" fmla="*/ 662729 h 2354521"/>
              <a:gd name="connsiteX15" fmla="*/ 1124906 w 2296406"/>
              <a:gd name="connsiteY15" fmla="*/ 1004182 h 2354521"/>
              <a:gd name="connsiteX16" fmla="*/ 1676517 w 2296406"/>
              <a:gd name="connsiteY16" fmla="*/ 1608523 h 2354521"/>
              <a:gd name="connsiteX17" fmla="*/ 2094931 w 2296406"/>
              <a:gd name="connsiteY17" fmla="*/ 1557316 h 2354521"/>
              <a:gd name="connsiteX0" fmla="*/ 2279640 w 2296406"/>
              <a:gd name="connsiteY0" fmla="*/ 1747818 h 2354521"/>
              <a:gd name="connsiteX1" fmla="*/ 1816574 w 2296406"/>
              <a:gd name="connsiteY1" fmla="*/ 1851907 h 2354521"/>
              <a:gd name="connsiteX2" fmla="*/ 2042887 w 2296406"/>
              <a:gd name="connsiteY2" fmla="*/ 2194655 h 2354521"/>
              <a:gd name="connsiteX3" fmla="*/ 1682537 w 2296406"/>
              <a:gd name="connsiteY3" fmla="*/ 1962549 h 2354521"/>
              <a:gd name="connsiteX4" fmla="*/ 1528613 w 2296406"/>
              <a:gd name="connsiteY4" fmla="*/ 2354521 h 2354521"/>
              <a:gd name="connsiteX5" fmla="*/ 1380482 w 2296406"/>
              <a:gd name="connsiteY5" fmla="*/ 2120816 h 2354521"/>
              <a:gd name="connsiteX6" fmla="*/ 1495542 w 2296406"/>
              <a:gd name="connsiteY6" fmla="*/ 1788127 h 2354521"/>
              <a:gd name="connsiteX7" fmla="*/ 909489 w 2296406"/>
              <a:gd name="connsiteY7" fmla="*/ 1225390 h 2354521"/>
              <a:gd name="connsiteX8" fmla="*/ 414951 w 2296406"/>
              <a:gd name="connsiteY8" fmla="*/ 2322212 h 2354521"/>
              <a:gd name="connsiteX9" fmla="*/ 293184 w 2296406"/>
              <a:gd name="connsiteY9" fmla="*/ 2052845 h 2354521"/>
              <a:gd name="connsiteX10" fmla="*/ 520411 w 2296406"/>
              <a:gd name="connsiteY10" fmla="*/ 767428 h 2354521"/>
              <a:gd name="connsiteX11" fmla="*/ 11167 w 2296406"/>
              <a:gd name="connsiteY11" fmla="*/ 5505 h 2354521"/>
              <a:gd name="connsiteX12" fmla="*/ 771719 w 2296406"/>
              <a:gd name="connsiteY12" fmla="*/ 578452 h 2354521"/>
              <a:gd name="connsiteX13" fmla="*/ 2041440 w 2296406"/>
              <a:gd name="connsiteY13" fmla="*/ 514597 h 2354521"/>
              <a:gd name="connsiteX14" fmla="*/ 2296406 w 2296406"/>
              <a:gd name="connsiteY14" fmla="*/ 662729 h 2354521"/>
              <a:gd name="connsiteX15" fmla="*/ 1124906 w 2296406"/>
              <a:gd name="connsiteY15" fmla="*/ 1004182 h 2354521"/>
              <a:gd name="connsiteX16" fmla="*/ 1676517 w 2296406"/>
              <a:gd name="connsiteY16" fmla="*/ 1608523 h 2354521"/>
              <a:gd name="connsiteX17" fmla="*/ 2094931 w 2296406"/>
              <a:gd name="connsiteY17" fmla="*/ 1557316 h 2354521"/>
              <a:gd name="connsiteX0" fmla="*/ 2279640 w 2296406"/>
              <a:gd name="connsiteY0" fmla="*/ 1747818 h 2354521"/>
              <a:gd name="connsiteX1" fmla="*/ 1816574 w 2296406"/>
              <a:gd name="connsiteY1" fmla="*/ 1851907 h 2354521"/>
              <a:gd name="connsiteX2" fmla="*/ 1955104 w 2296406"/>
              <a:gd name="connsiteY2" fmla="*/ 2095900 h 2354521"/>
              <a:gd name="connsiteX3" fmla="*/ 1682537 w 2296406"/>
              <a:gd name="connsiteY3" fmla="*/ 1962549 h 2354521"/>
              <a:gd name="connsiteX4" fmla="*/ 1528613 w 2296406"/>
              <a:gd name="connsiteY4" fmla="*/ 2354521 h 2354521"/>
              <a:gd name="connsiteX5" fmla="*/ 1380482 w 2296406"/>
              <a:gd name="connsiteY5" fmla="*/ 2120816 h 2354521"/>
              <a:gd name="connsiteX6" fmla="*/ 1495542 w 2296406"/>
              <a:gd name="connsiteY6" fmla="*/ 1788127 h 2354521"/>
              <a:gd name="connsiteX7" fmla="*/ 909489 w 2296406"/>
              <a:gd name="connsiteY7" fmla="*/ 1225390 h 2354521"/>
              <a:gd name="connsiteX8" fmla="*/ 414951 w 2296406"/>
              <a:gd name="connsiteY8" fmla="*/ 2322212 h 2354521"/>
              <a:gd name="connsiteX9" fmla="*/ 293184 w 2296406"/>
              <a:gd name="connsiteY9" fmla="*/ 2052845 h 2354521"/>
              <a:gd name="connsiteX10" fmla="*/ 520411 w 2296406"/>
              <a:gd name="connsiteY10" fmla="*/ 767428 h 2354521"/>
              <a:gd name="connsiteX11" fmla="*/ 11167 w 2296406"/>
              <a:gd name="connsiteY11" fmla="*/ 5505 h 2354521"/>
              <a:gd name="connsiteX12" fmla="*/ 771719 w 2296406"/>
              <a:gd name="connsiteY12" fmla="*/ 578452 h 2354521"/>
              <a:gd name="connsiteX13" fmla="*/ 2041440 w 2296406"/>
              <a:gd name="connsiteY13" fmla="*/ 514597 h 2354521"/>
              <a:gd name="connsiteX14" fmla="*/ 2296406 w 2296406"/>
              <a:gd name="connsiteY14" fmla="*/ 662729 h 2354521"/>
              <a:gd name="connsiteX15" fmla="*/ 1124906 w 2296406"/>
              <a:gd name="connsiteY15" fmla="*/ 1004182 h 2354521"/>
              <a:gd name="connsiteX16" fmla="*/ 1676517 w 2296406"/>
              <a:gd name="connsiteY16" fmla="*/ 1608523 h 2354521"/>
              <a:gd name="connsiteX17" fmla="*/ 2094931 w 2296406"/>
              <a:gd name="connsiteY17" fmla="*/ 1557316 h 2354521"/>
              <a:gd name="connsiteX0" fmla="*/ 2279640 w 2296406"/>
              <a:gd name="connsiteY0" fmla="*/ 1747818 h 2354521"/>
              <a:gd name="connsiteX1" fmla="*/ 1816574 w 2296406"/>
              <a:gd name="connsiteY1" fmla="*/ 1851907 h 2354521"/>
              <a:gd name="connsiteX2" fmla="*/ 1955104 w 2296406"/>
              <a:gd name="connsiteY2" fmla="*/ 2095900 h 2354521"/>
              <a:gd name="connsiteX3" fmla="*/ 1682537 w 2296406"/>
              <a:gd name="connsiteY3" fmla="*/ 1962549 h 2354521"/>
              <a:gd name="connsiteX4" fmla="*/ 1528613 w 2296406"/>
              <a:gd name="connsiteY4" fmla="*/ 2354521 h 2354521"/>
              <a:gd name="connsiteX5" fmla="*/ 1380482 w 2296406"/>
              <a:gd name="connsiteY5" fmla="*/ 2120816 h 2354521"/>
              <a:gd name="connsiteX6" fmla="*/ 1495542 w 2296406"/>
              <a:gd name="connsiteY6" fmla="*/ 1788127 h 2354521"/>
              <a:gd name="connsiteX7" fmla="*/ 909489 w 2296406"/>
              <a:gd name="connsiteY7" fmla="*/ 1225390 h 2354521"/>
              <a:gd name="connsiteX8" fmla="*/ 414951 w 2296406"/>
              <a:gd name="connsiteY8" fmla="*/ 2322212 h 2354521"/>
              <a:gd name="connsiteX9" fmla="*/ 293184 w 2296406"/>
              <a:gd name="connsiteY9" fmla="*/ 2052845 h 2354521"/>
              <a:gd name="connsiteX10" fmla="*/ 520411 w 2296406"/>
              <a:gd name="connsiteY10" fmla="*/ 767428 h 2354521"/>
              <a:gd name="connsiteX11" fmla="*/ 11167 w 2296406"/>
              <a:gd name="connsiteY11" fmla="*/ 5505 h 2354521"/>
              <a:gd name="connsiteX12" fmla="*/ 771719 w 2296406"/>
              <a:gd name="connsiteY12" fmla="*/ 578452 h 2354521"/>
              <a:gd name="connsiteX13" fmla="*/ 2041440 w 2296406"/>
              <a:gd name="connsiteY13" fmla="*/ 514597 h 2354521"/>
              <a:gd name="connsiteX14" fmla="*/ 2296406 w 2296406"/>
              <a:gd name="connsiteY14" fmla="*/ 662729 h 2354521"/>
              <a:gd name="connsiteX15" fmla="*/ 1124906 w 2296406"/>
              <a:gd name="connsiteY15" fmla="*/ 1004182 h 2354521"/>
              <a:gd name="connsiteX16" fmla="*/ 1676517 w 2296406"/>
              <a:gd name="connsiteY16" fmla="*/ 1608523 h 2354521"/>
              <a:gd name="connsiteX17" fmla="*/ 2094931 w 2296406"/>
              <a:gd name="connsiteY17" fmla="*/ 1557316 h 2354521"/>
              <a:gd name="connsiteX0" fmla="*/ 2279640 w 2296406"/>
              <a:gd name="connsiteY0" fmla="*/ 1747818 h 2354521"/>
              <a:gd name="connsiteX1" fmla="*/ 1816574 w 2296406"/>
              <a:gd name="connsiteY1" fmla="*/ 1851907 h 2354521"/>
              <a:gd name="connsiteX2" fmla="*/ 1955104 w 2296406"/>
              <a:gd name="connsiteY2" fmla="*/ 2095900 h 2354521"/>
              <a:gd name="connsiteX3" fmla="*/ 1682537 w 2296406"/>
              <a:gd name="connsiteY3" fmla="*/ 1962549 h 2354521"/>
              <a:gd name="connsiteX4" fmla="*/ 1528613 w 2296406"/>
              <a:gd name="connsiteY4" fmla="*/ 2354521 h 2354521"/>
              <a:gd name="connsiteX5" fmla="*/ 1380482 w 2296406"/>
              <a:gd name="connsiteY5" fmla="*/ 2120816 h 2354521"/>
              <a:gd name="connsiteX6" fmla="*/ 1495542 w 2296406"/>
              <a:gd name="connsiteY6" fmla="*/ 1788127 h 2354521"/>
              <a:gd name="connsiteX7" fmla="*/ 909489 w 2296406"/>
              <a:gd name="connsiteY7" fmla="*/ 1225390 h 2354521"/>
              <a:gd name="connsiteX8" fmla="*/ 414951 w 2296406"/>
              <a:gd name="connsiteY8" fmla="*/ 2322212 h 2354521"/>
              <a:gd name="connsiteX9" fmla="*/ 293184 w 2296406"/>
              <a:gd name="connsiteY9" fmla="*/ 2052845 h 2354521"/>
              <a:gd name="connsiteX10" fmla="*/ 520411 w 2296406"/>
              <a:gd name="connsiteY10" fmla="*/ 767428 h 2354521"/>
              <a:gd name="connsiteX11" fmla="*/ 11167 w 2296406"/>
              <a:gd name="connsiteY11" fmla="*/ 5505 h 2354521"/>
              <a:gd name="connsiteX12" fmla="*/ 771719 w 2296406"/>
              <a:gd name="connsiteY12" fmla="*/ 578452 h 2354521"/>
              <a:gd name="connsiteX13" fmla="*/ 2041440 w 2296406"/>
              <a:gd name="connsiteY13" fmla="*/ 514597 h 2354521"/>
              <a:gd name="connsiteX14" fmla="*/ 2296406 w 2296406"/>
              <a:gd name="connsiteY14" fmla="*/ 662729 h 2354521"/>
              <a:gd name="connsiteX15" fmla="*/ 1124906 w 2296406"/>
              <a:gd name="connsiteY15" fmla="*/ 1004182 h 2354521"/>
              <a:gd name="connsiteX16" fmla="*/ 1676517 w 2296406"/>
              <a:gd name="connsiteY16" fmla="*/ 1608523 h 2354521"/>
              <a:gd name="connsiteX17" fmla="*/ 2094931 w 2296406"/>
              <a:gd name="connsiteY17" fmla="*/ 1557316 h 2354521"/>
              <a:gd name="connsiteX0" fmla="*/ 2279640 w 2296406"/>
              <a:gd name="connsiteY0" fmla="*/ 1747818 h 2354521"/>
              <a:gd name="connsiteX1" fmla="*/ 1823889 w 2296406"/>
              <a:gd name="connsiteY1" fmla="*/ 1837277 h 2354521"/>
              <a:gd name="connsiteX2" fmla="*/ 1955104 w 2296406"/>
              <a:gd name="connsiteY2" fmla="*/ 2095900 h 2354521"/>
              <a:gd name="connsiteX3" fmla="*/ 1682537 w 2296406"/>
              <a:gd name="connsiteY3" fmla="*/ 1962549 h 2354521"/>
              <a:gd name="connsiteX4" fmla="*/ 1528613 w 2296406"/>
              <a:gd name="connsiteY4" fmla="*/ 2354521 h 2354521"/>
              <a:gd name="connsiteX5" fmla="*/ 1380482 w 2296406"/>
              <a:gd name="connsiteY5" fmla="*/ 2120816 h 2354521"/>
              <a:gd name="connsiteX6" fmla="*/ 1495542 w 2296406"/>
              <a:gd name="connsiteY6" fmla="*/ 1788127 h 2354521"/>
              <a:gd name="connsiteX7" fmla="*/ 909489 w 2296406"/>
              <a:gd name="connsiteY7" fmla="*/ 1225390 h 2354521"/>
              <a:gd name="connsiteX8" fmla="*/ 414951 w 2296406"/>
              <a:gd name="connsiteY8" fmla="*/ 2322212 h 2354521"/>
              <a:gd name="connsiteX9" fmla="*/ 293184 w 2296406"/>
              <a:gd name="connsiteY9" fmla="*/ 2052845 h 2354521"/>
              <a:gd name="connsiteX10" fmla="*/ 520411 w 2296406"/>
              <a:gd name="connsiteY10" fmla="*/ 767428 h 2354521"/>
              <a:gd name="connsiteX11" fmla="*/ 11167 w 2296406"/>
              <a:gd name="connsiteY11" fmla="*/ 5505 h 2354521"/>
              <a:gd name="connsiteX12" fmla="*/ 771719 w 2296406"/>
              <a:gd name="connsiteY12" fmla="*/ 578452 h 2354521"/>
              <a:gd name="connsiteX13" fmla="*/ 2041440 w 2296406"/>
              <a:gd name="connsiteY13" fmla="*/ 514597 h 2354521"/>
              <a:gd name="connsiteX14" fmla="*/ 2296406 w 2296406"/>
              <a:gd name="connsiteY14" fmla="*/ 662729 h 2354521"/>
              <a:gd name="connsiteX15" fmla="*/ 1124906 w 2296406"/>
              <a:gd name="connsiteY15" fmla="*/ 1004182 h 2354521"/>
              <a:gd name="connsiteX16" fmla="*/ 1676517 w 2296406"/>
              <a:gd name="connsiteY16" fmla="*/ 1608523 h 2354521"/>
              <a:gd name="connsiteX17" fmla="*/ 2094931 w 2296406"/>
              <a:gd name="connsiteY17" fmla="*/ 1557316 h 2354521"/>
              <a:gd name="connsiteX0" fmla="*/ 2279640 w 2296406"/>
              <a:gd name="connsiteY0" fmla="*/ 1747818 h 2354521"/>
              <a:gd name="connsiteX1" fmla="*/ 1827546 w 2296406"/>
              <a:gd name="connsiteY1" fmla="*/ 1826304 h 2354521"/>
              <a:gd name="connsiteX2" fmla="*/ 1955104 w 2296406"/>
              <a:gd name="connsiteY2" fmla="*/ 2095900 h 2354521"/>
              <a:gd name="connsiteX3" fmla="*/ 1682537 w 2296406"/>
              <a:gd name="connsiteY3" fmla="*/ 1962549 h 2354521"/>
              <a:gd name="connsiteX4" fmla="*/ 1528613 w 2296406"/>
              <a:gd name="connsiteY4" fmla="*/ 2354521 h 2354521"/>
              <a:gd name="connsiteX5" fmla="*/ 1380482 w 2296406"/>
              <a:gd name="connsiteY5" fmla="*/ 2120816 h 2354521"/>
              <a:gd name="connsiteX6" fmla="*/ 1495542 w 2296406"/>
              <a:gd name="connsiteY6" fmla="*/ 1788127 h 2354521"/>
              <a:gd name="connsiteX7" fmla="*/ 909489 w 2296406"/>
              <a:gd name="connsiteY7" fmla="*/ 1225390 h 2354521"/>
              <a:gd name="connsiteX8" fmla="*/ 414951 w 2296406"/>
              <a:gd name="connsiteY8" fmla="*/ 2322212 h 2354521"/>
              <a:gd name="connsiteX9" fmla="*/ 293184 w 2296406"/>
              <a:gd name="connsiteY9" fmla="*/ 2052845 h 2354521"/>
              <a:gd name="connsiteX10" fmla="*/ 520411 w 2296406"/>
              <a:gd name="connsiteY10" fmla="*/ 767428 h 2354521"/>
              <a:gd name="connsiteX11" fmla="*/ 11167 w 2296406"/>
              <a:gd name="connsiteY11" fmla="*/ 5505 h 2354521"/>
              <a:gd name="connsiteX12" fmla="*/ 771719 w 2296406"/>
              <a:gd name="connsiteY12" fmla="*/ 578452 h 2354521"/>
              <a:gd name="connsiteX13" fmla="*/ 2041440 w 2296406"/>
              <a:gd name="connsiteY13" fmla="*/ 514597 h 2354521"/>
              <a:gd name="connsiteX14" fmla="*/ 2296406 w 2296406"/>
              <a:gd name="connsiteY14" fmla="*/ 662729 h 2354521"/>
              <a:gd name="connsiteX15" fmla="*/ 1124906 w 2296406"/>
              <a:gd name="connsiteY15" fmla="*/ 1004182 h 2354521"/>
              <a:gd name="connsiteX16" fmla="*/ 1676517 w 2296406"/>
              <a:gd name="connsiteY16" fmla="*/ 1608523 h 2354521"/>
              <a:gd name="connsiteX17" fmla="*/ 2094931 w 2296406"/>
              <a:gd name="connsiteY17" fmla="*/ 1557316 h 23545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296406" h="2354521">
                <a:moveTo>
                  <a:pt x="2279640" y="1747818"/>
                </a:moveTo>
                <a:lnTo>
                  <a:pt x="1827546" y="1826304"/>
                </a:lnTo>
                <a:cubicBezTo>
                  <a:pt x="1873723" y="1907635"/>
                  <a:pt x="1985737" y="2047488"/>
                  <a:pt x="1955104" y="2095900"/>
                </a:cubicBezTo>
                <a:cubicBezTo>
                  <a:pt x="1897166" y="2139232"/>
                  <a:pt x="1773393" y="2006999"/>
                  <a:pt x="1682537" y="1962549"/>
                </a:cubicBezTo>
                <a:lnTo>
                  <a:pt x="1528613" y="2354521"/>
                </a:lnTo>
                <a:lnTo>
                  <a:pt x="1380482" y="2120816"/>
                </a:lnTo>
                <a:lnTo>
                  <a:pt x="1495542" y="1788127"/>
                </a:lnTo>
                <a:lnTo>
                  <a:pt x="909489" y="1225390"/>
                </a:lnTo>
                <a:lnTo>
                  <a:pt x="414951" y="2322212"/>
                </a:lnTo>
                <a:lnTo>
                  <a:pt x="293184" y="2052845"/>
                </a:lnTo>
                <a:lnTo>
                  <a:pt x="520411" y="767428"/>
                </a:lnTo>
                <a:cubicBezTo>
                  <a:pt x="325060" y="542715"/>
                  <a:pt x="-71458" y="102202"/>
                  <a:pt x="11167" y="5505"/>
                </a:cubicBezTo>
                <a:cubicBezTo>
                  <a:pt x="111065" y="-52229"/>
                  <a:pt x="554777" y="358209"/>
                  <a:pt x="771719" y="578452"/>
                </a:cubicBezTo>
                <a:lnTo>
                  <a:pt x="2041440" y="514597"/>
                </a:lnTo>
                <a:lnTo>
                  <a:pt x="2296406" y="662729"/>
                </a:lnTo>
                <a:lnTo>
                  <a:pt x="1124906" y="1004182"/>
                </a:lnTo>
                <a:lnTo>
                  <a:pt x="1676517" y="1608523"/>
                </a:lnTo>
                <a:cubicBezTo>
                  <a:pt x="1795262" y="1589016"/>
                  <a:pt x="2094931" y="1557316"/>
                  <a:pt x="2094931" y="1557316"/>
                </a:cubicBezTo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94" name="Block Arc 10">
            <a:extLst>
              <a:ext uri="{FF2B5EF4-FFF2-40B4-BE49-F238E27FC236}">
                <a16:creationId xmlns:a16="http://schemas.microsoft.com/office/drawing/2014/main" id="{75C14C12-5F78-4BDD-B8A3-69BB465A2216}"/>
              </a:ext>
            </a:extLst>
          </p:cNvPr>
          <p:cNvSpPr/>
          <p:nvPr/>
        </p:nvSpPr>
        <p:spPr>
          <a:xfrm>
            <a:off x="10959168" y="4745774"/>
            <a:ext cx="614525" cy="416246"/>
          </a:xfrm>
          <a:custGeom>
            <a:avLst/>
            <a:gdLst/>
            <a:ahLst/>
            <a:cxnLst/>
            <a:rect l="l" t="t" r="r" b="b"/>
            <a:pathLst>
              <a:path w="3219104" h="2180445">
                <a:moveTo>
                  <a:pt x="631935" y="660566"/>
                </a:moveTo>
                <a:cubicBezTo>
                  <a:pt x="582229" y="660566"/>
                  <a:pt x="541935" y="700860"/>
                  <a:pt x="541935" y="750566"/>
                </a:cubicBezTo>
                <a:cubicBezTo>
                  <a:pt x="541935" y="800272"/>
                  <a:pt x="582229" y="840566"/>
                  <a:pt x="631935" y="840566"/>
                </a:cubicBezTo>
                <a:cubicBezTo>
                  <a:pt x="681641" y="840566"/>
                  <a:pt x="721935" y="800272"/>
                  <a:pt x="721935" y="750566"/>
                </a:cubicBezTo>
                <a:cubicBezTo>
                  <a:pt x="721935" y="700860"/>
                  <a:pt x="681641" y="660566"/>
                  <a:pt x="631935" y="660566"/>
                </a:cubicBezTo>
                <a:close/>
                <a:moveTo>
                  <a:pt x="2920524" y="132986"/>
                </a:moveTo>
                <a:cubicBezTo>
                  <a:pt x="2884582" y="132986"/>
                  <a:pt x="2855445" y="171564"/>
                  <a:pt x="2855445" y="219152"/>
                </a:cubicBezTo>
                <a:cubicBezTo>
                  <a:pt x="2855445" y="266740"/>
                  <a:pt x="2884582" y="305318"/>
                  <a:pt x="2920524" y="305318"/>
                </a:cubicBezTo>
                <a:cubicBezTo>
                  <a:pt x="2956466" y="305318"/>
                  <a:pt x="2985603" y="266740"/>
                  <a:pt x="2985603" y="219152"/>
                </a:cubicBezTo>
                <a:cubicBezTo>
                  <a:pt x="2985603" y="171564"/>
                  <a:pt x="2956466" y="132986"/>
                  <a:pt x="2920524" y="132986"/>
                </a:cubicBezTo>
                <a:close/>
                <a:moveTo>
                  <a:pt x="1840097" y="123357"/>
                </a:moveTo>
                <a:cubicBezTo>
                  <a:pt x="1690593" y="125267"/>
                  <a:pt x="1541569" y="163386"/>
                  <a:pt x="1407089" y="237534"/>
                </a:cubicBezTo>
                <a:lnTo>
                  <a:pt x="1442443" y="299445"/>
                </a:lnTo>
                <a:cubicBezTo>
                  <a:pt x="1690026" y="162934"/>
                  <a:pt x="1991162" y="159087"/>
                  <a:pt x="2242273" y="289227"/>
                </a:cubicBezTo>
                <a:lnTo>
                  <a:pt x="2275978" y="226435"/>
                </a:lnTo>
                <a:cubicBezTo>
                  <a:pt x="2139582" y="155746"/>
                  <a:pt x="1989600" y="121447"/>
                  <a:pt x="1840097" y="123357"/>
                </a:cubicBezTo>
                <a:close/>
                <a:moveTo>
                  <a:pt x="1808744" y="1233"/>
                </a:moveTo>
                <a:cubicBezTo>
                  <a:pt x="2156106" y="-14520"/>
                  <a:pt x="2554236" y="122009"/>
                  <a:pt x="2727916" y="332053"/>
                </a:cubicBezTo>
                <a:lnTo>
                  <a:pt x="2797407" y="426906"/>
                </a:lnTo>
                <a:cubicBezTo>
                  <a:pt x="2816730" y="407744"/>
                  <a:pt x="2822914" y="396798"/>
                  <a:pt x="2848347" y="374270"/>
                </a:cubicBezTo>
                <a:cubicBezTo>
                  <a:pt x="2789714" y="335227"/>
                  <a:pt x="2770554" y="301522"/>
                  <a:pt x="2770554" y="211287"/>
                </a:cubicBezTo>
                <a:cubicBezTo>
                  <a:pt x="2770554" y="109060"/>
                  <a:pt x="2826850" y="34523"/>
                  <a:pt x="2918697" y="33333"/>
                </a:cubicBezTo>
                <a:cubicBezTo>
                  <a:pt x="3010544" y="32143"/>
                  <a:pt x="3068737" y="122977"/>
                  <a:pt x="3064459" y="218431"/>
                </a:cubicBezTo>
                <a:cubicBezTo>
                  <a:pt x="3062319" y="266188"/>
                  <a:pt x="3063213" y="242475"/>
                  <a:pt x="3054577" y="285936"/>
                </a:cubicBezTo>
                <a:cubicBezTo>
                  <a:pt x="3088600" y="260795"/>
                  <a:pt x="3146396" y="297212"/>
                  <a:pt x="3198377" y="27802"/>
                </a:cubicBezTo>
                <a:cubicBezTo>
                  <a:pt x="3270974" y="270322"/>
                  <a:pt x="3142267" y="378871"/>
                  <a:pt x="2977023" y="405424"/>
                </a:cubicBezTo>
                <a:cubicBezTo>
                  <a:pt x="2937650" y="455263"/>
                  <a:pt x="2906651" y="507366"/>
                  <a:pt x="2854455" y="531728"/>
                </a:cubicBezTo>
                <a:cubicBezTo>
                  <a:pt x="2854593" y="531917"/>
                  <a:pt x="2854687" y="532126"/>
                  <a:pt x="2854781" y="532336"/>
                </a:cubicBezTo>
                <a:lnTo>
                  <a:pt x="2914835" y="719911"/>
                </a:lnTo>
                <a:cubicBezTo>
                  <a:pt x="2982387" y="1030651"/>
                  <a:pt x="2875068" y="1334999"/>
                  <a:pt x="2751965" y="1458417"/>
                </a:cubicBezTo>
                <a:cubicBezTo>
                  <a:pt x="2718119" y="1752479"/>
                  <a:pt x="2636178" y="1904762"/>
                  <a:pt x="2564924" y="2133185"/>
                </a:cubicBezTo>
                <a:cubicBezTo>
                  <a:pt x="2548001" y="2174319"/>
                  <a:pt x="2290597" y="2162941"/>
                  <a:pt x="2284362" y="2130560"/>
                </a:cubicBezTo>
                <a:cubicBezTo>
                  <a:pt x="2253189" y="1989654"/>
                  <a:pt x="2205984" y="1832997"/>
                  <a:pt x="2190842" y="1681589"/>
                </a:cubicBezTo>
                <a:cubicBezTo>
                  <a:pt x="1937891" y="1727975"/>
                  <a:pt x="1628829" y="1727099"/>
                  <a:pt x="1429318" y="1710471"/>
                </a:cubicBezTo>
                <a:cubicBezTo>
                  <a:pt x="1387456" y="1891634"/>
                  <a:pt x="1268107" y="2057044"/>
                  <a:pt x="1143413" y="2180445"/>
                </a:cubicBezTo>
                <a:lnTo>
                  <a:pt x="943012" y="2180445"/>
                </a:lnTo>
                <a:cubicBezTo>
                  <a:pt x="894916" y="2170818"/>
                  <a:pt x="902932" y="1825120"/>
                  <a:pt x="910948" y="1650083"/>
                </a:cubicBezTo>
                <a:cubicBezTo>
                  <a:pt x="600994" y="1508303"/>
                  <a:pt x="-80369" y="1319263"/>
                  <a:pt x="7807" y="838786"/>
                </a:cubicBezTo>
                <a:cubicBezTo>
                  <a:pt x="13151" y="796777"/>
                  <a:pt x="184160" y="802028"/>
                  <a:pt x="275009" y="799402"/>
                </a:cubicBezTo>
                <a:cubicBezTo>
                  <a:pt x="369419" y="659373"/>
                  <a:pt x="418407" y="582356"/>
                  <a:pt x="555570" y="465957"/>
                </a:cubicBezTo>
                <a:cubicBezTo>
                  <a:pt x="547554" y="374062"/>
                  <a:pt x="496786" y="206026"/>
                  <a:pt x="531522" y="190273"/>
                </a:cubicBezTo>
                <a:cubicBezTo>
                  <a:pt x="764877" y="64246"/>
                  <a:pt x="803177" y="250661"/>
                  <a:pt x="924308" y="355683"/>
                </a:cubicBezTo>
                <a:cubicBezTo>
                  <a:pt x="1130053" y="143013"/>
                  <a:pt x="1554903" y="11735"/>
                  <a:pt x="1808744" y="123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sp>
        <p:nvSpPr>
          <p:cNvPr id="95" name="Freeform 55">
            <a:extLst>
              <a:ext uri="{FF2B5EF4-FFF2-40B4-BE49-F238E27FC236}">
                <a16:creationId xmlns:a16="http://schemas.microsoft.com/office/drawing/2014/main" id="{E1F21ECA-3730-4E2A-BB32-69C99B2546BB}"/>
              </a:ext>
            </a:extLst>
          </p:cNvPr>
          <p:cNvSpPr/>
          <p:nvPr/>
        </p:nvSpPr>
        <p:spPr>
          <a:xfrm>
            <a:off x="4423300" y="2468550"/>
            <a:ext cx="316162" cy="774705"/>
          </a:xfrm>
          <a:custGeom>
            <a:avLst/>
            <a:gdLst/>
            <a:ahLst/>
            <a:cxnLst/>
            <a:rect l="l" t="t" r="r" b="b"/>
            <a:pathLst>
              <a:path w="1060423" h="2598393">
                <a:moveTo>
                  <a:pt x="511607" y="1989888"/>
                </a:moveTo>
                <a:cubicBezTo>
                  <a:pt x="421916" y="2038892"/>
                  <a:pt x="392123" y="2248491"/>
                  <a:pt x="577615" y="2379095"/>
                </a:cubicBezTo>
                <a:cubicBezTo>
                  <a:pt x="531205" y="2257454"/>
                  <a:pt x="562054" y="2197447"/>
                  <a:pt x="592034" y="2136572"/>
                </a:cubicBezTo>
                <a:cubicBezTo>
                  <a:pt x="592534" y="2167519"/>
                  <a:pt x="560915" y="2234057"/>
                  <a:pt x="638675" y="2272816"/>
                </a:cubicBezTo>
                <a:cubicBezTo>
                  <a:pt x="602283" y="2156226"/>
                  <a:pt x="756001" y="2119500"/>
                  <a:pt x="594605" y="1990756"/>
                </a:cubicBezTo>
                <a:cubicBezTo>
                  <a:pt x="828052" y="2024484"/>
                  <a:pt x="759407" y="2143283"/>
                  <a:pt x="814896" y="2262952"/>
                </a:cubicBezTo>
                <a:cubicBezTo>
                  <a:pt x="774295" y="2270013"/>
                  <a:pt x="715464" y="2161619"/>
                  <a:pt x="728685" y="2212952"/>
                </a:cubicBezTo>
                <a:cubicBezTo>
                  <a:pt x="798068" y="2415798"/>
                  <a:pt x="590532" y="2421590"/>
                  <a:pt x="656442" y="2598393"/>
                </a:cubicBezTo>
                <a:cubicBezTo>
                  <a:pt x="451592" y="2586815"/>
                  <a:pt x="511509" y="2396411"/>
                  <a:pt x="415171" y="2350110"/>
                </a:cubicBezTo>
                <a:cubicBezTo>
                  <a:pt x="389023" y="2345435"/>
                  <a:pt x="357666" y="2366802"/>
                  <a:pt x="415723" y="2461957"/>
                </a:cubicBezTo>
                <a:cubicBezTo>
                  <a:pt x="77590" y="2209980"/>
                  <a:pt x="314998" y="2004011"/>
                  <a:pt x="511607" y="1989888"/>
                </a:cubicBezTo>
                <a:close/>
                <a:moveTo>
                  <a:pt x="344786" y="1884983"/>
                </a:moveTo>
                <a:lnTo>
                  <a:pt x="722598" y="1884983"/>
                </a:lnTo>
                <a:cubicBezTo>
                  <a:pt x="716460" y="1906965"/>
                  <a:pt x="711917" y="1928321"/>
                  <a:pt x="707988" y="1948728"/>
                </a:cubicBezTo>
                <a:lnTo>
                  <a:pt x="357819" y="1948059"/>
                </a:lnTo>
                <a:close/>
                <a:moveTo>
                  <a:pt x="530212" y="651224"/>
                </a:moveTo>
                <a:cubicBezTo>
                  <a:pt x="585486" y="651224"/>
                  <a:pt x="630294" y="696033"/>
                  <a:pt x="630294" y="751307"/>
                </a:cubicBezTo>
                <a:cubicBezTo>
                  <a:pt x="630294" y="806581"/>
                  <a:pt x="585486" y="851389"/>
                  <a:pt x="530212" y="851389"/>
                </a:cubicBezTo>
                <a:cubicBezTo>
                  <a:pt x="474938" y="851389"/>
                  <a:pt x="430129" y="806581"/>
                  <a:pt x="430129" y="751307"/>
                </a:cubicBezTo>
                <a:cubicBezTo>
                  <a:pt x="430129" y="696033"/>
                  <a:pt x="474938" y="651224"/>
                  <a:pt x="530212" y="651224"/>
                </a:cubicBezTo>
                <a:close/>
                <a:moveTo>
                  <a:pt x="530212" y="551141"/>
                </a:moveTo>
                <a:cubicBezTo>
                  <a:pt x="419664" y="551141"/>
                  <a:pt x="330046" y="640759"/>
                  <a:pt x="330046" y="751307"/>
                </a:cubicBezTo>
                <a:cubicBezTo>
                  <a:pt x="330046" y="861855"/>
                  <a:pt x="419664" y="951472"/>
                  <a:pt x="530212" y="951472"/>
                </a:cubicBezTo>
                <a:cubicBezTo>
                  <a:pt x="640760" y="951472"/>
                  <a:pt x="730377" y="861855"/>
                  <a:pt x="730377" y="751307"/>
                </a:cubicBezTo>
                <a:cubicBezTo>
                  <a:pt x="730377" y="640759"/>
                  <a:pt x="640760" y="551141"/>
                  <a:pt x="530212" y="551141"/>
                </a:cubicBezTo>
                <a:close/>
                <a:moveTo>
                  <a:pt x="286245" y="353827"/>
                </a:moveTo>
                <a:cubicBezTo>
                  <a:pt x="438132" y="439406"/>
                  <a:pt x="623290" y="440561"/>
                  <a:pt x="776100" y="356932"/>
                </a:cubicBezTo>
                <a:cubicBezTo>
                  <a:pt x="941305" y="720175"/>
                  <a:pt x="898096" y="1115325"/>
                  <a:pt x="825241" y="1447764"/>
                </a:cubicBezTo>
                <a:lnTo>
                  <a:pt x="1060423" y="1673413"/>
                </a:lnTo>
                <a:lnTo>
                  <a:pt x="1021935" y="1978110"/>
                </a:lnTo>
                <a:lnTo>
                  <a:pt x="745125" y="1786699"/>
                </a:lnTo>
                <a:lnTo>
                  <a:pt x="734250" y="1834148"/>
                </a:lnTo>
                <a:lnTo>
                  <a:pt x="332991" y="1834148"/>
                </a:lnTo>
                <a:cubicBezTo>
                  <a:pt x="330005" y="1820736"/>
                  <a:pt x="326662" y="1807037"/>
                  <a:pt x="323192" y="1793020"/>
                </a:cubicBezTo>
                <a:lnTo>
                  <a:pt x="38489" y="1989888"/>
                </a:lnTo>
                <a:lnTo>
                  <a:pt x="0" y="1685191"/>
                </a:lnTo>
                <a:lnTo>
                  <a:pt x="237343" y="1457469"/>
                </a:lnTo>
                <a:lnTo>
                  <a:pt x="238009" y="1459571"/>
                </a:lnTo>
                <a:lnTo>
                  <a:pt x="242012" y="1446515"/>
                </a:lnTo>
                <a:cubicBezTo>
                  <a:pt x="171205" y="1115067"/>
                  <a:pt x="127758" y="714059"/>
                  <a:pt x="286245" y="353827"/>
                </a:cubicBezTo>
                <a:close/>
                <a:moveTo>
                  <a:pt x="527942" y="0"/>
                </a:moveTo>
                <a:cubicBezTo>
                  <a:pt x="622760" y="95693"/>
                  <a:pt x="695048" y="196745"/>
                  <a:pt x="748164" y="301374"/>
                </a:cubicBezTo>
                <a:cubicBezTo>
                  <a:pt x="612692" y="376844"/>
                  <a:pt x="447588" y="375495"/>
                  <a:pt x="312997" y="298024"/>
                </a:cubicBezTo>
                <a:cubicBezTo>
                  <a:pt x="364591" y="193505"/>
                  <a:pt x="435080" y="93397"/>
                  <a:pt x="527942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96" name="Round Same Side Corner Rectangle 36">
            <a:extLst>
              <a:ext uri="{FF2B5EF4-FFF2-40B4-BE49-F238E27FC236}">
                <a16:creationId xmlns:a16="http://schemas.microsoft.com/office/drawing/2014/main" id="{E0C4F70F-DCCD-48F1-A750-DF4F32AC8F75}"/>
              </a:ext>
            </a:extLst>
          </p:cNvPr>
          <p:cNvSpPr/>
          <p:nvPr/>
        </p:nvSpPr>
        <p:spPr>
          <a:xfrm>
            <a:off x="9209300" y="2626898"/>
            <a:ext cx="579306" cy="458009"/>
          </a:xfrm>
          <a:custGeom>
            <a:avLst/>
            <a:gdLst/>
            <a:ahLst/>
            <a:cxnLst/>
            <a:rect l="l" t="t" r="r" b="b"/>
            <a:pathLst>
              <a:path w="3219104" h="2545072">
                <a:moveTo>
                  <a:pt x="2779672" y="457200"/>
                </a:moveTo>
                <a:lnTo>
                  <a:pt x="2975888" y="457200"/>
                </a:lnTo>
                <a:cubicBezTo>
                  <a:pt x="3110212" y="457200"/>
                  <a:pt x="3219104" y="566092"/>
                  <a:pt x="3219104" y="700416"/>
                </a:cubicBezTo>
                <a:lnTo>
                  <a:pt x="3219104" y="2301856"/>
                </a:lnTo>
                <a:cubicBezTo>
                  <a:pt x="3219104" y="2436180"/>
                  <a:pt x="3110212" y="2545072"/>
                  <a:pt x="2975888" y="2545072"/>
                </a:cubicBezTo>
                <a:lnTo>
                  <a:pt x="2779672" y="2545072"/>
                </a:lnTo>
                <a:close/>
                <a:moveTo>
                  <a:pt x="243216" y="457200"/>
                </a:moveTo>
                <a:lnTo>
                  <a:pt x="439432" y="457200"/>
                </a:lnTo>
                <a:lnTo>
                  <a:pt x="439432" y="2545072"/>
                </a:lnTo>
                <a:lnTo>
                  <a:pt x="243216" y="2545072"/>
                </a:lnTo>
                <a:cubicBezTo>
                  <a:pt x="108892" y="2545072"/>
                  <a:pt x="0" y="2436180"/>
                  <a:pt x="0" y="2301856"/>
                </a:cubicBezTo>
                <a:lnTo>
                  <a:pt x="0" y="700416"/>
                </a:lnTo>
                <a:cubicBezTo>
                  <a:pt x="0" y="566092"/>
                  <a:pt x="108892" y="457200"/>
                  <a:pt x="243216" y="457200"/>
                </a:cubicBezTo>
                <a:close/>
                <a:moveTo>
                  <a:pt x="1428476" y="174246"/>
                </a:moveTo>
                <a:cubicBezTo>
                  <a:pt x="1372210" y="174246"/>
                  <a:pt x="1326598" y="219858"/>
                  <a:pt x="1326598" y="276124"/>
                </a:cubicBezTo>
                <a:lnTo>
                  <a:pt x="1326598" y="457200"/>
                </a:lnTo>
                <a:lnTo>
                  <a:pt x="1892506" y="457200"/>
                </a:lnTo>
                <a:lnTo>
                  <a:pt x="1892506" y="276124"/>
                </a:lnTo>
                <a:cubicBezTo>
                  <a:pt x="1892506" y="219858"/>
                  <a:pt x="1846894" y="174246"/>
                  <a:pt x="1790628" y="174246"/>
                </a:cubicBezTo>
                <a:close/>
                <a:moveTo>
                  <a:pt x="1285704" y="0"/>
                </a:moveTo>
                <a:lnTo>
                  <a:pt x="1933400" y="0"/>
                </a:lnTo>
                <a:cubicBezTo>
                  <a:pt x="2007048" y="0"/>
                  <a:pt x="2066752" y="59704"/>
                  <a:pt x="2066752" y="133352"/>
                </a:cubicBezTo>
                <a:lnTo>
                  <a:pt x="2066752" y="457200"/>
                </a:lnTo>
                <a:lnTo>
                  <a:pt x="2599672" y="457200"/>
                </a:lnTo>
                <a:lnTo>
                  <a:pt x="2599672" y="2545072"/>
                </a:lnTo>
                <a:lnTo>
                  <a:pt x="619432" y="2545072"/>
                </a:lnTo>
                <a:lnTo>
                  <a:pt x="619432" y="457200"/>
                </a:lnTo>
                <a:lnTo>
                  <a:pt x="1152352" y="457200"/>
                </a:lnTo>
                <a:lnTo>
                  <a:pt x="1152352" y="133352"/>
                </a:lnTo>
                <a:cubicBezTo>
                  <a:pt x="1152352" y="59704"/>
                  <a:pt x="1212056" y="0"/>
                  <a:pt x="1285704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97" name="Oval 21">
            <a:extLst>
              <a:ext uri="{FF2B5EF4-FFF2-40B4-BE49-F238E27FC236}">
                <a16:creationId xmlns:a16="http://schemas.microsoft.com/office/drawing/2014/main" id="{B92F2676-D90E-40BF-8AC5-C623D6EC5932}"/>
              </a:ext>
            </a:extLst>
          </p:cNvPr>
          <p:cNvSpPr>
            <a:spLocks noChangeAspect="1"/>
          </p:cNvSpPr>
          <p:nvPr/>
        </p:nvSpPr>
        <p:spPr>
          <a:xfrm>
            <a:off x="7052100" y="4713438"/>
            <a:ext cx="476931" cy="480914"/>
          </a:xfrm>
          <a:custGeom>
            <a:avLst/>
            <a:gdLst/>
            <a:ahLst/>
            <a:cxnLst/>
            <a:rect l="l" t="t" r="r" b="b"/>
            <a:pathLst>
              <a:path w="1652142" h="1665940">
                <a:moveTo>
                  <a:pt x="898689" y="548008"/>
                </a:moveTo>
                <a:cubicBezTo>
                  <a:pt x="737950" y="504938"/>
                  <a:pt x="572731" y="600328"/>
                  <a:pt x="529661" y="761066"/>
                </a:cubicBezTo>
                <a:cubicBezTo>
                  <a:pt x="486591" y="921805"/>
                  <a:pt x="581980" y="1087025"/>
                  <a:pt x="742719" y="1130094"/>
                </a:cubicBezTo>
                <a:cubicBezTo>
                  <a:pt x="903458" y="1173164"/>
                  <a:pt x="1068677" y="1077775"/>
                  <a:pt x="1111747" y="917036"/>
                </a:cubicBezTo>
                <a:cubicBezTo>
                  <a:pt x="1154817" y="756297"/>
                  <a:pt x="1059428" y="591077"/>
                  <a:pt x="898689" y="548008"/>
                </a:cubicBezTo>
                <a:close/>
                <a:moveTo>
                  <a:pt x="952303" y="347916"/>
                </a:moveTo>
                <a:cubicBezTo>
                  <a:pt x="1223549" y="420596"/>
                  <a:pt x="1384519" y="699404"/>
                  <a:pt x="1311839" y="970650"/>
                </a:cubicBezTo>
                <a:cubicBezTo>
                  <a:pt x="1239159" y="1241896"/>
                  <a:pt x="960351" y="1402866"/>
                  <a:pt x="689105" y="1330186"/>
                </a:cubicBezTo>
                <a:cubicBezTo>
                  <a:pt x="417859" y="1257506"/>
                  <a:pt x="256889" y="978698"/>
                  <a:pt x="329569" y="707451"/>
                </a:cubicBezTo>
                <a:cubicBezTo>
                  <a:pt x="402249" y="436205"/>
                  <a:pt x="681057" y="275235"/>
                  <a:pt x="952303" y="347916"/>
                </a:cubicBezTo>
                <a:close/>
                <a:moveTo>
                  <a:pt x="971799" y="275155"/>
                </a:moveTo>
                <a:cubicBezTo>
                  <a:pt x="660368" y="191707"/>
                  <a:pt x="340256" y="376524"/>
                  <a:pt x="256808" y="687955"/>
                </a:cubicBezTo>
                <a:cubicBezTo>
                  <a:pt x="173361" y="999387"/>
                  <a:pt x="358178" y="1319499"/>
                  <a:pt x="669609" y="1402947"/>
                </a:cubicBezTo>
                <a:cubicBezTo>
                  <a:pt x="981040" y="1486395"/>
                  <a:pt x="1301152" y="1301577"/>
                  <a:pt x="1384600" y="990146"/>
                </a:cubicBezTo>
                <a:cubicBezTo>
                  <a:pt x="1468047" y="678715"/>
                  <a:pt x="1283230" y="358603"/>
                  <a:pt x="971799" y="275155"/>
                </a:cubicBezTo>
                <a:close/>
                <a:moveTo>
                  <a:pt x="1652142" y="394531"/>
                </a:moveTo>
                <a:lnTo>
                  <a:pt x="1649662" y="403784"/>
                </a:lnTo>
                <a:lnTo>
                  <a:pt x="1647140" y="399895"/>
                </a:lnTo>
                <a:close/>
                <a:moveTo>
                  <a:pt x="1158157" y="65026"/>
                </a:moveTo>
                <a:lnTo>
                  <a:pt x="1154679" y="271718"/>
                </a:lnTo>
                <a:lnTo>
                  <a:pt x="1148331" y="270017"/>
                </a:lnTo>
                <a:cubicBezTo>
                  <a:pt x="1200055" y="299127"/>
                  <a:pt x="1246804" y="334821"/>
                  <a:pt x="1286346" y="377149"/>
                </a:cubicBezTo>
                <a:lnTo>
                  <a:pt x="1470353" y="331395"/>
                </a:lnTo>
                <a:lnTo>
                  <a:pt x="1588305" y="553229"/>
                </a:lnTo>
                <a:lnTo>
                  <a:pt x="1457194" y="671432"/>
                </a:lnTo>
                <a:cubicBezTo>
                  <a:pt x="1473630" y="731297"/>
                  <a:pt x="1481376" y="793983"/>
                  <a:pt x="1478595" y="857704"/>
                </a:cubicBezTo>
                <a:lnTo>
                  <a:pt x="1642362" y="948616"/>
                </a:lnTo>
                <a:lnTo>
                  <a:pt x="1577335" y="1191298"/>
                </a:lnTo>
                <a:lnTo>
                  <a:pt x="1378614" y="1187955"/>
                </a:lnTo>
                <a:cubicBezTo>
                  <a:pt x="1353489" y="1229936"/>
                  <a:pt x="1323048" y="1267799"/>
                  <a:pt x="1288939" y="1301599"/>
                </a:cubicBezTo>
                <a:lnTo>
                  <a:pt x="1354201" y="1471932"/>
                </a:lnTo>
                <a:lnTo>
                  <a:pt x="1148396" y="1616039"/>
                </a:lnTo>
                <a:lnTo>
                  <a:pt x="992294" y="1480516"/>
                </a:lnTo>
                <a:lnTo>
                  <a:pt x="1011291" y="1467215"/>
                </a:lnTo>
                <a:cubicBezTo>
                  <a:pt x="951500" y="1486565"/>
                  <a:pt x="888271" y="1495869"/>
                  <a:pt x="823805" y="1495510"/>
                </a:cubicBezTo>
                <a:lnTo>
                  <a:pt x="729193" y="1665940"/>
                </a:lnTo>
                <a:lnTo>
                  <a:pt x="486511" y="1600914"/>
                </a:lnTo>
                <a:lnTo>
                  <a:pt x="489790" y="1406012"/>
                </a:lnTo>
                <a:cubicBezTo>
                  <a:pt x="438364" y="1376702"/>
                  <a:pt x="391917" y="1340859"/>
                  <a:pt x="352658" y="1298452"/>
                </a:cubicBezTo>
                <a:lnTo>
                  <a:pt x="355803" y="1305197"/>
                </a:lnTo>
                <a:lnTo>
                  <a:pt x="152856" y="1344512"/>
                </a:lnTo>
                <a:lnTo>
                  <a:pt x="46675" y="1116809"/>
                </a:lnTo>
                <a:lnTo>
                  <a:pt x="183929" y="1005520"/>
                </a:lnTo>
                <a:cubicBezTo>
                  <a:pt x="169279" y="951824"/>
                  <a:pt x="161626" y="895865"/>
                  <a:pt x="161615" y="838915"/>
                </a:cubicBezTo>
                <a:lnTo>
                  <a:pt x="0" y="749197"/>
                </a:lnTo>
                <a:lnTo>
                  <a:pt x="65026" y="506515"/>
                </a:lnTo>
                <a:lnTo>
                  <a:pt x="250227" y="509630"/>
                </a:lnTo>
                <a:cubicBezTo>
                  <a:pt x="275353" y="465291"/>
                  <a:pt x="305693" y="424864"/>
                  <a:pt x="340015" y="388679"/>
                </a:cubicBezTo>
                <a:lnTo>
                  <a:pt x="277984" y="197357"/>
                </a:lnTo>
                <a:lnTo>
                  <a:pt x="491050" y="64219"/>
                </a:lnTo>
                <a:lnTo>
                  <a:pt x="639843" y="207726"/>
                </a:lnTo>
                <a:lnTo>
                  <a:pt x="638348" y="208660"/>
                </a:lnTo>
                <a:cubicBezTo>
                  <a:pt x="696840" y="190256"/>
                  <a:pt x="758594" y="181748"/>
                  <a:pt x="821488" y="182440"/>
                </a:cubicBezTo>
                <a:lnTo>
                  <a:pt x="815140" y="180739"/>
                </a:lnTo>
                <a:lnTo>
                  <a:pt x="91547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98" name="Oval 32">
            <a:extLst>
              <a:ext uri="{FF2B5EF4-FFF2-40B4-BE49-F238E27FC236}">
                <a16:creationId xmlns:a16="http://schemas.microsoft.com/office/drawing/2014/main" id="{06C7F06B-394E-4FE3-88AA-93210AFF9C00}"/>
              </a:ext>
            </a:extLst>
          </p:cNvPr>
          <p:cNvSpPr/>
          <p:nvPr/>
        </p:nvSpPr>
        <p:spPr>
          <a:xfrm>
            <a:off x="9307908" y="4680733"/>
            <a:ext cx="454128" cy="546324"/>
          </a:xfrm>
          <a:custGeom>
            <a:avLst/>
            <a:gdLst/>
            <a:ahLst/>
            <a:cxnLst/>
            <a:rect l="l" t="t" r="r" b="b"/>
            <a:pathLst>
              <a:path w="2671236" h="3213546">
                <a:moveTo>
                  <a:pt x="1336943" y="151152"/>
                </a:moveTo>
                <a:cubicBezTo>
                  <a:pt x="1223677" y="151152"/>
                  <a:pt x="1131857" y="242973"/>
                  <a:pt x="1131857" y="356239"/>
                </a:cubicBezTo>
                <a:cubicBezTo>
                  <a:pt x="1131857" y="469506"/>
                  <a:pt x="1223677" y="561326"/>
                  <a:pt x="1336943" y="561326"/>
                </a:cubicBezTo>
                <a:cubicBezTo>
                  <a:pt x="1450210" y="561326"/>
                  <a:pt x="1542030" y="469506"/>
                  <a:pt x="1542030" y="356239"/>
                </a:cubicBezTo>
                <a:cubicBezTo>
                  <a:pt x="1542030" y="242973"/>
                  <a:pt x="1450210" y="151152"/>
                  <a:pt x="1336943" y="151152"/>
                </a:cubicBezTo>
                <a:close/>
                <a:moveTo>
                  <a:pt x="1336943" y="0"/>
                </a:moveTo>
                <a:cubicBezTo>
                  <a:pt x="1533689" y="0"/>
                  <a:pt x="1693182" y="159493"/>
                  <a:pt x="1693182" y="356239"/>
                </a:cubicBezTo>
                <a:cubicBezTo>
                  <a:pt x="1693182" y="499348"/>
                  <a:pt x="1608797" y="622748"/>
                  <a:pt x="1486649" y="678491"/>
                </a:cubicBezTo>
                <a:lnTo>
                  <a:pt x="1504985" y="861628"/>
                </a:lnTo>
                <a:lnTo>
                  <a:pt x="2050955" y="861628"/>
                </a:lnTo>
                <a:cubicBezTo>
                  <a:pt x="2073924" y="808095"/>
                  <a:pt x="2127168" y="770742"/>
                  <a:pt x="2189136" y="770742"/>
                </a:cubicBezTo>
                <a:cubicBezTo>
                  <a:pt x="2272476" y="770742"/>
                  <a:pt x="2340037" y="838303"/>
                  <a:pt x="2340037" y="921643"/>
                </a:cubicBezTo>
                <a:cubicBezTo>
                  <a:pt x="2340037" y="1004983"/>
                  <a:pt x="2272476" y="1072544"/>
                  <a:pt x="2189136" y="1072544"/>
                </a:cubicBezTo>
                <a:cubicBezTo>
                  <a:pt x="2127168" y="1072544"/>
                  <a:pt x="2073924" y="1035191"/>
                  <a:pt x="2050955" y="981658"/>
                </a:cubicBezTo>
                <a:lnTo>
                  <a:pt x="1517002" y="981658"/>
                </a:lnTo>
                <a:lnTo>
                  <a:pt x="1678124" y="2590970"/>
                </a:lnTo>
                <a:cubicBezTo>
                  <a:pt x="2063444" y="2451708"/>
                  <a:pt x="2360829" y="2287813"/>
                  <a:pt x="2381761" y="1860600"/>
                </a:cubicBezTo>
                <a:cubicBezTo>
                  <a:pt x="2329006" y="1862811"/>
                  <a:pt x="2276981" y="1871755"/>
                  <a:pt x="2228094" y="1886075"/>
                </a:cubicBezTo>
                <a:cubicBezTo>
                  <a:pt x="2324645" y="1771974"/>
                  <a:pt x="2415523" y="1665436"/>
                  <a:pt x="2449665" y="1504055"/>
                </a:cubicBezTo>
                <a:cubicBezTo>
                  <a:pt x="2485699" y="1663545"/>
                  <a:pt x="2574685" y="1764408"/>
                  <a:pt x="2671236" y="1886075"/>
                </a:cubicBezTo>
                <a:cubicBezTo>
                  <a:pt x="2622475" y="1872164"/>
                  <a:pt x="2568855" y="1862858"/>
                  <a:pt x="2513341" y="1860541"/>
                </a:cubicBezTo>
                <a:cubicBezTo>
                  <a:pt x="2486075" y="2436981"/>
                  <a:pt x="2151724" y="2992040"/>
                  <a:pt x="1522375" y="3040581"/>
                </a:cubicBezTo>
                <a:cubicBezTo>
                  <a:pt x="1427529" y="3119259"/>
                  <a:pt x="1392747" y="3155891"/>
                  <a:pt x="1336943" y="3213546"/>
                </a:cubicBezTo>
                <a:cubicBezTo>
                  <a:pt x="1284048" y="3153728"/>
                  <a:pt x="1252174" y="3120936"/>
                  <a:pt x="1157234" y="3046101"/>
                </a:cubicBezTo>
                <a:cubicBezTo>
                  <a:pt x="592479" y="2980043"/>
                  <a:pt x="187829" y="2438320"/>
                  <a:pt x="160409" y="1860193"/>
                </a:cubicBezTo>
                <a:cubicBezTo>
                  <a:pt x="105366" y="1862056"/>
                  <a:pt x="50978" y="1871143"/>
                  <a:pt x="0" y="1886075"/>
                </a:cubicBezTo>
                <a:cubicBezTo>
                  <a:pt x="96552" y="1771974"/>
                  <a:pt x="187429" y="1665436"/>
                  <a:pt x="221571" y="1504055"/>
                </a:cubicBezTo>
                <a:cubicBezTo>
                  <a:pt x="257605" y="1663545"/>
                  <a:pt x="346591" y="1764408"/>
                  <a:pt x="443143" y="1886075"/>
                </a:cubicBezTo>
                <a:cubicBezTo>
                  <a:pt x="396276" y="1872705"/>
                  <a:pt x="344922" y="1863589"/>
                  <a:pt x="291687" y="1860996"/>
                </a:cubicBezTo>
                <a:cubicBezTo>
                  <a:pt x="313360" y="2289054"/>
                  <a:pt x="617325" y="2454996"/>
                  <a:pt x="1001768" y="2593980"/>
                </a:cubicBezTo>
                <a:lnTo>
                  <a:pt x="1157883" y="981658"/>
                </a:lnTo>
                <a:lnTo>
                  <a:pt x="666108" y="981658"/>
                </a:lnTo>
                <a:cubicBezTo>
                  <a:pt x="643139" y="1035191"/>
                  <a:pt x="589896" y="1072543"/>
                  <a:pt x="527928" y="1072543"/>
                </a:cubicBezTo>
                <a:cubicBezTo>
                  <a:pt x="444588" y="1072543"/>
                  <a:pt x="377027" y="1004982"/>
                  <a:pt x="377027" y="921642"/>
                </a:cubicBezTo>
                <a:cubicBezTo>
                  <a:pt x="377027" y="838302"/>
                  <a:pt x="444588" y="770741"/>
                  <a:pt x="527928" y="770741"/>
                </a:cubicBezTo>
                <a:cubicBezTo>
                  <a:pt x="589896" y="770741"/>
                  <a:pt x="643141" y="808095"/>
                  <a:pt x="666110" y="861628"/>
                </a:cubicBezTo>
                <a:lnTo>
                  <a:pt x="1169505" y="861628"/>
                </a:lnTo>
                <a:lnTo>
                  <a:pt x="1187237" y="678491"/>
                </a:lnTo>
                <a:cubicBezTo>
                  <a:pt x="1065090" y="622748"/>
                  <a:pt x="980704" y="499348"/>
                  <a:pt x="980704" y="356239"/>
                </a:cubicBezTo>
                <a:cubicBezTo>
                  <a:pt x="980704" y="159493"/>
                  <a:pt x="1140198" y="0"/>
                  <a:pt x="1336943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</p:spTree>
    <p:extLst>
      <p:ext uri="{BB962C8B-B14F-4D97-AF65-F5344CB8AC3E}">
        <p14:creationId xmlns:p14="http://schemas.microsoft.com/office/powerpoint/2010/main" val="4861764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>
            <a:extLst>
              <a:ext uri="{FF2B5EF4-FFF2-40B4-BE49-F238E27FC236}">
                <a16:creationId xmlns:a16="http://schemas.microsoft.com/office/drawing/2014/main" id="{7773F72C-C411-452D-9547-421FF25D35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-4294"/>
            <a:ext cx="12202211" cy="6858000"/>
          </a:xfrm>
          <a:prstGeom prst="rect">
            <a:avLst/>
          </a:prstGeom>
          <a:ln>
            <a:noFill/>
          </a:ln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BB060154-84DD-4104-940E-EA95BACB986B}"/>
              </a:ext>
            </a:extLst>
          </p:cNvPr>
          <p:cNvSpPr/>
          <p:nvPr/>
        </p:nvSpPr>
        <p:spPr>
          <a:xfrm rot="10800000">
            <a:off x="29024" y="1290168"/>
            <a:ext cx="10263053" cy="422447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77800" sx="103000" sy="103000" algn="ctr" rotWithShape="0">
              <a:prstClr val="black">
                <a:alpha val="3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EEFB1D98-BC3A-4E52-BD61-3619615DA91D}"/>
              </a:ext>
            </a:extLst>
          </p:cNvPr>
          <p:cNvSpPr txBox="1"/>
          <p:nvPr/>
        </p:nvSpPr>
        <p:spPr>
          <a:xfrm>
            <a:off x="553631" y="2593897"/>
            <a:ext cx="22754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40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r>
              <a:rPr lang="zh-CN" altLang="en-US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ea"/>
                <a:sym typeface="+mn-lt"/>
              </a:rPr>
              <a:t>OBJECTIVE</a:t>
            </a: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F056FBC5-546E-4E95-9184-0C2491090F4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9101485" y="2"/>
            <a:ext cx="3090515" cy="6881255"/>
          </a:xfrm>
          <a:prstGeom prst="rect">
            <a:avLst/>
          </a:prstGeom>
        </p:spPr>
      </p:pic>
      <p:sp>
        <p:nvSpPr>
          <p:cNvPr id="14" name="矩形 13">
            <a:extLst>
              <a:ext uri="{FF2B5EF4-FFF2-40B4-BE49-F238E27FC236}">
                <a16:creationId xmlns:a16="http://schemas.microsoft.com/office/drawing/2014/main" id="{7B62D115-D9AA-481B-8601-C8CF09433E2F}"/>
              </a:ext>
            </a:extLst>
          </p:cNvPr>
          <p:cNvSpPr/>
          <p:nvPr/>
        </p:nvSpPr>
        <p:spPr>
          <a:xfrm>
            <a:off x="-34733" y="1290170"/>
            <a:ext cx="551575" cy="4226453"/>
          </a:xfrm>
          <a:prstGeom prst="rect">
            <a:avLst/>
          </a:prstGeom>
          <a:solidFill>
            <a:srgbClr val="D00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C4C9465B-CD7A-4AC4-9F5B-79D416FC0C93}"/>
              </a:ext>
            </a:extLst>
          </p:cNvPr>
          <p:cNvSpPr/>
          <p:nvPr/>
        </p:nvSpPr>
        <p:spPr>
          <a:xfrm>
            <a:off x="2928731" y="2244219"/>
            <a:ext cx="6135965" cy="13456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000"/>
              </a:lnSpc>
            </a:pP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  <a:sym typeface="+mn-lt"/>
              </a:rPr>
              <a:t>Please enter a specific description here, the text as simple as possible, the meaning can be, do not have to be too cumbersome, pay attention to the beauty of the layout.</a:t>
            </a:r>
            <a:endParaRPr lang="zh-CN" altLang="en-US" sz="1200" dirty="0">
              <a:solidFill>
                <a:schemeClr val="tx1">
                  <a:lumMod val="65000"/>
                  <a:lumOff val="35000"/>
                </a:schemeClr>
              </a:solidFill>
              <a:cs typeface="+mn-ea"/>
              <a:sym typeface="+mn-lt"/>
            </a:endParaRPr>
          </a:p>
          <a:p>
            <a:pPr>
              <a:lnSpc>
                <a:spcPts val="2000"/>
              </a:lnSpc>
            </a:pPr>
            <a:endParaRPr lang="zh-CN" altLang="en-US" sz="1200" dirty="0">
              <a:solidFill>
                <a:schemeClr val="tx1">
                  <a:lumMod val="65000"/>
                  <a:lumOff val="35000"/>
                </a:schemeClr>
              </a:solidFill>
              <a:cs typeface="+mn-ea"/>
              <a:sym typeface="+mn-lt"/>
            </a:endParaRPr>
          </a:p>
          <a:p>
            <a:pPr>
              <a:lnSpc>
                <a:spcPts val="2000"/>
              </a:lnSpc>
            </a:pPr>
            <a:endParaRPr lang="zh-CN" altLang="en-US" sz="1200" dirty="0">
              <a:solidFill>
                <a:schemeClr val="tx1">
                  <a:lumMod val="65000"/>
                  <a:lumOff val="35000"/>
                </a:schemeClr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06528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3000">
        <p14:prism dir="r" isInverted="1"/>
      </p:transition>
    </mc:Choice>
    <mc:Fallback xmlns:a14="http://schemas.microsoft.com/office/drawing/2010/main" xmlns:a16="http://schemas.microsoft.com/office/drawing/2014/main" xmlns="">
      <p:transition spd="slow" advClick="0" advTm="3000">
        <p:fade/>
      </p:transition>
    </mc:Fallback>
  </mc:AlternateContent>
  <mc:AlternateContent xmlns:mc="http://schemas.openxmlformats.org/markup-compatibility/2006">
    <mc:Choice xmlns:p14="http://schemas.microsoft.com/office/powerpoint/2010/main"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7" dur="50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9" presetID="2" presetClass="entr" presetSubtype="2" fill="hold" grpId="0" nodeType="afterEffect" p14:presetBounceEnd="52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2000">
                                          <p:cBhvr additive="base">
                                            <p:cTn id="11" dur="20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2000">
                                          <p:cBhvr additive="base">
                                            <p:cTn id="12" dur="20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3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14" presetID="22" presetClass="entr" presetSubtype="1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16" dur="50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18" presetID="42" presetClass="entr" presetSubtype="0" fill="hold" grpId="1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0" dur="500"/>
                                            <p:tgtEl>
                                              <p:spTgt spid="4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21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2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3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24" presetID="41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6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x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7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8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h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9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w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0" dur="500" tmFilter="0,0; .5, 1; 1, 1"/>
                                            <p:tgtEl>
                                              <p:spTgt spid="1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" grpId="0" animBg="1"/>
          <p:bldP spid="4" grpId="0"/>
          <p:bldP spid="4" grpId="1"/>
          <p:bldP spid="14" grpId="0" animBg="1"/>
          <p:bldP spid="15" grpId="0"/>
        </p:bldLst>
      </p:timing>
    </mc:Choice>
    <mc:Fallback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7" dur="50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9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20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2000" fill="hold"/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3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14" presetID="22" presetClass="entr" presetSubtype="1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16" dur="50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18" presetID="42" presetClass="entr" presetSubtype="0" fill="hold" grpId="1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0" dur="500"/>
                                            <p:tgtEl>
                                              <p:spTgt spid="4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21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2" dur="5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3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24" presetID="41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6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x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7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8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h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9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w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0" dur="500" tmFilter="0,0; .5, 1; 1, 1"/>
                                            <p:tgtEl>
                                              <p:spTgt spid="1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" grpId="0" animBg="1"/>
          <p:bldP spid="4" grpId="0"/>
          <p:bldP spid="4" grpId="1"/>
          <p:bldP spid="14" grpId="0" animBg="1"/>
          <p:bldP spid="15" grpId="0"/>
        </p:bldLst>
      </p:timing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C6002DE4-0B35-4ACB-96DD-668FCFEE0D7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-4294"/>
            <a:ext cx="12202211" cy="6858000"/>
          </a:xfrm>
          <a:prstGeom prst="rect">
            <a:avLst/>
          </a:prstGeom>
          <a:ln>
            <a:noFill/>
          </a:ln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0B31D1B4-30DB-4C87-A153-EF6EA5C3DE6E}"/>
              </a:ext>
            </a:extLst>
          </p:cNvPr>
          <p:cNvSpPr/>
          <p:nvPr/>
        </p:nvSpPr>
        <p:spPr>
          <a:xfrm>
            <a:off x="2255573" y="1374674"/>
            <a:ext cx="8352928" cy="4224469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  <a:effectLst>
            <a:outerShdw blurRad="152400" dist="762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cs typeface="+mn-ea"/>
              <a:sym typeface="+mn-lt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0DFD6F58-1456-4565-A7FA-4889094FD26C}"/>
              </a:ext>
            </a:extLst>
          </p:cNvPr>
          <p:cNvSpPr/>
          <p:nvPr/>
        </p:nvSpPr>
        <p:spPr>
          <a:xfrm>
            <a:off x="1679509" y="1374673"/>
            <a:ext cx="7488832" cy="345638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77800" sx="103000" sy="103000" algn="ctr" rotWithShape="0">
              <a:prstClr val="black">
                <a:alpha val="3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DDC0E3D9-958C-4060-B1A9-C07ADD40EEA3}"/>
              </a:ext>
            </a:extLst>
          </p:cNvPr>
          <p:cNvSpPr/>
          <p:nvPr/>
        </p:nvSpPr>
        <p:spPr>
          <a:xfrm>
            <a:off x="7655562" y="605813"/>
            <a:ext cx="2210519" cy="2210518"/>
          </a:xfrm>
          <a:prstGeom prst="rect">
            <a:avLst/>
          </a:prstGeom>
          <a:solidFill>
            <a:srgbClr val="D00000"/>
          </a:solidFill>
          <a:ln>
            <a:noFill/>
          </a:ln>
          <a:effectLst>
            <a:outerShdw blurRad="114300" dist="38100" dir="2700000" sx="101000" sy="101000" algn="tl" rotWithShape="0">
              <a:prstClr val="black">
                <a:alpha val="3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241CF7B9-B014-49C9-96C0-4A630E09C08D}"/>
              </a:ext>
            </a:extLst>
          </p:cNvPr>
          <p:cNvSpPr/>
          <p:nvPr/>
        </p:nvSpPr>
        <p:spPr>
          <a:xfrm>
            <a:off x="1980688" y="3429000"/>
            <a:ext cx="3299221" cy="1384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933" dirty="0">
                <a:solidFill>
                  <a:schemeClr val="bg1"/>
                </a:solidFill>
                <a:cs typeface="+mn-ea"/>
                <a:sym typeface="+mn-lt"/>
              </a:rPr>
              <a:t>OF THIS SCHEME, WE THANK YOU FOR YOUR READING, THE PROPOSAL IS WE UNDERSTAND YOUR COMPANY FOR THE REQUIREMENTS, AND PROPOSAL INFORMATION, THIS PAPERS THE SPECIFIC. REQUIREMENTS.</a:t>
            </a:r>
          </a:p>
        </p:txBody>
      </p:sp>
      <p:sp>
        <p:nvSpPr>
          <p:cNvPr id="18" name="TextBox 18">
            <a:extLst>
              <a:ext uri="{FF2B5EF4-FFF2-40B4-BE49-F238E27FC236}">
                <a16:creationId xmlns:a16="http://schemas.microsoft.com/office/drawing/2014/main" id="{CEE4B56E-805F-42BD-B0BA-A50E9420F11C}"/>
              </a:ext>
            </a:extLst>
          </p:cNvPr>
          <p:cNvSpPr txBox="1"/>
          <p:nvPr/>
        </p:nvSpPr>
        <p:spPr>
          <a:xfrm>
            <a:off x="7905751" y="987799"/>
            <a:ext cx="171449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8000" spc="400" dirty="0">
                <a:solidFill>
                  <a:schemeClr val="bg1"/>
                </a:solidFill>
                <a:latin typeface="Agency FB" panose="020B0503020202020204" pitchFamily="34" charset="0"/>
                <a:cs typeface="+mn-ea"/>
                <a:sym typeface="+mn-lt"/>
              </a:rPr>
              <a:t>01</a:t>
            </a:r>
            <a:endParaRPr lang="zh-CN" altLang="en-US" sz="8000" spc="400" dirty="0">
              <a:solidFill>
                <a:schemeClr val="bg1"/>
              </a:solidFill>
              <a:latin typeface="Agency FB" panose="020B0503020202020204" pitchFamily="34" charset="0"/>
              <a:cs typeface="+mn-ea"/>
              <a:sym typeface="+mn-lt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23FC91EC-A33E-474B-8946-3468139A7936}"/>
              </a:ext>
            </a:extLst>
          </p:cNvPr>
          <p:cNvSpPr txBox="1"/>
          <p:nvPr/>
        </p:nvSpPr>
        <p:spPr>
          <a:xfrm>
            <a:off x="1915234" y="2198027"/>
            <a:ext cx="5494497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66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pPr>
              <a:lnSpc>
                <a:spcPts val="4000"/>
              </a:lnSpc>
            </a:pPr>
            <a:r>
              <a:rPr lang="zh-CN" altLang="en-US" sz="3600" spc="600" dirty="0">
                <a:solidFill>
                  <a:srgbClr val="D00000"/>
                </a:solidFill>
                <a:latin typeface="+mn-lt"/>
                <a:ea typeface="+mn-ea"/>
                <a:cs typeface="+mn-ea"/>
                <a:sym typeface="+mn-lt"/>
              </a:rPr>
              <a:t>Teaching analysis</a:t>
            </a: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8E8B6E05-31A9-41F9-80B0-911FDFB1F350}"/>
              </a:ext>
            </a:extLst>
          </p:cNvPr>
          <p:cNvSpPr/>
          <p:nvPr/>
        </p:nvSpPr>
        <p:spPr>
          <a:xfrm>
            <a:off x="2772230" y="3515783"/>
            <a:ext cx="4686031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zh-CN" altLang="en-US" sz="1050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  <a:sym typeface="+mn-lt"/>
              </a:rPr>
              <a:t>Please enter a specific description here, the text as simple as possible, the meaning can be, do not have to be too cumbersome, pay attention to the beauty of the layout.</a:t>
            </a: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98B2FC46-A089-4BDC-97CB-94226A8A2FE2}"/>
              </a:ext>
            </a:extLst>
          </p:cNvPr>
          <p:cNvSpPr/>
          <p:nvPr/>
        </p:nvSpPr>
        <p:spPr>
          <a:xfrm>
            <a:off x="2657654" y="2796455"/>
            <a:ext cx="4800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800" b="1" spc="4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SING ANALYSIS</a:t>
            </a:r>
            <a:endParaRPr lang="zh-CN" altLang="en-US" sz="2800" b="1" spc="4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36345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 advClick="0" advTm="0">
        <p14:doors dir="vert"/>
      </p:transition>
    </mc:Choice>
    <mc:Fallback xmlns:a14="http://schemas.microsoft.com/office/drawing/2010/main" xmlns:a16="http://schemas.microsoft.com/office/drawing/2014/main" xmlns="">
      <p:transition spd="slow" advClick="0" advTm="0">
        <p:fade/>
      </p:transition>
    </mc:Fallback>
  </mc:AlternateContent>
  <mc:AlternateContent xmlns:mc="http://schemas.openxmlformats.org/markup-compatibility/2006">
    <mc:Choice xmlns:p14="http://schemas.microsoft.com/office/powerpoint/2010/main"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afterEffect" p14:presetBounceEnd="64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4000">
                                          <p:cBhvr additive="base">
                                            <p:cTn id="7" dur="3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4000">
                                          <p:cBhvr additive="base">
                                            <p:cTn id="8" dur="3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 p14:presetBounceEnd="42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2000">
                                          <p:cBhvr additive="base">
                                            <p:cTn id="11" dur="2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2000">
                                          <p:cBhvr additive="base">
                                            <p:cTn id="12" dur="2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 p14:presetBounceEnd="52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2000">
                                          <p:cBhvr additive="base">
                                            <p:cTn id="15" dur="3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2000">
                                          <p:cBhvr additive="base">
                                            <p:cTn id="16" dur="3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1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22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4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5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6" dur="500"/>
                                            <p:tgtEl>
                                              <p:spTgt spid="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7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28" presetID="41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0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x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1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h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w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4" dur="500" tmFilter="0,0; .5, 1; 1, 1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5" fill="hold">
                                <p:stCondLst>
                                  <p:cond delay="4750"/>
                                </p:stCondLst>
                                <p:childTnLst>
                                  <p:par>
                                    <p:cTn id="36" presetID="16" presetClass="entr" presetSubtype="37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outVertical)">
                                          <p:cBhvr>
                                            <p:cTn id="38" dur="5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9" fill="hold">
                                <p:stCondLst>
                                  <p:cond delay="5250"/>
                                </p:stCondLst>
                                <p:childTnLst>
                                  <p:par>
                                    <p:cTn id="40" presetID="37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1000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43" dur="1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4" dur="900" decel="100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-.03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5" dur="100" accel="100000" fill="hold">
                                              <p:stCondLst>
                                                <p:cond delay="90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.03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6" grpId="0" animBg="1"/>
          <p:bldP spid="7" grpId="0" animBg="1"/>
          <p:bldP spid="13" grpId="0"/>
          <p:bldP spid="18" grpId="0"/>
          <p:bldP spid="19" grpId="0"/>
          <p:bldP spid="21" grpId="0"/>
          <p:bldP spid="23" grpId="0"/>
        </p:bldLst>
      </p:timing>
    </mc:Choice>
    <mc:Fallback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3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3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2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2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3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3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1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22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4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5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6" dur="500"/>
                                            <p:tgtEl>
                                              <p:spTgt spid="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7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28" presetID="41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0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x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1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h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w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4" dur="500" tmFilter="0,0; .5, 1; 1, 1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5" fill="hold">
                                <p:stCondLst>
                                  <p:cond delay="4750"/>
                                </p:stCondLst>
                                <p:childTnLst>
                                  <p:par>
                                    <p:cTn id="36" presetID="16" presetClass="entr" presetSubtype="37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outVertical)">
                                          <p:cBhvr>
                                            <p:cTn id="38" dur="5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9" fill="hold">
                                <p:stCondLst>
                                  <p:cond delay="5250"/>
                                </p:stCondLst>
                                <p:childTnLst>
                                  <p:par>
                                    <p:cTn id="40" presetID="37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1000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43" dur="1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4" dur="900" decel="100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-.03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5" dur="100" accel="100000" fill="hold">
                                              <p:stCondLst>
                                                <p:cond delay="90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.03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6" grpId="0" animBg="1"/>
          <p:bldP spid="7" grpId="0" animBg="1"/>
          <p:bldP spid="13" grpId="0"/>
          <p:bldP spid="18" grpId="0"/>
          <p:bldP spid="19" grpId="0"/>
          <p:bldP spid="21" grpId="0"/>
          <p:bldP spid="23" grpId="0"/>
        </p:bldLst>
      </p:timing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B3643088-BADE-4B2C-8D16-84C355AB00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-4294"/>
            <a:ext cx="12202211" cy="6858000"/>
          </a:xfrm>
          <a:prstGeom prst="rect">
            <a:avLst/>
          </a:prstGeom>
          <a:ln>
            <a:noFill/>
          </a:ln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87218F93-96F9-462F-BAFB-7E145859AED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 flipH="1">
            <a:off x="99171" y="-99171"/>
            <a:ext cx="1058956" cy="1257300"/>
          </a:xfrm>
          <a:prstGeom prst="rect">
            <a:avLst/>
          </a:prstGeom>
        </p:spPr>
      </p:pic>
      <p:sp>
        <p:nvSpPr>
          <p:cNvPr id="8" name="TextBox 18">
            <a:extLst>
              <a:ext uri="{FF2B5EF4-FFF2-40B4-BE49-F238E27FC236}">
                <a16:creationId xmlns:a16="http://schemas.microsoft.com/office/drawing/2014/main" id="{EC3E81A0-9853-4F50-A63A-07CECD490F96}"/>
              </a:ext>
            </a:extLst>
          </p:cNvPr>
          <p:cNvSpPr txBox="1"/>
          <p:nvPr/>
        </p:nvSpPr>
        <p:spPr>
          <a:xfrm>
            <a:off x="1367227" y="80984"/>
            <a:ext cx="21935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spc="4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ART ONE.</a:t>
            </a:r>
            <a:endParaRPr lang="zh-CN" altLang="en-US" sz="2400" b="1" spc="4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17F88ED-E918-45C7-8ED4-BD8E20C0EB3A}"/>
              </a:ext>
            </a:extLst>
          </p:cNvPr>
          <p:cNvSpPr txBox="1"/>
          <p:nvPr/>
        </p:nvSpPr>
        <p:spPr>
          <a:xfrm>
            <a:off x="3258258" y="120128"/>
            <a:ext cx="6482090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66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pPr>
              <a:lnSpc>
                <a:spcPts val="4000"/>
              </a:lnSpc>
            </a:pPr>
            <a:r>
              <a:rPr lang="zh-CN" altLang="en-US" sz="4000" dirty="0">
                <a:latin typeface="+mn-lt"/>
                <a:ea typeface="+mn-ea"/>
                <a:cs typeface="+mn-ea"/>
                <a:sym typeface="+mn-lt"/>
              </a:rPr>
              <a:t>Teaching analysis.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1EED5569-24A4-4920-8AFE-CCF0DD8BE5D2}"/>
              </a:ext>
            </a:extLst>
          </p:cNvPr>
          <p:cNvSpPr/>
          <p:nvPr/>
        </p:nvSpPr>
        <p:spPr>
          <a:xfrm>
            <a:off x="1526270" y="4534003"/>
            <a:ext cx="2824943" cy="547765"/>
          </a:xfrm>
          <a:prstGeom prst="rect">
            <a:avLst/>
          </a:prstGeom>
          <a:solidFill>
            <a:srgbClr val="D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86956418-1AFF-445A-B4A0-5DF0B54636F2}"/>
              </a:ext>
            </a:extLst>
          </p:cNvPr>
          <p:cNvSpPr/>
          <p:nvPr/>
        </p:nvSpPr>
        <p:spPr>
          <a:xfrm>
            <a:off x="4668338" y="4534003"/>
            <a:ext cx="2824943" cy="547765"/>
          </a:xfrm>
          <a:prstGeom prst="rect">
            <a:avLst/>
          </a:prstGeom>
          <a:solidFill>
            <a:srgbClr val="D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A6115811-EB2B-4EFB-A073-7FB898176809}"/>
              </a:ext>
            </a:extLst>
          </p:cNvPr>
          <p:cNvSpPr/>
          <p:nvPr/>
        </p:nvSpPr>
        <p:spPr>
          <a:xfrm>
            <a:off x="7810403" y="4534003"/>
            <a:ext cx="2824943" cy="547765"/>
          </a:xfrm>
          <a:prstGeom prst="rect">
            <a:avLst/>
          </a:prstGeom>
          <a:solidFill>
            <a:srgbClr val="D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620D4F2E-0F79-4A26-BD93-D288E0CF147A}"/>
              </a:ext>
            </a:extLst>
          </p:cNvPr>
          <p:cNvSpPr txBox="1"/>
          <p:nvPr/>
        </p:nvSpPr>
        <p:spPr>
          <a:xfrm>
            <a:off x="1722784" y="4601507"/>
            <a:ext cx="2325362" cy="400110"/>
          </a:xfrm>
          <a:prstGeom prst="rect">
            <a:avLst/>
          </a:prstGeom>
          <a:noFill/>
          <a:ln>
            <a:noFill/>
          </a:ln>
        </p:spPr>
        <p:txBody>
          <a:bodyPr vert="horz" wrap="square" rtlCol="0">
            <a:spAutoFit/>
          </a:bodyPr>
          <a:lstStyle/>
          <a:p>
            <a:pPr algn="ctr"/>
            <a:r>
              <a:rPr lang="zh-CN" altLang="en-US" sz="2000" spc="300" dirty="0">
                <a:solidFill>
                  <a:schemeClr val="bg1"/>
                </a:solidFill>
                <a:cs typeface="+mn-ea"/>
                <a:sym typeface="+mn-lt"/>
              </a:rPr>
              <a:t>Enter the title.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BF19ACB2-B9A5-4620-9FCF-E2BDF3D99281}"/>
              </a:ext>
            </a:extLst>
          </p:cNvPr>
          <p:cNvSpPr txBox="1"/>
          <p:nvPr/>
        </p:nvSpPr>
        <p:spPr>
          <a:xfrm>
            <a:off x="4893878" y="4601507"/>
            <a:ext cx="2101440" cy="707886"/>
          </a:xfrm>
          <a:prstGeom prst="rect">
            <a:avLst/>
          </a:prstGeom>
          <a:noFill/>
          <a:ln>
            <a:noFill/>
          </a:ln>
        </p:spPr>
        <p:txBody>
          <a:bodyPr vert="horz" wrap="square" rtlCol="0">
            <a:spAutoFit/>
          </a:bodyPr>
          <a:lstStyle/>
          <a:p>
            <a:pPr algn="ctr"/>
            <a:r>
              <a:rPr lang="zh-CN" altLang="en-US" sz="2000" spc="300" dirty="0">
                <a:solidFill>
                  <a:schemeClr val="bg1"/>
                </a:solidFill>
                <a:cs typeface="+mn-ea"/>
                <a:sym typeface="+mn-lt"/>
              </a:rPr>
              <a:t>Enter the title.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BA49C989-78DB-41A6-AEEA-9ADAFE5D5743}"/>
              </a:ext>
            </a:extLst>
          </p:cNvPr>
          <p:cNvSpPr txBox="1"/>
          <p:nvPr/>
        </p:nvSpPr>
        <p:spPr>
          <a:xfrm>
            <a:off x="8035943" y="4601507"/>
            <a:ext cx="2101440" cy="707886"/>
          </a:xfrm>
          <a:prstGeom prst="rect">
            <a:avLst/>
          </a:prstGeom>
          <a:noFill/>
          <a:ln>
            <a:noFill/>
          </a:ln>
        </p:spPr>
        <p:txBody>
          <a:bodyPr vert="horz" wrap="square" rtlCol="0">
            <a:spAutoFit/>
          </a:bodyPr>
          <a:lstStyle/>
          <a:p>
            <a:pPr algn="ctr"/>
            <a:r>
              <a:rPr lang="zh-CN" altLang="en-US" sz="2000" spc="300" dirty="0">
                <a:solidFill>
                  <a:schemeClr val="bg1"/>
                </a:solidFill>
                <a:cs typeface="+mn-ea"/>
                <a:sym typeface="+mn-lt"/>
              </a:rPr>
              <a:t>Enter the title.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79AA4064-632C-4374-9B32-1C2BA4CB5912}"/>
              </a:ext>
            </a:extLst>
          </p:cNvPr>
          <p:cNvSpPr/>
          <p:nvPr/>
        </p:nvSpPr>
        <p:spPr>
          <a:xfrm>
            <a:off x="1526270" y="5246229"/>
            <a:ext cx="2824943" cy="5774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000"/>
              </a:lnSpc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Enter a specific description here to note the beauty of the layout.</a:t>
            </a: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04E65B23-2AFA-41C6-9653-3CD64CDB1FB2}"/>
              </a:ext>
            </a:extLst>
          </p:cNvPr>
          <p:cNvSpPr/>
          <p:nvPr/>
        </p:nvSpPr>
        <p:spPr>
          <a:xfrm>
            <a:off x="7658003" y="5246229"/>
            <a:ext cx="2824943" cy="5774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000"/>
              </a:lnSpc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Enter a specific description here to note the beauty of the layout.</a:t>
            </a: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8FD8998C-C8DC-44CD-A969-48A9AAE769F2}"/>
              </a:ext>
            </a:extLst>
          </p:cNvPr>
          <p:cNvSpPr/>
          <p:nvPr/>
        </p:nvSpPr>
        <p:spPr>
          <a:xfrm>
            <a:off x="4668338" y="5250659"/>
            <a:ext cx="2824943" cy="5774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000"/>
              </a:lnSpc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Enter a specific description here to note the beauty of the layout.</a:t>
            </a:r>
          </a:p>
        </p:txBody>
      </p:sp>
      <p:pic>
        <p:nvPicPr>
          <p:cNvPr id="18" name="图片占位符 24">
            <a:extLst>
              <a:ext uri="{FF2B5EF4-FFF2-40B4-BE49-F238E27FC236}">
                <a16:creationId xmlns:a16="http://schemas.microsoft.com/office/drawing/2014/main" id="{10CC8031-244A-4ECE-B1F5-3AD77FDA971E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68338" y="1695940"/>
            <a:ext cx="2824943" cy="2824942"/>
          </a:xfrm>
          <a:prstGeom prst="rect">
            <a:avLst/>
          </a:prstGeom>
        </p:spPr>
      </p:pic>
      <p:pic>
        <p:nvPicPr>
          <p:cNvPr id="19" name="图片占位符 26">
            <a:extLst>
              <a:ext uri="{FF2B5EF4-FFF2-40B4-BE49-F238E27FC236}">
                <a16:creationId xmlns:a16="http://schemas.microsoft.com/office/drawing/2014/main" id="{54CCC4E3-3785-4730-A9AF-EF0654FDE4E2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10402" y="1695940"/>
            <a:ext cx="2824943" cy="2824942"/>
          </a:xfrm>
          <a:prstGeom prst="rect">
            <a:avLst/>
          </a:prstGeom>
        </p:spPr>
      </p:pic>
      <p:pic>
        <p:nvPicPr>
          <p:cNvPr id="20" name="图片占位符 22">
            <a:extLst>
              <a:ext uri="{FF2B5EF4-FFF2-40B4-BE49-F238E27FC236}">
                <a16:creationId xmlns:a16="http://schemas.microsoft.com/office/drawing/2014/main" id="{38FAAE1B-C37C-44E3-95B4-701620680829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6270" y="1695940"/>
            <a:ext cx="2824943" cy="2824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8395694"/>
      </p:ext>
    </p:extLst>
  </p:cSld>
  <p:clrMapOvr>
    <a:masterClrMapping/>
  </p:clrMapOvr>
  <p:transition spd="slow" advClick="0" advTm="0">
    <p:comb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 tmFilter="0,0; .5, 1; 1, 1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650"/>
                            </p:stCondLst>
                            <p:childTnLst>
                              <p:par>
                                <p:cTn id="2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150"/>
                            </p:stCondLst>
                            <p:childTnLst>
                              <p:par>
                                <p:cTn id="3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2650"/>
                            </p:stCondLst>
                            <p:childTnLst>
                              <p:par>
                                <p:cTn id="4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300"/>
                            </p:stCondLst>
                            <p:childTnLst>
                              <p:par>
                                <p:cTn id="4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3800"/>
                            </p:stCondLst>
                            <p:childTnLst>
                              <p:par>
                                <p:cTn id="6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4450"/>
                            </p:stCondLst>
                            <p:childTnLst>
                              <p:par>
                                <p:cTn id="66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4950"/>
                            </p:stCondLst>
                            <p:childTnLst>
                              <p:par>
                                <p:cTn id="7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5600"/>
                            </p:stCondLst>
                            <p:childTnLst>
                              <p:par>
                                <p:cTn id="8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6" grpId="0" animBg="1"/>
      <p:bldP spid="10" grpId="0" animBg="1"/>
      <p:bldP spid="11" grpId="0" animBg="1"/>
      <p:bldP spid="12" grpId="0"/>
      <p:bldP spid="13" grpId="0"/>
      <p:bldP spid="14" grpId="0"/>
      <p:bldP spid="15" grpId="0"/>
      <p:bldP spid="16" grpId="0"/>
      <p:bldP spid="1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B3643088-BADE-4B2C-8D16-84C355AB00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-4294"/>
            <a:ext cx="12202211" cy="6858000"/>
          </a:xfrm>
          <a:prstGeom prst="rect">
            <a:avLst/>
          </a:prstGeom>
          <a:ln>
            <a:noFill/>
          </a:ln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87218F93-96F9-462F-BAFB-7E145859AED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 flipH="1">
            <a:off x="99171" y="-99171"/>
            <a:ext cx="1058956" cy="1257300"/>
          </a:xfrm>
          <a:prstGeom prst="rect">
            <a:avLst/>
          </a:prstGeom>
        </p:spPr>
      </p:pic>
      <p:sp>
        <p:nvSpPr>
          <p:cNvPr id="8" name="TextBox 18">
            <a:extLst>
              <a:ext uri="{FF2B5EF4-FFF2-40B4-BE49-F238E27FC236}">
                <a16:creationId xmlns:a16="http://schemas.microsoft.com/office/drawing/2014/main" id="{EC3E81A0-9853-4F50-A63A-07CECD490F96}"/>
              </a:ext>
            </a:extLst>
          </p:cNvPr>
          <p:cNvSpPr txBox="1"/>
          <p:nvPr/>
        </p:nvSpPr>
        <p:spPr>
          <a:xfrm>
            <a:off x="1367227" y="80984"/>
            <a:ext cx="21935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spc="4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ART ONE.</a:t>
            </a:r>
            <a:endParaRPr lang="zh-CN" altLang="en-US" sz="2400" b="1" spc="4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17F88ED-E918-45C7-8ED4-BD8E20C0EB3A}"/>
              </a:ext>
            </a:extLst>
          </p:cNvPr>
          <p:cNvSpPr txBox="1"/>
          <p:nvPr/>
        </p:nvSpPr>
        <p:spPr>
          <a:xfrm>
            <a:off x="3258257" y="120128"/>
            <a:ext cx="5236385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66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pPr>
              <a:lnSpc>
                <a:spcPts val="4000"/>
              </a:lnSpc>
            </a:pPr>
            <a:r>
              <a:rPr lang="zh-CN" altLang="en-US" sz="4000" dirty="0">
                <a:latin typeface="+mn-lt"/>
                <a:ea typeface="+mn-ea"/>
                <a:cs typeface="+mn-ea"/>
                <a:sym typeface="+mn-lt"/>
              </a:rPr>
              <a:t>Teaching analysis.</a:t>
            </a:r>
          </a:p>
        </p:txBody>
      </p:sp>
      <p:pic>
        <p:nvPicPr>
          <p:cNvPr id="21" name="内容占位符 14">
            <a:extLst>
              <a:ext uri="{FF2B5EF4-FFF2-40B4-BE49-F238E27FC236}">
                <a16:creationId xmlns:a16="http://schemas.microsoft.com/office/drawing/2014/main" id="{20249012-4C6C-4757-9C48-A651AA7C26E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2847" y="2194893"/>
            <a:ext cx="5063003" cy="3522662"/>
          </a:xfrm>
          <a:prstGeom prst="rect">
            <a:avLst/>
          </a:prstGeom>
        </p:spPr>
      </p:pic>
      <p:sp>
        <p:nvSpPr>
          <p:cNvPr id="22" name="Rectangle 8">
            <a:extLst>
              <a:ext uri="{FF2B5EF4-FFF2-40B4-BE49-F238E27FC236}">
                <a16:creationId xmlns:a16="http://schemas.microsoft.com/office/drawing/2014/main" id="{48D54B39-E7C3-4BAC-907C-9DE799A71DB4}"/>
              </a:ext>
            </a:extLst>
          </p:cNvPr>
          <p:cNvSpPr/>
          <p:nvPr/>
        </p:nvSpPr>
        <p:spPr>
          <a:xfrm>
            <a:off x="836033" y="2195375"/>
            <a:ext cx="10509817" cy="3522181"/>
          </a:xfrm>
          <a:prstGeom prst="rect">
            <a:avLst/>
          </a:prstGeom>
          <a:noFill/>
          <a:ln w="3175" cmpd="sng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cs typeface="+mn-ea"/>
              <a:sym typeface="+mn-lt"/>
            </a:endParaRPr>
          </a:p>
        </p:txBody>
      </p:sp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388A426D-B831-4903-A874-B318677BCB0E}"/>
              </a:ext>
            </a:extLst>
          </p:cNvPr>
          <p:cNvSpPr txBox="1">
            <a:spLocks/>
          </p:cNvSpPr>
          <p:nvPr/>
        </p:nvSpPr>
        <p:spPr>
          <a:xfrm>
            <a:off x="1076473" y="2545334"/>
            <a:ext cx="3090777" cy="515165"/>
          </a:xfrm>
          <a:prstGeom prst="rect">
            <a:avLst/>
          </a:prstGeom>
        </p:spPr>
        <p:txBody>
          <a:bodyPr vert="horz" lIns="121920" tIns="60960" rIns="121920" bIns="6096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rgbClr val="996633"/>
                </a:solidFill>
                <a:latin typeface="+mn-lt"/>
                <a:ea typeface="+mn-ea"/>
                <a:cs typeface="Dancing Script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lease enter the title.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E0386132-23D0-42B6-B97D-AA4E66C90697}"/>
              </a:ext>
            </a:extLst>
          </p:cNvPr>
          <p:cNvSpPr txBox="1">
            <a:spLocks/>
          </p:cNvSpPr>
          <p:nvPr/>
        </p:nvSpPr>
        <p:spPr>
          <a:xfrm>
            <a:off x="1171023" y="3060499"/>
            <a:ext cx="4460520" cy="2346325"/>
          </a:xfrm>
          <a:prstGeom prst="rect">
            <a:avLst/>
          </a:prstGeom>
        </p:spPr>
        <p:txBody>
          <a:bodyPr>
            <a:norm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2"/>
                </a:solidFill>
                <a:latin typeface="钟齐陈伟勋硬笔行书字库" panose="02010600030101010101" pitchFamily="2" charset="-122"/>
                <a:ea typeface="+mn-ea"/>
                <a:cs typeface="Dancing Script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2133" kern="1200">
                <a:solidFill>
                  <a:schemeClr val="tx1"/>
                </a:solidFill>
                <a:latin typeface="钟齐陈伟勋硬笔行书字库" panose="02010600030101010101" pitchFamily="2" charset="-122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2300"/>
              </a:lnSpc>
              <a:buNone/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ea"/>
                <a:sym typeface="+mn-lt"/>
              </a:rPr>
              <a:t>Please enter a specific description here, the text as simple as possible, the meaning can be, do not have to be too cumbersome, pay attention to the beauty of the layout.</a:t>
            </a:r>
          </a:p>
        </p:txBody>
      </p:sp>
    </p:spTree>
    <p:extLst>
      <p:ext uri="{BB962C8B-B14F-4D97-AF65-F5344CB8AC3E}">
        <p14:creationId xmlns:p14="http://schemas.microsoft.com/office/powerpoint/2010/main" val="203615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:blinds dir="vert"/>
      </p:transition>
    </mc:Choice>
    <mc:Fallback xmlns:a14="http://schemas.microsoft.com/office/drawing/2010/main" xmlns:a16="http://schemas.microsoft.com/office/drawing/2014/main" xmlns="">
      <p:transition spd="slow" advClick="0" advTm="0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 tmFilter="0,0; .5, 1; 1, 1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65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75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27" dur="7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650"/>
                            </p:stCondLst>
                            <p:childTnLst>
                              <p:par>
                                <p:cTn id="29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650"/>
                            </p:stCondLst>
                            <p:childTnLst>
                              <p:par>
                                <p:cTn id="3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22" grpId="0" animBg="1"/>
      <p:bldP spid="23" grpId="0"/>
      <p:bldP spid="24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B3643088-BADE-4B2C-8D16-84C355AB00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-4294"/>
            <a:ext cx="12202211" cy="6858000"/>
          </a:xfrm>
          <a:prstGeom prst="rect">
            <a:avLst/>
          </a:prstGeom>
          <a:ln>
            <a:noFill/>
          </a:ln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87218F93-96F9-462F-BAFB-7E145859AED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 flipH="1">
            <a:off x="99171" y="-99171"/>
            <a:ext cx="1058956" cy="1257300"/>
          </a:xfrm>
          <a:prstGeom prst="rect">
            <a:avLst/>
          </a:prstGeom>
        </p:spPr>
      </p:pic>
      <p:sp>
        <p:nvSpPr>
          <p:cNvPr id="8" name="TextBox 18">
            <a:extLst>
              <a:ext uri="{FF2B5EF4-FFF2-40B4-BE49-F238E27FC236}">
                <a16:creationId xmlns:a16="http://schemas.microsoft.com/office/drawing/2014/main" id="{EC3E81A0-9853-4F50-A63A-07CECD490F96}"/>
              </a:ext>
            </a:extLst>
          </p:cNvPr>
          <p:cNvSpPr txBox="1"/>
          <p:nvPr/>
        </p:nvSpPr>
        <p:spPr>
          <a:xfrm>
            <a:off x="1367227" y="80984"/>
            <a:ext cx="21935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spc="4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ART ONE</a:t>
            </a:r>
            <a:endParaRPr lang="zh-CN" altLang="en-US" sz="2400" b="1" spc="4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17F88ED-E918-45C7-8ED4-BD8E20C0EB3A}"/>
              </a:ext>
            </a:extLst>
          </p:cNvPr>
          <p:cNvSpPr txBox="1"/>
          <p:nvPr/>
        </p:nvSpPr>
        <p:spPr>
          <a:xfrm>
            <a:off x="3258258" y="120128"/>
            <a:ext cx="5372946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66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pPr>
              <a:lnSpc>
                <a:spcPts val="4000"/>
              </a:lnSpc>
            </a:pPr>
            <a:r>
              <a:rPr lang="zh-CN" altLang="en-US" sz="4000" dirty="0">
                <a:latin typeface="+mn-lt"/>
                <a:ea typeface="+mn-ea"/>
                <a:cs typeface="+mn-ea"/>
                <a:sym typeface="+mn-lt"/>
              </a:rPr>
              <a:t>Teaching analysis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B7517083-ED4E-4155-99F7-793FEC124988}"/>
              </a:ext>
            </a:extLst>
          </p:cNvPr>
          <p:cNvSpPr>
            <a:spLocks/>
          </p:cNvSpPr>
          <p:nvPr/>
        </p:nvSpPr>
        <p:spPr bwMode="auto">
          <a:xfrm>
            <a:off x="4655354" y="2312440"/>
            <a:ext cx="1522663" cy="1504607"/>
          </a:xfrm>
          <a:custGeom>
            <a:avLst/>
            <a:gdLst>
              <a:gd name="T0" fmla="*/ 0 w 1012"/>
              <a:gd name="T1" fmla="*/ 1000 h 1000"/>
              <a:gd name="T2" fmla="*/ 1012 w 1012"/>
              <a:gd name="T3" fmla="*/ 1000 h 1000"/>
              <a:gd name="T4" fmla="*/ 1012 w 1012"/>
              <a:gd name="T5" fmla="*/ 262 h 1000"/>
              <a:gd name="T6" fmla="*/ 504 w 1012"/>
              <a:gd name="T7" fmla="*/ 0 h 1000"/>
              <a:gd name="T8" fmla="*/ 0 w 1012"/>
              <a:gd name="T9" fmla="*/ 262 h 1000"/>
              <a:gd name="T10" fmla="*/ 0 w 1012"/>
              <a:gd name="T11" fmla="*/ 1000 h 1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12" h="1000">
                <a:moveTo>
                  <a:pt x="0" y="1000"/>
                </a:moveTo>
                <a:lnTo>
                  <a:pt x="1012" y="1000"/>
                </a:lnTo>
                <a:lnTo>
                  <a:pt x="1012" y="262"/>
                </a:lnTo>
                <a:lnTo>
                  <a:pt x="504" y="0"/>
                </a:lnTo>
                <a:lnTo>
                  <a:pt x="0" y="262"/>
                </a:lnTo>
                <a:lnTo>
                  <a:pt x="0" y="1000"/>
                </a:lnTo>
                <a:close/>
              </a:path>
            </a:pathLst>
          </a:custGeom>
          <a:solidFill>
            <a:srgbClr val="D00000"/>
          </a:solidFill>
          <a:ln>
            <a:noFill/>
          </a:ln>
        </p:spPr>
        <p:txBody>
          <a:bodyPr vert="horz" wrap="square" lIns="86665" tIns="43333" rIns="86665" bIns="43333" numCol="1" anchor="t" anchorCtr="0" compatLnSpc="1">
            <a:prstTxWarp prst="textNoShape">
              <a:avLst/>
            </a:prstTxWarp>
          </a:bodyPr>
          <a:lstStyle/>
          <a:p>
            <a:endParaRPr lang="zh-CN" altLang="en-US" sz="1770">
              <a:cs typeface="+mn-ea"/>
              <a:sym typeface="+mn-lt"/>
            </a:endParaRPr>
          </a:p>
        </p:txBody>
      </p:sp>
      <p:sp>
        <p:nvSpPr>
          <p:cNvPr id="10" name="Freeform 6">
            <a:extLst>
              <a:ext uri="{FF2B5EF4-FFF2-40B4-BE49-F238E27FC236}">
                <a16:creationId xmlns:a16="http://schemas.microsoft.com/office/drawing/2014/main" id="{6650B040-0FA8-4275-91A4-8C64F1447683}"/>
              </a:ext>
            </a:extLst>
          </p:cNvPr>
          <p:cNvSpPr>
            <a:spLocks/>
          </p:cNvSpPr>
          <p:nvPr/>
        </p:nvSpPr>
        <p:spPr bwMode="auto">
          <a:xfrm>
            <a:off x="4655354" y="4083362"/>
            <a:ext cx="1522663" cy="947903"/>
          </a:xfrm>
          <a:custGeom>
            <a:avLst/>
            <a:gdLst>
              <a:gd name="T0" fmla="*/ 0 w 1012"/>
              <a:gd name="T1" fmla="*/ 0 h 630"/>
              <a:gd name="T2" fmla="*/ 1012 w 1012"/>
              <a:gd name="T3" fmla="*/ 0 h 630"/>
              <a:gd name="T4" fmla="*/ 1012 w 1012"/>
              <a:gd name="T5" fmla="*/ 371 h 630"/>
              <a:gd name="T6" fmla="*/ 504 w 1012"/>
              <a:gd name="T7" fmla="*/ 630 h 630"/>
              <a:gd name="T8" fmla="*/ 0 w 1012"/>
              <a:gd name="T9" fmla="*/ 371 h 630"/>
              <a:gd name="T10" fmla="*/ 0 w 1012"/>
              <a:gd name="T11" fmla="*/ 0 h 6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12" h="630">
                <a:moveTo>
                  <a:pt x="0" y="0"/>
                </a:moveTo>
                <a:lnTo>
                  <a:pt x="1012" y="0"/>
                </a:lnTo>
                <a:lnTo>
                  <a:pt x="1012" y="371"/>
                </a:lnTo>
                <a:lnTo>
                  <a:pt x="504" y="630"/>
                </a:lnTo>
                <a:lnTo>
                  <a:pt x="0" y="371"/>
                </a:lnTo>
                <a:lnTo>
                  <a:pt x="0" y="0"/>
                </a:lnTo>
                <a:close/>
              </a:path>
            </a:pathLst>
          </a:custGeom>
          <a:solidFill>
            <a:srgbClr val="D00000"/>
          </a:solidFill>
          <a:ln>
            <a:noFill/>
          </a:ln>
        </p:spPr>
        <p:txBody>
          <a:bodyPr vert="horz" wrap="square" lIns="86665" tIns="43333" rIns="86665" bIns="43333" numCol="1" anchor="t" anchorCtr="0" compatLnSpc="1">
            <a:prstTxWarp prst="textNoShape">
              <a:avLst/>
            </a:prstTxWarp>
          </a:bodyPr>
          <a:lstStyle/>
          <a:p>
            <a:endParaRPr lang="zh-CN" altLang="en-US" sz="1770">
              <a:cs typeface="+mn-ea"/>
              <a:sym typeface="+mn-lt"/>
            </a:endParaRPr>
          </a:p>
        </p:txBody>
      </p:sp>
      <p:sp>
        <p:nvSpPr>
          <p:cNvPr id="11" name="Freeform 7">
            <a:extLst>
              <a:ext uri="{FF2B5EF4-FFF2-40B4-BE49-F238E27FC236}">
                <a16:creationId xmlns:a16="http://schemas.microsoft.com/office/drawing/2014/main" id="{AE7BA1FE-3DD5-40E8-8B17-4CD51C465349}"/>
              </a:ext>
            </a:extLst>
          </p:cNvPr>
          <p:cNvSpPr>
            <a:spLocks/>
          </p:cNvSpPr>
          <p:nvPr/>
        </p:nvSpPr>
        <p:spPr bwMode="auto">
          <a:xfrm>
            <a:off x="6382642" y="1820431"/>
            <a:ext cx="1516644" cy="1996614"/>
          </a:xfrm>
          <a:custGeom>
            <a:avLst/>
            <a:gdLst>
              <a:gd name="T0" fmla="*/ 0 w 1008"/>
              <a:gd name="T1" fmla="*/ 1327 h 1327"/>
              <a:gd name="T2" fmla="*/ 1008 w 1008"/>
              <a:gd name="T3" fmla="*/ 1327 h 1327"/>
              <a:gd name="T4" fmla="*/ 1008 w 1008"/>
              <a:gd name="T5" fmla="*/ 262 h 1327"/>
              <a:gd name="T6" fmla="*/ 504 w 1008"/>
              <a:gd name="T7" fmla="*/ 0 h 1327"/>
              <a:gd name="T8" fmla="*/ 0 w 1008"/>
              <a:gd name="T9" fmla="*/ 262 h 1327"/>
              <a:gd name="T10" fmla="*/ 0 w 1008"/>
              <a:gd name="T11" fmla="*/ 1327 h 1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08" h="1327">
                <a:moveTo>
                  <a:pt x="0" y="1327"/>
                </a:moveTo>
                <a:lnTo>
                  <a:pt x="1008" y="1327"/>
                </a:lnTo>
                <a:lnTo>
                  <a:pt x="1008" y="262"/>
                </a:lnTo>
                <a:lnTo>
                  <a:pt x="504" y="0"/>
                </a:lnTo>
                <a:lnTo>
                  <a:pt x="0" y="262"/>
                </a:lnTo>
                <a:lnTo>
                  <a:pt x="0" y="1327"/>
                </a:lnTo>
                <a:close/>
              </a:path>
            </a:pathLst>
          </a:custGeom>
          <a:solidFill>
            <a:srgbClr val="6FCEFE"/>
          </a:solidFill>
          <a:ln>
            <a:noFill/>
          </a:ln>
        </p:spPr>
        <p:txBody>
          <a:bodyPr vert="horz" wrap="square" lIns="86665" tIns="43333" rIns="86665" bIns="43333" numCol="1" anchor="t" anchorCtr="0" compatLnSpc="1">
            <a:prstTxWarp prst="textNoShape">
              <a:avLst/>
            </a:prstTxWarp>
          </a:bodyPr>
          <a:lstStyle/>
          <a:p>
            <a:endParaRPr lang="zh-CN" altLang="en-US" sz="1770">
              <a:cs typeface="+mn-ea"/>
              <a:sym typeface="+mn-lt"/>
            </a:endParaRPr>
          </a:p>
        </p:txBody>
      </p:sp>
      <p:sp>
        <p:nvSpPr>
          <p:cNvPr id="12" name="Freeform 8">
            <a:extLst>
              <a:ext uri="{FF2B5EF4-FFF2-40B4-BE49-F238E27FC236}">
                <a16:creationId xmlns:a16="http://schemas.microsoft.com/office/drawing/2014/main" id="{0B127F05-46AE-4F3B-838F-73CCDC9B31B1}"/>
              </a:ext>
            </a:extLst>
          </p:cNvPr>
          <p:cNvSpPr>
            <a:spLocks/>
          </p:cNvSpPr>
          <p:nvPr/>
        </p:nvSpPr>
        <p:spPr bwMode="auto">
          <a:xfrm>
            <a:off x="6382642" y="4083360"/>
            <a:ext cx="1516644" cy="649990"/>
          </a:xfrm>
          <a:custGeom>
            <a:avLst/>
            <a:gdLst>
              <a:gd name="T0" fmla="*/ 0 w 1008"/>
              <a:gd name="T1" fmla="*/ 0 h 432"/>
              <a:gd name="T2" fmla="*/ 1008 w 1008"/>
              <a:gd name="T3" fmla="*/ 0 h 432"/>
              <a:gd name="T4" fmla="*/ 1008 w 1008"/>
              <a:gd name="T5" fmla="*/ 170 h 432"/>
              <a:gd name="T6" fmla="*/ 504 w 1008"/>
              <a:gd name="T7" fmla="*/ 432 h 432"/>
              <a:gd name="T8" fmla="*/ 0 w 1008"/>
              <a:gd name="T9" fmla="*/ 170 h 432"/>
              <a:gd name="T10" fmla="*/ 0 w 1008"/>
              <a:gd name="T11" fmla="*/ 0 h 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08" h="432">
                <a:moveTo>
                  <a:pt x="0" y="0"/>
                </a:moveTo>
                <a:lnTo>
                  <a:pt x="1008" y="0"/>
                </a:lnTo>
                <a:lnTo>
                  <a:pt x="1008" y="170"/>
                </a:lnTo>
                <a:lnTo>
                  <a:pt x="504" y="432"/>
                </a:lnTo>
                <a:lnTo>
                  <a:pt x="0" y="170"/>
                </a:lnTo>
                <a:lnTo>
                  <a:pt x="0" y="0"/>
                </a:lnTo>
                <a:close/>
              </a:path>
            </a:pathLst>
          </a:custGeom>
          <a:solidFill>
            <a:srgbClr val="6FCEFE"/>
          </a:solidFill>
          <a:ln>
            <a:noFill/>
          </a:ln>
        </p:spPr>
        <p:txBody>
          <a:bodyPr vert="horz" wrap="square" lIns="86665" tIns="43333" rIns="86665" bIns="43333" numCol="1" anchor="t" anchorCtr="0" compatLnSpc="1">
            <a:prstTxWarp prst="textNoShape">
              <a:avLst/>
            </a:prstTxWarp>
          </a:bodyPr>
          <a:lstStyle/>
          <a:p>
            <a:endParaRPr lang="zh-CN" altLang="en-US" sz="1770">
              <a:cs typeface="+mn-ea"/>
              <a:sym typeface="+mn-lt"/>
            </a:endParaRPr>
          </a:p>
        </p:txBody>
      </p:sp>
      <p:sp>
        <p:nvSpPr>
          <p:cNvPr id="13" name="文本框 14">
            <a:extLst>
              <a:ext uri="{FF2B5EF4-FFF2-40B4-BE49-F238E27FC236}">
                <a16:creationId xmlns:a16="http://schemas.microsoft.com/office/drawing/2014/main" id="{D822B4F2-CDE0-4606-8016-425DFA0513A1}"/>
              </a:ext>
            </a:extLst>
          </p:cNvPr>
          <p:cNvSpPr txBox="1"/>
          <p:nvPr/>
        </p:nvSpPr>
        <p:spPr>
          <a:xfrm>
            <a:off x="4607955" y="3199952"/>
            <a:ext cx="1617456" cy="6174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412" dirty="0">
                <a:solidFill>
                  <a:schemeClr val="bg1"/>
                </a:solidFill>
                <a:cs typeface="+mn-ea"/>
                <a:sym typeface="+mn-lt"/>
              </a:rPr>
              <a:t>75%</a:t>
            </a:r>
            <a:endParaRPr lang="zh-CN" altLang="en-US" sz="3412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4" name="文本框 15">
            <a:extLst>
              <a:ext uri="{FF2B5EF4-FFF2-40B4-BE49-F238E27FC236}">
                <a16:creationId xmlns:a16="http://schemas.microsoft.com/office/drawing/2014/main" id="{35EFC84B-3BCF-427C-86DD-98FDC03D35DB}"/>
              </a:ext>
            </a:extLst>
          </p:cNvPr>
          <p:cNvSpPr txBox="1"/>
          <p:nvPr/>
        </p:nvSpPr>
        <p:spPr>
          <a:xfrm>
            <a:off x="6372097" y="2682348"/>
            <a:ext cx="1617456" cy="6174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412" dirty="0">
                <a:solidFill>
                  <a:schemeClr val="bg1"/>
                </a:solidFill>
                <a:cs typeface="+mn-ea"/>
                <a:sym typeface="+mn-lt"/>
              </a:rPr>
              <a:t>85%</a:t>
            </a:r>
            <a:endParaRPr lang="zh-CN" altLang="en-US" sz="3412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5" name="文本框 16">
            <a:extLst>
              <a:ext uri="{FF2B5EF4-FFF2-40B4-BE49-F238E27FC236}">
                <a16:creationId xmlns:a16="http://schemas.microsoft.com/office/drawing/2014/main" id="{D9F12FA5-B581-4B57-9CDF-27AA58C33FD3}"/>
              </a:ext>
            </a:extLst>
          </p:cNvPr>
          <p:cNvSpPr txBox="1"/>
          <p:nvPr/>
        </p:nvSpPr>
        <p:spPr>
          <a:xfrm>
            <a:off x="4607955" y="5123045"/>
            <a:ext cx="1617456" cy="6174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412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25%</a:t>
            </a:r>
            <a:endParaRPr lang="zh-CN" altLang="en-US" sz="3412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6" name="文本框 17">
            <a:extLst>
              <a:ext uri="{FF2B5EF4-FFF2-40B4-BE49-F238E27FC236}">
                <a16:creationId xmlns:a16="http://schemas.microsoft.com/office/drawing/2014/main" id="{FEF6CF9D-3A4E-46BF-8813-132714B90170}"/>
              </a:ext>
            </a:extLst>
          </p:cNvPr>
          <p:cNvSpPr txBox="1"/>
          <p:nvPr/>
        </p:nvSpPr>
        <p:spPr>
          <a:xfrm>
            <a:off x="6382641" y="4772272"/>
            <a:ext cx="1617456" cy="6174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3412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15%</a:t>
            </a:r>
            <a:endParaRPr lang="zh-CN" altLang="en-US" sz="3412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80551267-4DBD-47E2-A8E4-0BD721B635E1}"/>
              </a:ext>
            </a:extLst>
          </p:cNvPr>
          <p:cNvGrpSpPr/>
          <p:nvPr/>
        </p:nvGrpSpPr>
        <p:grpSpPr>
          <a:xfrm>
            <a:off x="3446409" y="4311189"/>
            <a:ext cx="564911" cy="564910"/>
            <a:chOff x="1551063" y="3554018"/>
            <a:chExt cx="564910" cy="564910"/>
          </a:xfrm>
        </p:grpSpPr>
        <p:sp>
          <p:nvSpPr>
            <p:cNvPr id="18" name="Oval 131" descr="e7d195523061f1c0205959036996ad55c215b892a7aac5c0B9ADEF7896FB48F2EF97163A2DE1401E1875DEDC438B7864AD24CA23553DBBBD975DAF4CAD4A2592689FFB6CEE59FFA55B2702D0E5EE29CDFFAB234219E93DD38E3B1014B0CC2E9383018C70FAE29AA5FF0A83E1D011C51E35A65F43CED0ADA1369AD76A5FB6D093DE04E78520D1B99C">
              <a:extLst>
                <a:ext uri="{FF2B5EF4-FFF2-40B4-BE49-F238E27FC236}">
                  <a16:creationId xmlns:a16="http://schemas.microsoft.com/office/drawing/2014/main" id="{45B33443-B9EC-4160-8D9F-3E8E8FD1B0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51063" y="3554018"/>
              <a:ext cx="564910" cy="564910"/>
            </a:xfrm>
            <a:prstGeom prst="ellipse">
              <a:avLst/>
            </a:prstGeom>
            <a:solidFill>
              <a:srgbClr val="D00000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 b="1" dirty="0">
                <a:cs typeface="+mn-ea"/>
                <a:sym typeface="+mn-lt"/>
              </a:endParaRPr>
            </a:p>
          </p:txBody>
        </p:sp>
        <p:sp>
          <p:nvSpPr>
            <p:cNvPr id="19" name="Freeform 48" descr="e7d195523061f1c0205959036996ad55c215b892a7aac5c0B9ADEF7896FB48F2EF97163A2DE1401E1875DEDC438B7864AD24CA23553DBBBD975DAF4CAD4A2592689FFB6CEE59FFA55B2702D0E5EE29CDFFAB234219E93DD38E3B1014B0CC2E9383018C70FAE29AA5FF0A83E1D011C51E35A65F43CED0ADA1369AD76A5FB6D093DE04E78520D1B99C">
              <a:extLst>
                <a:ext uri="{FF2B5EF4-FFF2-40B4-BE49-F238E27FC236}">
                  <a16:creationId xmlns:a16="http://schemas.microsoft.com/office/drawing/2014/main" id="{420CF2A7-B2C5-4B70-AC11-06D73FECD975}"/>
                </a:ext>
              </a:extLst>
            </p:cNvPr>
            <p:cNvSpPr/>
            <p:nvPr/>
          </p:nvSpPr>
          <p:spPr>
            <a:xfrm>
              <a:off x="1702014" y="3720335"/>
              <a:ext cx="254052" cy="255013"/>
            </a:xfrm>
            <a:custGeom>
              <a:avLst/>
              <a:gdLst/>
              <a:ahLst/>
              <a:cxnLst/>
              <a:rect l="l" t="t" r="r" b="b"/>
              <a:pathLst>
                <a:path w="204608" h="205382">
                  <a:moveTo>
                    <a:pt x="46881" y="32147"/>
                  </a:moveTo>
                  <a:cubicBezTo>
                    <a:pt x="48667" y="31254"/>
                    <a:pt x="50155" y="31551"/>
                    <a:pt x="51346" y="33039"/>
                  </a:cubicBezTo>
                  <a:cubicBezTo>
                    <a:pt x="52536" y="34825"/>
                    <a:pt x="52239" y="36314"/>
                    <a:pt x="50453" y="37504"/>
                  </a:cubicBezTo>
                  <a:cubicBezTo>
                    <a:pt x="37356" y="45541"/>
                    <a:pt x="30807" y="57298"/>
                    <a:pt x="30807" y="72777"/>
                  </a:cubicBezTo>
                  <a:cubicBezTo>
                    <a:pt x="30807" y="74860"/>
                    <a:pt x="29766" y="75902"/>
                    <a:pt x="27682" y="75902"/>
                  </a:cubicBezTo>
                  <a:cubicBezTo>
                    <a:pt x="25599" y="75902"/>
                    <a:pt x="24557" y="74860"/>
                    <a:pt x="24557" y="72777"/>
                  </a:cubicBezTo>
                  <a:cubicBezTo>
                    <a:pt x="24557" y="54917"/>
                    <a:pt x="31998" y="41374"/>
                    <a:pt x="46881" y="32147"/>
                  </a:cubicBezTo>
                  <a:close/>
                  <a:moveTo>
                    <a:pt x="61168" y="25896"/>
                  </a:moveTo>
                  <a:cubicBezTo>
                    <a:pt x="63252" y="25300"/>
                    <a:pt x="64591" y="26045"/>
                    <a:pt x="65187" y="28128"/>
                  </a:cubicBezTo>
                  <a:cubicBezTo>
                    <a:pt x="65782" y="30212"/>
                    <a:pt x="65038" y="31551"/>
                    <a:pt x="62954" y="32147"/>
                  </a:cubicBezTo>
                  <a:cubicBezTo>
                    <a:pt x="62657" y="32147"/>
                    <a:pt x="62136" y="32221"/>
                    <a:pt x="61392" y="32370"/>
                  </a:cubicBezTo>
                  <a:cubicBezTo>
                    <a:pt x="60648" y="32519"/>
                    <a:pt x="60127" y="32742"/>
                    <a:pt x="59829" y="33039"/>
                  </a:cubicBezTo>
                  <a:lnTo>
                    <a:pt x="58936" y="33039"/>
                  </a:lnTo>
                  <a:cubicBezTo>
                    <a:pt x="57448" y="33039"/>
                    <a:pt x="56406" y="32295"/>
                    <a:pt x="55811" y="30807"/>
                  </a:cubicBezTo>
                  <a:cubicBezTo>
                    <a:pt x="55215" y="29319"/>
                    <a:pt x="55811" y="27979"/>
                    <a:pt x="57597" y="26789"/>
                  </a:cubicBezTo>
                  <a:cubicBezTo>
                    <a:pt x="58787" y="26789"/>
                    <a:pt x="59978" y="26491"/>
                    <a:pt x="61168" y="25896"/>
                  </a:cubicBezTo>
                  <a:close/>
                  <a:moveTo>
                    <a:pt x="72331" y="12948"/>
                  </a:moveTo>
                  <a:cubicBezTo>
                    <a:pt x="55959" y="12948"/>
                    <a:pt x="41895" y="18752"/>
                    <a:pt x="30138" y="30361"/>
                  </a:cubicBezTo>
                  <a:cubicBezTo>
                    <a:pt x="18380" y="41969"/>
                    <a:pt x="12502" y="55959"/>
                    <a:pt x="12502" y="72330"/>
                  </a:cubicBezTo>
                  <a:cubicBezTo>
                    <a:pt x="12502" y="88999"/>
                    <a:pt x="18380" y="103138"/>
                    <a:pt x="30138" y="114746"/>
                  </a:cubicBezTo>
                  <a:cubicBezTo>
                    <a:pt x="41895" y="126355"/>
                    <a:pt x="55959" y="132159"/>
                    <a:pt x="72331" y="132159"/>
                  </a:cubicBezTo>
                  <a:cubicBezTo>
                    <a:pt x="82451" y="132159"/>
                    <a:pt x="91678" y="129778"/>
                    <a:pt x="100013" y="125015"/>
                  </a:cubicBezTo>
                  <a:cubicBezTo>
                    <a:pt x="102691" y="123527"/>
                    <a:pt x="105222" y="123973"/>
                    <a:pt x="107603" y="126355"/>
                  </a:cubicBezTo>
                  <a:lnTo>
                    <a:pt x="132606" y="151358"/>
                  </a:lnTo>
                  <a:lnTo>
                    <a:pt x="134838" y="149572"/>
                  </a:lnTo>
                  <a:cubicBezTo>
                    <a:pt x="137517" y="148084"/>
                    <a:pt x="140047" y="148232"/>
                    <a:pt x="142429" y="150018"/>
                  </a:cubicBezTo>
                  <a:lnTo>
                    <a:pt x="150912" y="157162"/>
                  </a:lnTo>
                  <a:cubicBezTo>
                    <a:pt x="153293" y="159543"/>
                    <a:pt x="153740" y="161925"/>
                    <a:pt x="152251" y="164306"/>
                  </a:cubicBezTo>
                  <a:lnTo>
                    <a:pt x="150465" y="169217"/>
                  </a:lnTo>
                  <a:lnTo>
                    <a:pt x="157609" y="176361"/>
                  </a:lnTo>
                  <a:lnTo>
                    <a:pt x="167878" y="177254"/>
                  </a:lnTo>
                  <a:cubicBezTo>
                    <a:pt x="170259" y="177254"/>
                    <a:pt x="172045" y="178593"/>
                    <a:pt x="173236" y="181272"/>
                  </a:cubicBezTo>
                  <a:lnTo>
                    <a:pt x="176808" y="191541"/>
                  </a:lnTo>
                  <a:lnTo>
                    <a:pt x="191542" y="187970"/>
                  </a:lnTo>
                  <a:lnTo>
                    <a:pt x="189309" y="169217"/>
                  </a:lnTo>
                  <a:lnTo>
                    <a:pt x="126802" y="106263"/>
                  </a:lnTo>
                  <a:cubicBezTo>
                    <a:pt x="124420" y="103882"/>
                    <a:pt x="123974" y="101500"/>
                    <a:pt x="125462" y="99119"/>
                  </a:cubicBezTo>
                  <a:cubicBezTo>
                    <a:pt x="129629" y="91082"/>
                    <a:pt x="131713" y="82153"/>
                    <a:pt x="131713" y="72330"/>
                  </a:cubicBezTo>
                  <a:cubicBezTo>
                    <a:pt x="131713" y="55959"/>
                    <a:pt x="125909" y="41969"/>
                    <a:pt x="114300" y="30361"/>
                  </a:cubicBezTo>
                  <a:cubicBezTo>
                    <a:pt x="102691" y="18752"/>
                    <a:pt x="88702" y="12948"/>
                    <a:pt x="72331" y="12948"/>
                  </a:cubicBezTo>
                  <a:close/>
                  <a:moveTo>
                    <a:pt x="72331" y="0"/>
                  </a:moveTo>
                  <a:cubicBezTo>
                    <a:pt x="92274" y="0"/>
                    <a:pt x="109314" y="7069"/>
                    <a:pt x="123453" y="21208"/>
                  </a:cubicBezTo>
                  <a:cubicBezTo>
                    <a:pt x="137592" y="35346"/>
                    <a:pt x="144661" y="52387"/>
                    <a:pt x="144661" y="72330"/>
                  </a:cubicBezTo>
                  <a:cubicBezTo>
                    <a:pt x="144661" y="81260"/>
                    <a:pt x="142726" y="90636"/>
                    <a:pt x="138857" y="100459"/>
                  </a:cubicBezTo>
                  <a:lnTo>
                    <a:pt x="200025" y="161627"/>
                  </a:lnTo>
                  <a:cubicBezTo>
                    <a:pt x="201216" y="162818"/>
                    <a:pt x="201811" y="164157"/>
                    <a:pt x="201811" y="165645"/>
                  </a:cubicBezTo>
                  <a:lnTo>
                    <a:pt x="204490" y="192434"/>
                  </a:lnTo>
                  <a:cubicBezTo>
                    <a:pt x="205085" y="196304"/>
                    <a:pt x="203448" y="198536"/>
                    <a:pt x="199579" y="199132"/>
                  </a:cubicBezTo>
                  <a:lnTo>
                    <a:pt x="174129" y="204936"/>
                  </a:lnTo>
                  <a:cubicBezTo>
                    <a:pt x="173831" y="205234"/>
                    <a:pt x="173385" y="205382"/>
                    <a:pt x="172790" y="205382"/>
                  </a:cubicBezTo>
                  <a:cubicBezTo>
                    <a:pt x="169515" y="205382"/>
                    <a:pt x="167432" y="203894"/>
                    <a:pt x="166539" y="200918"/>
                  </a:cubicBezTo>
                  <a:lnTo>
                    <a:pt x="162967" y="189309"/>
                  </a:lnTo>
                  <a:lnTo>
                    <a:pt x="154484" y="188863"/>
                  </a:lnTo>
                  <a:cubicBezTo>
                    <a:pt x="152698" y="188863"/>
                    <a:pt x="151358" y="188267"/>
                    <a:pt x="150465" y="187077"/>
                  </a:cubicBezTo>
                  <a:lnTo>
                    <a:pt x="138410" y="175022"/>
                  </a:lnTo>
                  <a:cubicBezTo>
                    <a:pt x="136624" y="173236"/>
                    <a:pt x="136178" y="170854"/>
                    <a:pt x="137071" y="167878"/>
                  </a:cubicBezTo>
                  <a:lnTo>
                    <a:pt x="138857" y="163859"/>
                  </a:lnTo>
                  <a:lnTo>
                    <a:pt x="137964" y="162966"/>
                  </a:lnTo>
                  <a:lnTo>
                    <a:pt x="135731" y="164752"/>
                  </a:lnTo>
                  <a:cubicBezTo>
                    <a:pt x="132755" y="166538"/>
                    <a:pt x="129927" y="166390"/>
                    <a:pt x="127248" y="164306"/>
                  </a:cubicBezTo>
                  <a:lnTo>
                    <a:pt x="101799" y="138410"/>
                  </a:lnTo>
                  <a:cubicBezTo>
                    <a:pt x="91976" y="142577"/>
                    <a:pt x="82153" y="144661"/>
                    <a:pt x="72331" y="144661"/>
                  </a:cubicBezTo>
                  <a:cubicBezTo>
                    <a:pt x="52388" y="144661"/>
                    <a:pt x="35347" y="137666"/>
                    <a:pt x="21208" y="123676"/>
                  </a:cubicBezTo>
                  <a:cubicBezTo>
                    <a:pt x="7069" y="109686"/>
                    <a:pt x="0" y="92571"/>
                    <a:pt x="0" y="72330"/>
                  </a:cubicBezTo>
                  <a:cubicBezTo>
                    <a:pt x="0" y="52387"/>
                    <a:pt x="7069" y="35346"/>
                    <a:pt x="21208" y="21208"/>
                  </a:cubicBezTo>
                  <a:cubicBezTo>
                    <a:pt x="35347" y="7069"/>
                    <a:pt x="52388" y="0"/>
                    <a:pt x="7233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cs typeface="+mn-ea"/>
                <a:sym typeface="+mn-lt"/>
              </a:endParaRPr>
            </a:p>
          </p:txBody>
        </p:sp>
      </p:grpSp>
      <p:sp>
        <p:nvSpPr>
          <p:cNvPr id="20" name="Rectangle 89" descr="e7d195523061f1c0205959036996ad55c215b892a7aac5c0B9ADEF7896FB48F2EF97163A2DE1401E1875DEDC438B7864AD24CA23553DBBBD975DAF4CAD4A2592689FFB6CEE59FFA55B2702D0E5EE29CDFC0DD98BC7D6A39A972B9CF5C57439F63DF8F9992C06A5DCF328E37031B8E7966000C8DF7F63EAFDD8644C15722395F61CC450D784C36B19">
            <a:extLst>
              <a:ext uri="{FF2B5EF4-FFF2-40B4-BE49-F238E27FC236}">
                <a16:creationId xmlns:a16="http://schemas.microsoft.com/office/drawing/2014/main" id="{A5C0ECAA-AC34-4BBA-A526-87B26FA39A83}"/>
              </a:ext>
            </a:extLst>
          </p:cNvPr>
          <p:cNvSpPr/>
          <p:nvPr/>
        </p:nvSpPr>
        <p:spPr>
          <a:xfrm>
            <a:off x="453242" y="4173278"/>
            <a:ext cx="2788541" cy="11314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200000"/>
              </a:lnSpc>
            </a:pPr>
            <a:r>
              <a:rPr lang="zh-CN" altLang="en-US" b="1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  <a:sym typeface="+mn-lt"/>
              </a:rPr>
              <a:t>Enter the title.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cs typeface="+mn-ea"/>
              <a:sym typeface="+mn-lt"/>
            </a:endParaRPr>
          </a:p>
          <a:p>
            <a:pPr algn="r">
              <a:lnSpc>
                <a:spcPts val="2000"/>
              </a:lnSpc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Enter a specific description here to note the beauty of the layout.</a:t>
            </a:r>
          </a:p>
        </p:txBody>
      </p:sp>
      <p:grpSp>
        <p:nvGrpSpPr>
          <p:cNvPr id="21" name="组合 20">
            <a:extLst>
              <a:ext uri="{FF2B5EF4-FFF2-40B4-BE49-F238E27FC236}">
                <a16:creationId xmlns:a16="http://schemas.microsoft.com/office/drawing/2014/main" id="{8D2074E7-3C5B-427F-A603-FF85B1BA0287}"/>
              </a:ext>
            </a:extLst>
          </p:cNvPr>
          <p:cNvGrpSpPr/>
          <p:nvPr/>
        </p:nvGrpSpPr>
        <p:grpSpPr>
          <a:xfrm>
            <a:off x="8486674" y="2973218"/>
            <a:ext cx="553999" cy="553998"/>
            <a:chOff x="6200107" y="4099518"/>
            <a:chExt cx="553998" cy="553998"/>
          </a:xfrm>
        </p:grpSpPr>
        <p:sp>
          <p:nvSpPr>
            <p:cNvPr id="22" name="椭圆 21">
              <a:extLst>
                <a:ext uri="{FF2B5EF4-FFF2-40B4-BE49-F238E27FC236}">
                  <a16:creationId xmlns:a16="http://schemas.microsoft.com/office/drawing/2014/main" id="{84A9284C-A386-41C6-9024-8AE095499C05}"/>
                </a:ext>
              </a:extLst>
            </p:cNvPr>
            <p:cNvSpPr/>
            <p:nvPr/>
          </p:nvSpPr>
          <p:spPr>
            <a:xfrm rot="2700000">
              <a:off x="6200107" y="4099518"/>
              <a:ext cx="553998" cy="553998"/>
            </a:xfrm>
            <a:prstGeom prst="ellipse">
              <a:avLst/>
            </a:prstGeom>
            <a:solidFill>
              <a:srgbClr val="6FCEFE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cs typeface="+mn-ea"/>
                <a:sym typeface="+mn-lt"/>
              </a:endParaRPr>
            </a:p>
          </p:txBody>
        </p:sp>
        <p:grpSp>
          <p:nvGrpSpPr>
            <p:cNvPr id="23" name="Group 68">
              <a:extLst>
                <a:ext uri="{FF2B5EF4-FFF2-40B4-BE49-F238E27FC236}">
                  <a16:creationId xmlns:a16="http://schemas.microsoft.com/office/drawing/2014/main" id="{B25E2BC8-1FFB-4DD5-9AB0-97377CEFADD0}"/>
                </a:ext>
              </a:extLst>
            </p:cNvPr>
            <p:cNvGrpSpPr/>
            <p:nvPr/>
          </p:nvGrpSpPr>
          <p:grpSpPr>
            <a:xfrm>
              <a:off x="6360281" y="4248669"/>
              <a:ext cx="224097" cy="296970"/>
              <a:chOff x="3582988" y="3510757"/>
              <a:chExt cx="319088" cy="465138"/>
            </a:xfrm>
            <a:solidFill>
              <a:schemeClr val="bg1"/>
            </a:solidFill>
          </p:grpSpPr>
          <p:sp>
            <p:nvSpPr>
              <p:cNvPr id="24" name="AutoShape 113">
                <a:extLst>
                  <a:ext uri="{FF2B5EF4-FFF2-40B4-BE49-F238E27FC236}">
                    <a16:creationId xmlns:a16="http://schemas.microsoft.com/office/drawing/2014/main" id="{DE333252-BA25-4691-A886-4249589535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2988" y="3510757"/>
                <a:ext cx="319088" cy="465138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5386" y="14175"/>
                    </a:moveTo>
                    <a:lnTo>
                      <a:pt x="6223" y="14175"/>
                    </a:lnTo>
                    <a:cubicBezTo>
                      <a:pt x="5734" y="13446"/>
                      <a:pt x="5147" y="12716"/>
                      <a:pt x="4568" y="12003"/>
                    </a:cubicBezTo>
                    <a:cubicBezTo>
                      <a:pt x="3287" y="10427"/>
                      <a:pt x="1963" y="8797"/>
                      <a:pt x="1963" y="7425"/>
                    </a:cubicBezTo>
                    <a:cubicBezTo>
                      <a:pt x="1963" y="4075"/>
                      <a:pt x="5927" y="1350"/>
                      <a:pt x="10800" y="1350"/>
                    </a:cubicBezTo>
                    <a:cubicBezTo>
                      <a:pt x="15672" y="1350"/>
                      <a:pt x="19636" y="4075"/>
                      <a:pt x="19636" y="7425"/>
                    </a:cubicBezTo>
                    <a:cubicBezTo>
                      <a:pt x="19636" y="8787"/>
                      <a:pt x="18312" y="10425"/>
                      <a:pt x="17029" y="12011"/>
                    </a:cubicBezTo>
                    <a:cubicBezTo>
                      <a:pt x="16455" y="12723"/>
                      <a:pt x="15873" y="13449"/>
                      <a:pt x="15386" y="14175"/>
                    </a:cubicBezTo>
                    <a:moveTo>
                      <a:pt x="10800" y="20249"/>
                    </a:moveTo>
                    <a:cubicBezTo>
                      <a:pt x="9805" y="20249"/>
                      <a:pt x="9347" y="20171"/>
                      <a:pt x="8839" y="19406"/>
                    </a:cubicBezTo>
                    <a:lnTo>
                      <a:pt x="13000" y="19048"/>
                    </a:lnTo>
                    <a:cubicBezTo>
                      <a:pt x="12398" y="20164"/>
                      <a:pt x="11959" y="20249"/>
                      <a:pt x="10800" y="20249"/>
                    </a:cubicBezTo>
                    <a:moveTo>
                      <a:pt x="7595" y="16813"/>
                    </a:moveTo>
                    <a:cubicBezTo>
                      <a:pt x="7417" y="16407"/>
                      <a:pt x="7215" y="15978"/>
                      <a:pt x="6991" y="15525"/>
                    </a:cubicBezTo>
                    <a:lnTo>
                      <a:pt x="14616" y="15525"/>
                    </a:lnTo>
                    <a:cubicBezTo>
                      <a:pt x="14496" y="15767"/>
                      <a:pt x="14375" y="16010"/>
                      <a:pt x="14270" y="16239"/>
                    </a:cubicBezTo>
                    <a:cubicBezTo>
                      <a:pt x="14270" y="16239"/>
                      <a:pt x="7595" y="16813"/>
                      <a:pt x="7595" y="16813"/>
                    </a:cubicBezTo>
                    <a:close/>
                    <a:moveTo>
                      <a:pt x="13345" y="18343"/>
                    </a:moveTo>
                    <a:lnTo>
                      <a:pt x="8476" y="18762"/>
                    </a:lnTo>
                    <a:cubicBezTo>
                      <a:pt x="8303" y="18416"/>
                      <a:pt x="8116" y="18011"/>
                      <a:pt x="7890" y="17483"/>
                    </a:cubicBezTo>
                    <a:cubicBezTo>
                      <a:pt x="7887" y="17477"/>
                      <a:pt x="7883" y="17469"/>
                      <a:pt x="7881" y="17462"/>
                    </a:cubicBezTo>
                    <a:lnTo>
                      <a:pt x="13957" y="16941"/>
                    </a:lnTo>
                    <a:cubicBezTo>
                      <a:pt x="13871" y="17140"/>
                      <a:pt x="13778" y="17350"/>
                      <a:pt x="13698" y="17537"/>
                    </a:cubicBezTo>
                    <a:cubicBezTo>
                      <a:pt x="13569" y="17841"/>
                      <a:pt x="13453" y="18104"/>
                      <a:pt x="13345" y="18343"/>
                    </a:cubicBezTo>
                    <a:moveTo>
                      <a:pt x="10800" y="0"/>
                    </a:moveTo>
                    <a:cubicBezTo>
                      <a:pt x="4835" y="0"/>
                      <a:pt x="0" y="3324"/>
                      <a:pt x="0" y="7425"/>
                    </a:cubicBezTo>
                    <a:cubicBezTo>
                      <a:pt x="0" y="10146"/>
                      <a:pt x="3621" y="13029"/>
                      <a:pt x="4939" y="15562"/>
                    </a:cubicBezTo>
                    <a:cubicBezTo>
                      <a:pt x="6906" y="19339"/>
                      <a:pt x="6688" y="21599"/>
                      <a:pt x="10800" y="21599"/>
                    </a:cubicBezTo>
                    <a:cubicBezTo>
                      <a:pt x="14972" y="21599"/>
                      <a:pt x="14692" y="19349"/>
                      <a:pt x="16660" y="15577"/>
                    </a:cubicBezTo>
                    <a:cubicBezTo>
                      <a:pt x="17983" y="13039"/>
                      <a:pt x="21600" y="10124"/>
                      <a:pt x="21600" y="7425"/>
                    </a:cubicBezTo>
                    <a:cubicBezTo>
                      <a:pt x="21600" y="3324"/>
                      <a:pt x="16764" y="0"/>
                      <a:pt x="10800" y="0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19050" tIns="19050" rIns="19050" bIns="19050" anchor="ctr"/>
              <a:lstStyle/>
              <a:p>
                <a:pPr algn="ctr" defTabSz="22860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500">
                  <a:solidFill>
                    <a:schemeClr val="tx1">
                      <a:lumMod val="65000"/>
                      <a:lumOff val="35000"/>
                    </a:schemeClr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cs typeface="+mn-ea"/>
                  <a:sym typeface="+mn-lt"/>
                </a:endParaRPr>
              </a:p>
            </p:txBody>
          </p:sp>
          <p:sp>
            <p:nvSpPr>
              <p:cNvPr id="25" name="AutoShape 114">
                <a:extLst>
                  <a:ext uri="{FF2B5EF4-FFF2-40B4-BE49-F238E27FC236}">
                    <a16:creationId xmlns:a16="http://schemas.microsoft.com/office/drawing/2014/main" id="{5B08E999-B06A-40F8-91FE-0F7038AD13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5219" y="3583782"/>
                <a:ext cx="94456" cy="94456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9938" y="0"/>
                    </a:moveTo>
                    <a:cubicBezTo>
                      <a:pt x="8943" y="0"/>
                      <a:pt x="0" y="8942"/>
                      <a:pt x="0" y="19938"/>
                    </a:cubicBezTo>
                    <a:cubicBezTo>
                      <a:pt x="0" y="20855"/>
                      <a:pt x="743" y="21600"/>
                      <a:pt x="1661" y="21600"/>
                    </a:cubicBezTo>
                    <a:cubicBezTo>
                      <a:pt x="2579" y="21600"/>
                      <a:pt x="3323" y="20855"/>
                      <a:pt x="3323" y="19938"/>
                    </a:cubicBezTo>
                    <a:cubicBezTo>
                      <a:pt x="3323" y="10777"/>
                      <a:pt x="10777" y="3323"/>
                      <a:pt x="19938" y="3323"/>
                    </a:cubicBezTo>
                    <a:cubicBezTo>
                      <a:pt x="20856" y="3323"/>
                      <a:pt x="21600" y="2578"/>
                      <a:pt x="21600" y="1661"/>
                    </a:cubicBezTo>
                    <a:cubicBezTo>
                      <a:pt x="21600" y="744"/>
                      <a:pt x="20856" y="0"/>
                      <a:pt x="19938" y="0"/>
                    </a:cubicBezTo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19050" tIns="19050" rIns="19050" bIns="19050" anchor="ctr"/>
              <a:lstStyle/>
              <a:p>
                <a:pPr algn="ctr" defTabSz="22860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500">
                  <a:solidFill>
                    <a:schemeClr val="tx1">
                      <a:lumMod val="65000"/>
                      <a:lumOff val="35000"/>
                    </a:schemeClr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cs typeface="+mn-ea"/>
                  <a:sym typeface="+mn-lt"/>
                </a:endParaRPr>
              </a:p>
            </p:txBody>
          </p:sp>
        </p:grpSp>
      </p:grpSp>
      <p:sp>
        <p:nvSpPr>
          <p:cNvPr id="26" name="Rectangle 89" descr="e7d195523061f1c0205959036996ad55c215b892a7aac5c0B9ADEF7896FB48F2EF97163A2DE1401E1875DEDC438B7864AD24CA23553DBBBD975DAF4CAD4A2592689FFB6CEE59FFA55B2702D0E5EE29CDFC0DD98BC7D6A39A972B9CF5C57439F63DF8F9992C06A5DCF328E37031B8E7966000C8DF7F63EAFDD8644C15722395F61CC450D784C36B19">
            <a:extLst>
              <a:ext uri="{FF2B5EF4-FFF2-40B4-BE49-F238E27FC236}">
                <a16:creationId xmlns:a16="http://schemas.microsoft.com/office/drawing/2014/main" id="{19094B2D-6294-44C6-8D1D-3BAED9C57607}"/>
              </a:ext>
            </a:extLst>
          </p:cNvPr>
          <p:cNvSpPr/>
          <p:nvPr/>
        </p:nvSpPr>
        <p:spPr>
          <a:xfrm>
            <a:off x="9255392" y="2494060"/>
            <a:ext cx="2746109" cy="10083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</a:pPr>
            <a:r>
              <a:rPr lang="zh-CN" alt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  <a:sym typeface="+mn-lt"/>
              </a:rPr>
              <a:t>Enter the title.</a:t>
            </a:r>
            <a:endParaRPr lang="en-US" altLang="zh-CN" sz="1400" dirty="0">
              <a:solidFill>
                <a:schemeClr val="tx1">
                  <a:lumMod val="65000"/>
                  <a:lumOff val="35000"/>
                </a:schemeClr>
              </a:solidFill>
              <a:cs typeface="+mn-ea"/>
              <a:sym typeface="+mn-lt"/>
            </a:endParaRPr>
          </a:p>
          <a:p>
            <a:pPr>
              <a:lnSpc>
                <a:spcPts val="2000"/>
              </a:lnSpc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Enter a specific description here to note the beauty of the layout.</a:t>
            </a:r>
          </a:p>
        </p:txBody>
      </p:sp>
      <p:cxnSp>
        <p:nvCxnSpPr>
          <p:cNvPr id="27" name="直接连接符 26">
            <a:extLst>
              <a:ext uri="{FF2B5EF4-FFF2-40B4-BE49-F238E27FC236}">
                <a16:creationId xmlns:a16="http://schemas.microsoft.com/office/drawing/2014/main" id="{324A0236-7128-4247-AF94-41BEAD6AACF8}"/>
              </a:ext>
            </a:extLst>
          </p:cNvPr>
          <p:cNvCxnSpPr/>
          <p:nvPr/>
        </p:nvCxnSpPr>
        <p:spPr>
          <a:xfrm>
            <a:off x="0" y="3931492"/>
            <a:ext cx="12192000" cy="33249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8224641"/>
      </p:ext>
    </p:extLst>
  </p:cSld>
  <p:clrMapOvr>
    <a:masterClrMapping/>
  </p:clrMapOvr>
  <p:transition spd="slow" advClick="0" advTm="0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 tmFilter="0,0; .5, 1; 1, 1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250"/>
                            </p:stCondLst>
                            <p:childTnLst>
                              <p:par>
                                <p:cTn id="21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750"/>
                            </p:stCondLst>
                            <p:childTnLst>
                              <p:par>
                                <p:cTn id="25" presetID="17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17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750"/>
                            </p:stCondLst>
                            <p:childTnLst>
                              <p:par>
                                <p:cTn id="44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8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4500"/>
                            </p:stCondLst>
                            <p:childTnLst>
                              <p:par>
                                <p:cTn id="54" presetID="17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17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7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5500"/>
                            </p:stCondLst>
                            <p:childTnLst>
                              <p:par>
                                <p:cTn id="73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22" presetClass="entr" presetSubtype="2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6" grpId="0" animBg="1"/>
      <p:bldP spid="10" grpId="0" animBg="1"/>
      <p:bldP spid="11" grpId="0" animBg="1"/>
      <p:bldP spid="12" grpId="0" animBg="1"/>
      <p:bldP spid="13" grpId="0"/>
      <p:bldP spid="14" grpId="0"/>
      <p:bldP spid="15" grpId="0"/>
      <p:bldP spid="16" grpId="0"/>
      <p:bldP spid="20" grpId="0"/>
      <p:bldP spid="2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B3643088-BADE-4B2C-8D16-84C355AB00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-4294"/>
            <a:ext cx="12202211" cy="6858000"/>
          </a:xfrm>
          <a:prstGeom prst="rect">
            <a:avLst/>
          </a:prstGeom>
          <a:ln>
            <a:noFill/>
          </a:ln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87218F93-96F9-462F-BAFB-7E145859AED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 flipH="1">
            <a:off x="99171" y="-99171"/>
            <a:ext cx="1058956" cy="1257300"/>
          </a:xfrm>
          <a:prstGeom prst="rect">
            <a:avLst/>
          </a:prstGeom>
        </p:spPr>
      </p:pic>
      <p:sp>
        <p:nvSpPr>
          <p:cNvPr id="8" name="TextBox 18">
            <a:extLst>
              <a:ext uri="{FF2B5EF4-FFF2-40B4-BE49-F238E27FC236}">
                <a16:creationId xmlns:a16="http://schemas.microsoft.com/office/drawing/2014/main" id="{EC3E81A0-9853-4F50-A63A-07CECD490F96}"/>
              </a:ext>
            </a:extLst>
          </p:cNvPr>
          <p:cNvSpPr txBox="1"/>
          <p:nvPr/>
        </p:nvSpPr>
        <p:spPr>
          <a:xfrm>
            <a:off x="1367227" y="80984"/>
            <a:ext cx="21935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spc="4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ART ONE.</a:t>
            </a:r>
            <a:endParaRPr lang="zh-CN" altLang="en-US" sz="2400" b="1" spc="4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graphicFrame>
        <p:nvGraphicFramePr>
          <p:cNvPr id="6" name="Chart 2">
            <a:extLst>
              <a:ext uri="{FF2B5EF4-FFF2-40B4-BE49-F238E27FC236}">
                <a16:creationId xmlns:a16="http://schemas.microsoft.com/office/drawing/2014/main" id="{99B5C937-4FF4-4254-8713-8D913227308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65893197"/>
              </p:ext>
            </p:extLst>
          </p:nvPr>
        </p:nvGraphicFramePr>
        <p:xfrm>
          <a:off x="6852221" y="2444857"/>
          <a:ext cx="3880919" cy="33608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文本框 9">
            <a:extLst>
              <a:ext uri="{FF2B5EF4-FFF2-40B4-BE49-F238E27FC236}">
                <a16:creationId xmlns:a16="http://schemas.microsoft.com/office/drawing/2014/main" id="{8F0B3FD9-3A05-41FC-8403-38D8D25E14F6}"/>
              </a:ext>
            </a:extLst>
          </p:cNvPr>
          <p:cNvSpPr txBox="1"/>
          <p:nvPr/>
        </p:nvSpPr>
        <p:spPr>
          <a:xfrm>
            <a:off x="1166863" y="2193619"/>
            <a:ext cx="553998" cy="2059372"/>
          </a:xfrm>
          <a:prstGeom prst="rect">
            <a:avLst/>
          </a:prstGeom>
          <a:noFill/>
          <a:ln>
            <a:noFill/>
          </a:ln>
        </p:spPr>
        <p:txBody>
          <a:bodyPr vert="eaVert" wrap="square" rtlCol="0">
            <a:spAutoFit/>
          </a:bodyPr>
          <a:lstStyle/>
          <a:p>
            <a:r>
              <a:rPr lang="zh-CN" altLang="en-US" sz="2400" spc="3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Your title.</a:t>
            </a:r>
          </a:p>
        </p:txBody>
      </p:sp>
      <p:sp>
        <p:nvSpPr>
          <p:cNvPr id="17" name="Shape 2687">
            <a:extLst>
              <a:ext uri="{FF2B5EF4-FFF2-40B4-BE49-F238E27FC236}">
                <a16:creationId xmlns:a16="http://schemas.microsoft.com/office/drawing/2014/main" id="{AC044F47-F90B-4860-A07C-E16AA451F7DD}"/>
              </a:ext>
            </a:extLst>
          </p:cNvPr>
          <p:cNvSpPr/>
          <p:nvPr/>
        </p:nvSpPr>
        <p:spPr>
          <a:xfrm>
            <a:off x="1864240" y="4392359"/>
            <a:ext cx="351987" cy="3519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655" y="16200"/>
                </a:moveTo>
                <a:lnTo>
                  <a:pt x="15709" y="16200"/>
                </a:lnTo>
                <a:lnTo>
                  <a:pt x="15709" y="14727"/>
                </a:lnTo>
                <a:lnTo>
                  <a:pt x="18655" y="14727"/>
                </a:lnTo>
                <a:cubicBezTo>
                  <a:pt x="18655" y="14727"/>
                  <a:pt x="18655" y="16200"/>
                  <a:pt x="18655" y="16200"/>
                </a:cubicBezTo>
                <a:close/>
                <a:moveTo>
                  <a:pt x="18655" y="18655"/>
                </a:moveTo>
                <a:lnTo>
                  <a:pt x="15709" y="18655"/>
                </a:lnTo>
                <a:lnTo>
                  <a:pt x="15709" y="17182"/>
                </a:lnTo>
                <a:lnTo>
                  <a:pt x="18655" y="17182"/>
                </a:lnTo>
                <a:cubicBezTo>
                  <a:pt x="18655" y="17182"/>
                  <a:pt x="18655" y="18655"/>
                  <a:pt x="18655" y="18655"/>
                </a:cubicBezTo>
                <a:close/>
                <a:moveTo>
                  <a:pt x="17182" y="20618"/>
                </a:moveTo>
                <a:cubicBezTo>
                  <a:pt x="16542" y="20618"/>
                  <a:pt x="16002" y="20207"/>
                  <a:pt x="15799" y="19636"/>
                </a:cubicBezTo>
                <a:lnTo>
                  <a:pt x="18564" y="19636"/>
                </a:lnTo>
                <a:cubicBezTo>
                  <a:pt x="18361" y="20207"/>
                  <a:pt x="17822" y="20618"/>
                  <a:pt x="17182" y="20618"/>
                </a:cubicBezTo>
                <a:moveTo>
                  <a:pt x="17182" y="12764"/>
                </a:moveTo>
                <a:cubicBezTo>
                  <a:pt x="17822" y="12764"/>
                  <a:pt x="18361" y="13175"/>
                  <a:pt x="18564" y="13745"/>
                </a:cubicBezTo>
                <a:lnTo>
                  <a:pt x="15799" y="13745"/>
                </a:lnTo>
                <a:cubicBezTo>
                  <a:pt x="16002" y="13175"/>
                  <a:pt x="16542" y="12764"/>
                  <a:pt x="17182" y="12764"/>
                </a:cubicBezTo>
                <a:moveTo>
                  <a:pt x="5891" y="16200"/>
                </a:moveTo>
                <a:lnTo>
                  <a:pt x="2945" y="16200"/>
                </a:lnTo>
                <a:lnTo>
                  <a:pt x="2945" y="14727"/>
                </a:lnTo>
                <a:lnTo>
                  <a:pt x="5891" y="14727"/>
                </a:lnTo>
                <a:cubicBezTo>
                  <a:pt x="5891" y="14727"/>
                  <a:pt x="5891" y="16200"/>
                  <a:pt x="5891" y="16200"/>
                </a:cubicBezTo>
                <a:close/>
                <a:moveTo>
                  <a:pt x="4418" y="12764"/>
                </a:moveTo>
                <a:cubicBezTo>
                  <a:pt x="5058" y="12764"/>
                  <a:pt x="5598" y="13175"/>
                  <a:pt x="5801" y="13745"/>
                </a:cubicBezTo>
                <a:lnTo>
                  <a:pt x="3036" y="13745"/>
                </a:lnTo>
                <a:cubicBezTo>
                  <a:pt x="3239" y="13175"/>
                  <a:pt x="3778" y="12764"/>
                  <a:pt x="4418" y="12764"/>
                </a:cubicBezTo>
                <a:moveTo>
                  <a:pt x="5891" y="18655"/>
                </a:moveTo>
                <a:lnTo>
                  <a:pt x="2945" y="18655"/>
                </a:lnTo>
                <a:lnTo>
                  <a:pt x="2945" y="17182"/>
                </a:lnTo>
                <a:lnTo>
                  <a:pt x="5891" y="17182"/>
                </a:lnTo>
                <a:cubicBezTo>
                  <a:pt x="5891" y="17182"/>
                  <a:pt x="5891" y="18655"/>
                  <a:pt x="5891" y="18655"/>
                </a:cubicBezTo>
                <a:close/>
                <a:moveTo>
                  <a:pt x="4418" y="20618"/>
                </a:moveTo>
                <a:cubicBezTo>
                  <a:pt x="3778" y="20618"/>
                  <a:pt x="3239" y="20207"/>
                  <a:pt x="3036" y="19636"/>
                </a:cubicBezTo>
                <a:lnTo>
                  <a:pt x="5801" y="19636"/>
                </a:lnTo>
                <a:cubicBezTo>
                  <a:pt x="5598" y="20207"/>
                  <a:pt x="5058" y="20618"/>
                  <a:pt x="4418" y="20618"/>
                </a:cubicBezTo>
                <a:moveTo>
                  <a:pt x="19636" y="13745"/>
                </a:moveTo>
                <a:lnTo>
                  <a:pt x="19636" y="8836"/>
                </a:lnTo>
                <a:cubicBezTo>
                  <a:pt x="19636" y="3956"/>
                  <a:pt x="15680" y="0"/>
                  <a:pt x="10800" y="0"/>
                </a:cubicBezTo>
                <a:cubicBezTo>
                  <a:pt x="5920" y="0"/>
                  <a:pt x="1964" y="3956"/>
                  <a:pt x="1964" y="8836"/>
                </a:cubicBezTo>
                <a:lnTo>
                  <a:pt x="1964" y="13745"/>
                </a:lnTo>
                <a:cubicBezTo>
                  <a:pt x="879" y="13745"/>
                  <a:pt x="0" y="14625"/>
                  <a:pt x="0" y="15709"/>
                </a:cubicBezTo>
                <a:lnTo>
                  <a:pt x="0" y="17673"/>
                </a:lnTo>
                <a:cubicBezTo>
                  <a:pt x="0" y="18757"/>
                  <a:pt x="879" y="19636"/>
                  <a:pt x="1964" y="19636"/>
                </a:cubicBezTo>
                <a:lnTo>
                  <a:pt x="2013" y="19636"/>
                </a:lnTo>
                <a:cubicBezTo>
                  <a:pt x="2241" y="20757"/>
                  <a:pt x="3231" y="21600"/>
                  <a:pt x="4418" y="21600"/>
                </a:cubicBezTo>
                <a:cubicBezTo>
                  <a:pt x="5774" y="21600"/>
                  <a:pt x="6873" y="20501"/>
                  <a:pt x="6873" y="19145"/>
                </a:cubicBezTo>
                <a:lnTo>
                  <a:pt x="6873" y="14236"/>
                </a:lnTo>
                <a:cubicBezTo>
                  <a:pt x="6873" y="12881"/>
                  <a:pt x="5774" y="11782"/>
                  <a:pt x="4418" y="11782"/>
                </a:cubicBezTo>
                <a:cubicBezTo>
                  <a:pt x="3864" y="11782"/>
                  <a:pt x="3356" y="11971"/>
                  <a:pt x="2945" y="12282"/>
                </a:cubicBezTo>
                <a:lnTo>
                  <a:pt x="2945" y="8836"/>
                </a:lnTo>
                <a:cubicBezTo>
                  <a:pt x="2945" y="4499"/>
                  <a:pt x="6462" y="982"/>
                  <a:pt x="10800" y="982"/>
                </a:cubicBezTo>
                <a:cubicBezTo>
                  <a:pt x="15138" y="982"/>
                  <a:pt x="18655" y="4499"/>
                  <a:pt x="18655" y="8836"/>
                </a:cubicBezTo>
                <a:lnTo>
                  <a:pt x="18655" y="12282"/>
                </a:lnTo>
                <a:cubicBezTo>
                  <a:pt x="18244" y="11971"/>
                  <a:pt x="17736" y="11782"/>
                  <a:pt x="17182" y="11782"/>
                </a:cubicBezTo>
                <a:cubicBezTo>
                  <a:pt x="15826" y="11782"/>
                  <a:pt x="14727" y="12881"/>
                  <a:pt x="14727" y="14236"/>
                </a:cubicBezTo>
                <a:lnTo>
                  <a:pt x="14727" y="19145"/>
                </a:lnTo>
                <a:cubicBezTo>
                  <a:pt x="14727" y="20501"/>
                  <a:pt x="15826" y="21600"/>
                  <a:pt x="17182" y="21600"/>
                </a:cubicBezTo>
                <a:cubicBezTo>
                  <a:pt x="18369" y="21600"/>
                  <a:pt x="19360" y="20757"/>
                  <a:pt x="19587" y="19636"/>
                </a:cubicBezTo>
                <a:lnTo>
                  <a:pt x="19636" y="19636"/>
                </a:lnTo>
                <a:cubicBezTo>
                  <a:pt x="20721" y="19636"/>
                  <a:pt x="21600" y="18757"/>
                  <a:pt x="21600" y="17673"/>
                </a:cubicBezTo>
                <a:lnTo>
                  <a:pt x="21600" y="15709"/>
                </a:lnTo>
                <a:cubicBezTo>
                  <a:pt x="21600" y="14625"/>
                  <a:pt x="20721" y="13745"/>
                  <a:pt x="19636" y="13745"/>
                </a:cubicBezTo>
              </a:path>
            </a:pathLst>
          </a:custGeom>
          <a:solidFill>
            <a:srgbClr val="D00000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8" name="Shape 2645">
            <a:extLst>
              <a:ext uri="{FF2B5EF4-FFF2-40B4-BE49-F238E27FC236}">
                <a16:creationId xmlns:a16="http://schemas.microsoft.com/office/drawing/2014/main" id="{645D1BEC-2663-4B2C-816E-24842410D9BC}"/>
              </a:ext>
            </a:extLst>
          </p:cNvPr>
          <p:cNvSpPr/>
          <p:nvPr/>
        </p:nvSpPr>
        <p:spPr>
          <a:xfrm>
            <a:off x="1864240" y="3450177"/>
            <a:ext cx="351987" cy="2559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08" y="20250"/>
                </a:moveTo>
                <a:lnTo>
                  <a:pt x="2740" y="17504"/>
                </a:lnTo>
                <a:cubicBezTo>
                  <a:pt x="2807" y="17526"/>
                  <a:pt x="2874" y="17550"/>
                  <a:pt x="2945" y="17550"/>
                </a:cubicBezTo>
                <a:lnTo>
                  <a:pt x="18655" y="17550"/>
                </a:lnTo>
                <a:cubicBezTo>
                  <a:pt x="18726" y="17550"/>
                  <a:pt x="18793" y="17526"/>
                  <a:pt x="18860" y="17504"/>
                </a:cubicBezTo>
                <a:lnTo>
                  <a:pt x="20192" y="20250"/>
                </a:lnTo>
                <a:cubicBezTo>
                  <a:pt x="20192" y="20250"/>
                  <a:pt x="1408" y="20250"/>
                  <a:pt x="1408" y="20250"/>
                </a:cubicBezTo>
                <a:close/>
                <a:moveTo>
                  <a:pt x="2945" y="1350"/>
                </a:moveTo>
                <a:lnTo>
                  <a:pt x="18655" y="1350"/>
                </a:lnTo>
                <a:lnTo>
                  <a:pt x="18655" y="16200"/>
                </a:lnTo>
                <a:lnTo>
                  <a:pt x="2945" y="16200"/>
                </a:lnTo>
                <a:cubicBezTo>
                  <a:pt x="2945" y="16200"/>
                  <a:pt x="2945" y="1350"/>
                  <a:pt x="2945" y="1350"/>
                </a:cubicBezTo>
                <a:close/>
                <a:moveTo>
                  <a:pt x="21510" y="20558"/>
                </a:moveTo>
                <a:lnTo>
                  <a:pt x="21518" y="20551"/>
                </a:lnTo>
                <a:lnTo>
                  <a:pt x="19591" y="16577"/>
                </a:lnTo>
                <a:cubicBezTo>
                  <a:pt x="19617" y="16457"/>
                  <a:pt x="19636" y="16332"/>
                  <a:pt x="19636" y="16200"/>
                </a:cubicBezTo>
                <a:lnTo>
                  <a:pt x="19636" y="1350"/>
                </a:lnTo>
                <a:cubicBezTo>
                  <a:pt x="19636" y="605"/>
                  <a:pt x="19197" y="0"/>
                  <a:pt x="18655" y="0"/>
                </a:cubicBezTo>
                <a:lnTo>
                  <a:pt x="2945" y="0"/>
                </a:lnTo>
                <a:cubicBezTo>
                  <a:pt x="2403" y="0"/>
                  <a:pt x="1964" y="605"/>
                  <a:pt x="1964" y="1350"/>
                </a:cubicBezTo>
                <a:lnTo>
                  <a:pt x="1964" y="16200"/>
                </a:lnTo>
                <a:cubicBezTo>
                  <a:pt x="1964" y="16332"/>
                  <a:pt x="1983" y="16457"/>
                  <a:pt x="2009" y="16577"/>
                </a:cubicBezTo>
                <a:lnTo>
                  <a:pt x="82" y="20551"/>
                </a:lnTo>
                <a:lnTo>
                  <a:pt x="90" y="20558"/>
                </a:lnTo>
                <a:cubicBezTo>
                  <a:pt x="38" y="20665"/>
                  <a:pt x="0" y="20787"/>
                  <a:pt x="0" y="20925"/>
                </a:cubicBezTo>
                <a:cubicBezTo>
                  <a:pt x="0" y="21298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298"/>
                  <a:pt x="21600" y="20925"/>
                </a:cubicBezTo>
                <a:cubicBezTo>
                  <a:pt x="21600" y="20787"/>
                  <a:pt x="21562" y="20665"/>
                  <a:pt x="21510" y="20558"/>
                </a:cubicBezTo>
              </a:path>
            </a:pathLst>
          </a:custGeom>
          <a:solidFill>
            <a:srgbClr val="F57B26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9" name="Rectangle 23">
            <a:extLst>
              <a:ext uri="{FF2B5EF4-FFF2-40B4-BE49-F238E27FC236}">
                <a16:creationId xmlns:a16="http://schemas.microsoft.com/office/drawing/2014/main" id="{52D58BA0-2845-425F-880D-1F79D544EE6F}"/>
              </a:ext>
            </a:extLst>
          </p:cNvPr>
          <p:cNvSpPr/>
          <p:nvPr/>
        </p:nvSpPr>
        <p:spPr>
          <a:xfrm>
            <a:off x="2323320" y="3276515"/>
            <a:ext cx="3362035" cy="6052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000"/>
              </a:lnSpc>
            </a:pP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lease enter a specific description here, the text as simple as possible, the meaning can be, do not have to be too cumbersome, pay attention to the beauty of the layout.</a:t>
            </a:r>
          </a:p>
        </p:txBody>
      </p:sp>
      <p:sp>
        <p:nvSpPr>
          <p:cNvPr id="20" name="Rectangle 23">
            <a:extLst>
              <a:ext uri="{FF2B5EF4-FFF2-40B4-BE49-F238E27FC236}">
                <a16:creationId xmlns:a16="http://schemas.microsoft.com/office/drawing/2014/main" id="{BA945A8A-1A20-4BC9-B003-E1E4012C41B8}"/>
              </a:ext>
            </a:extLst>
          </p:cNvPr>
          <p:cNvSpPr/>
          <p:nvPr/>
        </p:nvSpPr>
        <p:spPr>
          <a:xfrm>
            <a:off x="2323320" y="4290757"/>
            <a:ext cx="3362035" cy="6052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000"/>
              </a:lnSpc>
            </a:pP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lease enter a specific description here, the text as simple as possible, the meaning can be, do not have to be too cumbersome, pay attention to the beauty of the layout.</a:t>
            </a:r>
          </a:p>
        </p:txBody>
      </p:sp>
      <p:sp>
        <p:nvSpPr>
          <p:cNvPr id="21" name="Shape 2783">
            <a:extLst>
              <a:ext uri="{FF2B5EF4-FFF2-40B4-BE49-F238E27FC236}">
                <a16:creationId xmlns:a16="http://schemas.microsoft.com/office/drawing/2014/main" id="{D50F7CA1-686F-40F6-A61F-AED6A61066EF}"/>
              </a:ext>
            </a:extLst>
          </p:cNvPr>
          <p:cNvSpPr/>
          <p:nvPr/>
        </p:nvSpPr>
        <p:spPr>
          <a:xfrm>
            <a:off x="1895461" y="2447176"/>
            <a:ext cx="362452" cy="3130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5855"/>
                </a:moveTo>
                <a:lnTo>
                  <a:pt x="1633" y="10800"/>
                </a:lnTo>
                <a:lnTo>
                  <a:pt x="4615" y="9156"/>
                </a:lnTo>
                <a:lnTo>
                  <a:pt x="10589" y="12450"/>
                </a:lnTo>
                <a:lnTo>
                  <a:pt x="10591" y="12446"/>
                </a:lnTo>
                <a:cubicBezTo>
                  <a:pt x="10654" y="12482"/>
                  <a:pt x="10724" y="12505"/>
                  <a:pt x="10800" y="12505"/>
                </a:cubicBezTo>
                <a:cubicBezTo>
                  <a:pt x="10876" y="12505"/>
                  <a:pt x="10946" y="12482"/>
                  <a:pt x="11009" y="12446"/>
                </a:cubicBezTo>
                <a:lnTo>
                  <a:pt x="11011" y="12450"/>
                </a:lnTo>
                <a:lnTo>
                  <a:pt x="16985" y="9156"/>
                </a:lnTo>
                <a:lnTo>
                  <a:pt x="19967" y="10800"/>
                </a:lnTo>
                <a:cubicBezTo>
                  <a:pt x="19967" y="10800"/>
                  <a:pt x="10800" y="15855"/>
                  <a:pt x="10800" y="15855"/>
                </a:cubicBezTo>
                <a:close/>
                <a:moveTo>
                  <a:pt x="19967" y="15347"/>
                </a:moveTo>
                <a:lnTo>
                  <a:pt x="10800" y="20402"/>
                </a:lnTo>
                <a:lnTo>
                  <a:pt x="1633" y="15347"/>
                </a:lnTo>
                <a:lnTo>
                  <a:pt x="4615" y="13703"/>
                </a:lnTo>
                <a:lnTo>
                  <a:pt x="10589" y="16997"/>
                </a:lnTo>
                <a:lnTo>
                  <a:pt x="10591" y="16994"/>
                </a:lnTo>
                <a:cubicBezTo>
                  <a:pt x="10654" y="17029"/>
                  <a:pt x="10724" y="17053"/>
                  <a:pt x="10800" y="17053"/>
                </a:cubicBezTo>
                <a:cubicBezTo>
                  <a:pt x="10876" y="17053"/>
                  <a:pt x="10946" y="17029"/>
                  <a:pt x="11009" y="16994"/>
                </a:cubicBezTo>
                <a:lnTo>
                  <a:pt x="11011" y="16997"/>
                </a:lnTo>
                <a:lnTo>
                  <a:pt x="16985" y="13703"/>
                </a:lnTo>
                <a:cubicBezTo>
                  <a:pt x="16985" y="13703"/>
                  <a:pt x="19967" y="15347"/>
                  <a:pt x="19967" y="15347"/>
                </a:cubicBezTo>
                <a:close/>
                <a:moveTo>
                  <a:pt x="1633" y="6253"/>
                </a:moveTo>
                <a:lnTo>
                  <a:pt x="10800" y="1198"/>
                </a:lnTo>
                <a:lnTo>
                  <a:pt x="19967" y="6253"/>
                </a:lnTo>
                <a:lnTo>
                  <a:pt x="10800" y="11307"/>
                </a:lnTo>
                <a:cubicBezTo>
                  <a:pt x="10800" y="11307"/>
                  <a:pt x="1633" y="6253"/>
                  <a:pt x="1633" y="6253"/>
                </a:cubicBezTo>
                <a:close/>
                <a:moveTo>
                  <a:pt x="21600" y="10800"/>
                </a:moveTo>
                <a:cubicBezTo>
                  <a:pt x="21600" y="10574"/>
                  <a:pt x="21484" y="10383"/>
                  <a:pt x="21319" y="10290"/>
                </a:cubicBezTo>
                <a:lnTo>
                  <a:pt x="21320" y="10287"/>
                </a:lnTo>
                <a:lnTo>
                  <a:pt x="18127" y="8526"/>
                </a:lnTo>
                <a:lnTo>
                  <a:pt x="21320" y="6766"/>
                </a:lnTo>
                <a:lnTo>
                  <a:pt x="21319" y="6762"/>
                </a:lnTo>
                <a:cubicBezTo>
                  <a:pt x="21484" y="6671"/>
                  <a:pt x="21600" y="6479"/>
                  <a:pt x="21600" y="6253"/>
                </a:cubicBezTo>
                <a:cubicBezTo>
                  <a:pt x="21600" y="6027"/>
                  <a:pt x="21484" y="5835"/>
                  <a:pt x="21319" y="5743"/>
                </a:cubicBezTo>
                <a:lnTo>
                  <a:pt x="21320" y="5740"/>
                </a:lnTo>
                <a:lnTo>
                  <a:pt x="11011" y="56"/>
                </a:lnTo>
                <a:lnTo>
                  <a:pt x="11009" y="59"/>
                </a:lnTo>
                <a:cubicBezTo>
                  <a:pt x="10946" y="23"/>
                  <a:pt x="10876" y="0"/>
                  <a:pt x="10800" y="0"/>
                </a:cubicBezTo>
                <a:cubicBezTo>
                  <a:pt x="10724" y="0"/>
                  <a:pt x="10654" y="23"/>
                  <a:pt x="10591" y="59"/>
                </a:cubicBezTo>
                <a:lnTo>
                  <a:pt x="10589" y="56"/>
                </a:lnTo>
                <a:lnTo>
                  <a:pt x="280" y="5740"/>
                </a:lnTo>
                <a:lnTo>
                  <a:pt x="281" y="5743"/>
                </a:lnTo>
                <a:cubicBezTo>
                  <a:pt x="116" y="5835"/>
                  <a:pt x="0" y="6027"/>
                  <a:pt x="0" y="6253"/>
                </a:cubicBezTo>
                <a:cubicBezTo>
                  <a:pt x="0" y="6479"/>
                  <a:pt x="116" y="6671"/>
                  <a:pt x="281" y="6762"/>
                </a:cubicBezTo>
                <a:lnTo>
                  <a:pt x="280" y="6766"/>
                </a:lnTo>
                <a:lnTo>
                  <a:pt x="3473" y="8526"/>
                </a:lnTo>
                <a:lnTo>
                  <a:pt x="280" y="10287"/>
                </a:lnTo>
                <a:lnTo>
                  <a:pt x="281" y="10290"/>
                </a:lnTo>
                <a:cubicBezTo>
                  <a:pt x="116" y="10383"/>
                  <a:pt x="0" y="10574"/>
                  <a:pt x="0" y="10800"/>
                </a:cubicBezTo>
                <a:cubicBezTo>
                  <a:pt x="0" y="11026"/>
                  <a:pt x="116" y="11218"/>
                  <a:pt x="281" y="11310"/>
                </a:cubicBezTo>
                <a:lnTo>
                  <a:pt x="280" y="11313"/>
                </a:lnTo>
                <a:lnTo>
                  <a:pt x="3473" y="13074"/>
                </a:lnTo>
                <a:lnTo>
                  <a:pt x="280" y="14834"/>
                </a:lnTo>
                <a:lnTo>
                  <a:pt x="281" y="14838"/>
                </a:lnTo>
                <a:cubicBezTo>
                  <a:pt x="116" y="14930"/>
                  <a:pt x="0" y="15121"/>
                  <a:pt x="0" y="15347"/>
                </a:cubicBezTo>
                <a:cubicBezTo>
                  <a:pt x="0" y="15574"/>
                  <a:pt x="116" y="15765"/>
                  <a:pt x="281" y="15857"/>
                </a:cubicBezTo>
                <a:lnTo>
                  <a:pt x="280" y="15860"/>
                </a:lnTo>
                <a:lnTo>
                  <a:pt x="10589" y="21544"/>
                </a:lnTo>
                <a:lnTo>
                  <a:pt x="10591" y="21541"/>
                </a:lnTo>
                <a:cubicBezTo>
                  <a:pt x="10654" y="21577"/>
                  <a:pt x="10724" y="21600"/>
                  <a:pt x="10800" y="21600"/>
                </a:cubicBezTo>
                <a:cubicBezTo>
                  <a:pt x="10876" y="21600"/>
                  <a:pt x="10946" y="21577"/>
                  <a:pt x="11009" y="21541"/>
                </a:cubicBezTo>
                <a:lnTo>
                  <a:pt x="11011" y="21544"/>
                </a:lnTo>
                <a:lnTo>
                  <a:pt x="21320" y="15860"/>
                </a:lnTo>
                <a:lnTo>
                  <a:pt x="21319" y="15857"/>
                </a:lnTo>
                <a:cubicBezTo>
                  <a:pt x="21484" y="15765"/>
                  <a:pt x="21600" y="15574"/>
                  <a:pt x="21600" y="15347"/>
                </a:cubicBezTo>
                <a:cubicBezTo>
                  <a:pt x="21600" y="15121"/>
                  <a:pt x="21484" y="14930"/>
                  <a:pt x="21319" y="14838"/>
                </a:cubicBezTo>
                <a:lnTo>
                  <a:pt x="21320" y="14834"/>
                </a:lnTo>
                <a:lnTo>
                  <a:pt x="18127" y="13074"/>
                </a:lnTo>
                <a:lnTo>
                  <a:pt x="21320" y="11313"/>
                </a:lnTo>
                <a:lnTo>
                  <a:pt x="21319" y="11310"/>
                </a:lnTo>
                <a:cubicBezTo>
                  <a:pt x="21484" y="11218"/>
                  <a:pt x="21600" y="11026"/>
                  <a:pt x="21600" y="10800"/>
                </a:cubicBezTo>
              </a:path>
            </a:pathLst>
          </a:custGeom>
          <a:solidFill>
            <a:srgbClr val="6FCEFE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22" name="Rectangle 23">
            <a:extLst>
              <a:ext uri="{FF2B5EF4-FFF2-40B4-BE49-F238E27FC236}">
                <a16:creationId xmlns:a16="http://schemas.microsoft.com/office/drawing/2014/main" id="{3ADDE605-19F4-495C-9F8E-6D9BE1C6E0B0}"/>
              </a:ext>
            </a:extLst>
          </p:cNvPr>
          <p:cNvSpPr/>
          <p:nvPr/>
        </p:nvSpPr>
        <p:spPr>
          <a:xfrm>
            <a:off x="2323319" y="2315980"/>
            <a:ext cx="3362035" cy="6052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000"/>
              </a:lnSpc>
            </a:pP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lease enter a specific description here, the text as simple as possible, the meaning can be, do not have to be too cumbersome, pay attention to the beauty of the layout.</a:t>
            </a:r>
          </a:p>
        </p:txBody>
      </p:sp>
      <p:sp>
        <p:nvSpPr>
          <p:cNvPr id="23" name="Rectangle 70">
            <a:extLst>
              <a:ext uri="{FF2B5EF4-FFF2-40B4-BE49-F238E27FC236}">
                <a16:creationId xmlns:a16="http://schemas.microsoft.com/office/drawing/2014/main" id="{043CABC8-1D16-4840-835B-72A93D4539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05053" y="1555294"/>
            <a:ext cx="249381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9128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rgbClr val="595959"/>
                </a:solidFill>
                <a:latin typeface="Calibri Light" panose="020F0302020204030204" pitchFamily="34" charset="0"/>
                <a:cs typeface="Roboto Light" pitchFamily="2" charset="0"/>
              </a:defRPr>
            </a:lvl1pPr>
            <a:lvl2pPr marL="742950" indent="-28575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rgbClr val="595959"/>
                </a:solidFill>
                <a:latin typeface="Calibri Light" panose="020F0302020204030204" pitchFamily="34" charset="0"/>
                <a:cs typeface="Roboto Light" pitchFamily="2" charset="0"/>
              </a:defRPr>
            </a:lvl2pPr>
            <a:lvl3pPr marL="1143000" indent="-22860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rgbClr val="595959"/>
                </a:solidFill>
                <a:latin typeface="Calibri Light" panose="020F0302020204030204" pitchFamily="34" charset="0"/>
                <a:cs typeface="Roboto Light" pitchFamily="2" charset="0"/>
              </a:defRPr>
            </a:lvl3pPr>
            <a:lvl4pPr marL="1600200" indent="-22860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rgbClr val="595959"/>
                </a:solidFill>
                <a:latin typeface="Calibri Light" panose="020F0302020204030204" pitchFamily="34" charset="0"/>
                <a:cs typeface="Roboto Light" pitchFamily="2" charset="0"/>
              </a:defRPr>
            </a:lvl4pPr>
            <a:lvl5pPr marL="2057400" indent="-22860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rgbClr val="595959"/>
                </a:solidFill>
                <a:latin typeface="Calibri Light" panose="020F0302020204030204" pitchFamily="34" charset="0"/>
                <a:cs typeface="Roboto Light" pitchFamily="2" charset="0"/>
              </a:defRPr>
            </a:lvl5pPr>
            <a:lvl6pPr marL="25146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rgbClr val="595959"/>
                </a:solidFill>
                <a:latin typeface="Calibri Light" panose="020F0302020204030204" pitchFamily="34" charset="0"/>
                <a:cs typeface="Roboto Light" pitchFamily="2" charset="0"/>
              </a:defRPr>
            </a:lvl6pPr>
            <a:lvl7pPr marL="29718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rgbClr val="595959"/>
                </a:solidFill>
                <a:latin typeface="Calibri Light" panose="020F0302020204030204" pitchFamily="34" charset="0"/>
                <a:cs typeface="Roboto Light" pitchFamily="2" charset="0"/>
              </a:defRPr>
            </a:lvl7pPr>
            <a:lvl8pPr marL="34290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rgbClr val="595959"/>
                </a:solidFill>
                <a:latin typeface="Calibri Light" panose="020F0302020204030204" pitchFamily="34" charset="0"/>
                <a:cs typeface="Roboto Light" pitchFamily="2" charset="0"/>
              </a:defRPr>
            </a:lvl8pPr>
            <a:lvl9pPr marL="38862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rgbClr val="595959"/>
                </a:solidFill>
                <a:latin typeface="Calibri Light" panose="020F0302020204030204" pitchFamily="34" charset="0"/>
                <a:cs typeface="Roboto Light" pitchFamily="2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16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ea"/>
                <a:sym typeface="+mn-lt"/>
              </a:rPr>
              <a:t>Enter the title.</a:t>
            </a:r>
            <a:endParaRPr lang="en-US" altLang="zh-CN" sz="1600" b="1" noProof="1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ea"/>
              <a:sym typeface="+mn-lt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F00A4D0-17A6-4616-A578-D807D89E527F}"/>
              </a:ext>
            </a:extLst>
          </p:cNvPr>
          <p:cNvSpPr/>
          <p:nvPr/>
        </p:nvSpPr>
        <p:spPr>
          <a:xfrm>
            <a:off x="7005055" y="1874282"/>
            <a:ext cx="3362035" cy="6052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000"/>
              </a:lnSpc>
            </a:pPr>
            <a:r>
              <a:rPr lang="zh-CN" alt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Please enter a specific description here, the text as simple as possible, the meaning can be, do not have to be too cumbersome, pay attention to the beauty of the layout.</a:t>
            </a: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686B1CC5-12F7-4621-8C0D-D754A68591C1}"/>
              </a:ext>
            </a:extLst>
          </p:cNvPr>
          <p:cNvSpPr txBox="1"/>
          <p:nvPr/>
        </p:nvSpPr>
        <p:spPr>
          <a:xfrm>
            <a:off x="3258258" y="120128"/>
            <a:ext cx="5372946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66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pPr>
              <a:lnSpc>
                <a:spcPts val="4000"/>
              </a:lnSpc>
            </a:pPr>
            <a:r>
              <a:rPr lang="zh-CN" altLang="en-US" sz="4000" dirty="0">
                <a:latin typeface="+mn-lt"/>
                <a:ea typeface="+mn-ea"/>
                <a:cs typeface="+mn-ea"/>
                <a:sym typeface="+mn-lt"/>
              </a:rPr>
              <a:t>Teaching analysis</a:t>
            </a:r>
          </a:p>
        </p:txBody>
      </p:sp>
    </p:spTree>
    <p:extLst>
      <p:ext uri="{BB962C8B-B14F-4D97-AF65-F5344CB8AC3E}">
        <p14:creationId xmlns:p14="http://schemas.microsoft.com/office/powerpoint/2010/main" val="803274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 advClick="0" advTm="0">
        <p14:prism/>
      </p:transition>
    </mc:Choice>
    <mc:Fallback xmlns:c="http://schemas.openxmlformats.org/drawingml/2006/chart" xmlns:a14="http://schemas.microsoft.com/office/drawing/2010/main" xmlns:a16="http://schemas.microsoft.com/office/drawing/2014/main"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950"/>
                            </p:stCondLst>
                            <p:childTnLst>
                              <p:par>
                                <p:cTn id="19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450"/>
                            </p:stCondLst>
                            <p:childTnLst>
                              <p:par>
                                <p:cTn id="26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950"/>
                            </p:stCondLst>
                            <p:childTnLst>
                              <p:par>
                                <p:cTn id="32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450"/>
                            </p:stCondLst>
                            <p:childTnLst>
                              <p:par>
                                <p:cTn id="3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3950"/>
                            </p:stCondLst>
                            <p:childTnLst>
                              <p:par>
                                <p:cTn id="45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4450"/>
                            </p:stCondLst>
                            <p:childTnLst>
                              <p:par>
                                <p:cTn id="52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4950"/>
                            </p:stCondLst>
                            <p:childTnLst>
                              <p:par>
                                <p:cTn id="5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5450"/>
                            </p:stCondLst>
                            <p:childTnLst>
                              <p:par>
                                <p:cTn id="6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5950"/>
                            </p:stCondLst>
                            <p:childTnLst>
                              <p:par>
                                <p:cTn id="6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6450"/>
                            </p:stCondLst>
                            <p:childTnLst>
                              <p:par>
                                <p:cTn id="70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6" dur="500" tmFilter="0,0; .5, 1; 1, 1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Graphic spid="6" grpId="0">
        <p:bldAsOne/>
      </p:bldGraphic>
      <p:bldP spid="10" grpId="0"/>
      <p:bldP spid="17" grpId="0" animBg="1"/>
      <p:bldP spid="18" grpId="0" animBg="1"/>
      <p:bldP spid="19" grpId="0"/>
      <p:bldP spid="20" grpId="0"/>
      <p:bldP spid="21" grpId="0" animBg="1"/>
      <p:bldP spid="22" grpId="0"/>
      <p:bldP spid="23" grpId="0"/>
      <p:bldP spid="24" grpId="0"/>
      <p:bldP spid="16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C6002DE4-0B35-4ACB-96DD-668FCFEE0D7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-4294"/>
            <a:ext cx="12202211" cy="6858000"/>
          </a:xfrm>
          <a:prstGeom prst="rect">
            <a:avLst/>
          </a:prstGeom>
          <a:ln>
            <a:noFill/>
          </a:ln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0B31D1B4-30DB-4C87-A153-EF6EA5C3DE6E}"/>
              </a:ext>
            </a:extLst>
          </p:cNvPr>
          <p:cNvSpPr/>
          <p:nvPr/>
        </p:nvSpPr>
        <p:spPr>
          <a:xfrm>
            <a:off x="2255573" y="1374674"/>
            <a:ext cx="8352928" cy="4224469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  <a:effectLst>
            <a:outerShdw blurRad="152400" dist="762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cs typeface="+mn-ea"/>
              <a:sym typeface="+mn-lt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0DFD6F58-1456-4565-A7FA-4889094FD26C}"/>
              </a:ext>
            </a:extLst>
          </p:cNvPr>
          <p:cNvSpPr/>
          <p:nvPr/>
        </p:nvSpPr>
        <p:spPr>
          <a:xfrm>
            <a:off x="1679509" y="1374673"/>
            <a:ext cx="7488832" cy="345638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77800" sx="103000" sy="103000" algn="ctr" rotWithShape="0">
              <a:prstClr val="black">
                <a:alpha val="3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DDC0E3D9-958C-4060-B1A9-C07ADD40EEA3}"/>
              </a:ext>
            </a:extLst>
          </p:cNvPr>
          <p:cNvSpPr/>
          <p:nvPr/>
        </p:nvSpPr>
        <p:spPr>
          <a:xfrm>
            <a:off x="7655562" y="605813"/>
            <a:ext cx="2210519" cy="2210518"/>
          </a:xfrm>
          <a:prstGeom prst="rect">
            <a:avLst/>
          </a:prstGeom>
          <a:solidFill>
            <a:srgbClr val="D00000"/>
          </a:solidFill>
          <a:ln>
            <a:noFill/>
          </a:ln>
          <a:effectLst>
            <a:outerShdw blurRad="114300" dist="38100" dir="2700000" sx="101000" sy="101000" algn="tl" rotWithShape="0">
              <a:prstClr val="black">
                <a:alpha val="3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241CF7B9-B014-49C9-96C0-4A630E09C08D}"/>
              </a:ext>
            </a:extLst>
          </p:cNvPr>
          <p:cNvSpPr/>
          <p:nvPr/>
        </p:nvSpPr>
        <p:spPr>
          <a:xfrm>
            <a:off x="1980688" y="3429000"/>
            <a:ext cx="3299221" cy="1384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933" dirty="0">
                <a:solidFill>
                  <a:schemeClr val="bg1"/>
                </a:solidFill>
                <a:cs typeface="+mn-ea"/>
                <a:sym typeface="+mn-lt"/>
              </a:rPr>
              <a:t>OF THIS SCHEME, WE THANK YOU FOR YOUR READING, THE PROPOSAL IS WE UNDERSTAND YOUR COMPANY FOR THE REQUIREMENTS, AND PROPOSAL INFORMATION, THIS PAPERS THE SPECIFIC. REQUIREMENTS.</a:t>
            </a:r>
          </a:p>
        </p:txBody>
      </p:sp>
      <p:sp>
        <p:nvSpPr>
          <p:cNvPr id="18" name="TextBox 18">
            <a:extLst>
              <a:ext uri="{FF2B5EF4-FFF2-40B4-BE49-F238E27FC236}">
                <a16:creationId xmlns:a16="http://schemas.microsoft.com/office/drawing/2014/main" id="{CEE4B56E-805F-42BD-B0BA-A50E9420F11C}"/>
              </a:ext>
            </a:extLst>
          </p:cNvPr>
          <p:cNvSpPr txBox="1"/>
          <p:nvPr/>
        </p:nvSpPr>
        <p:spPr>
          <a:xfrm>
            <a:off x="8122816" y="987799"/>
            <a:ext cx="133996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8000" spc="400">
                <a:solidFill>
                  <a:schemeClr val="bg1"/>
                </a:solidFill>
                <a:latin typeface="Agency FB" panose="020B0503020202020204" pitchFamily="34" charset="0"/>
                <a:cs typeface="+mn-ea"/>
              </a:defRPr>
            </a:lvl1pPr>
          </a:lstStyle>
          <a:p>
            <a:r>
              <a:rPr lang="en-US" altLang="zh-CN" dirty="0">
                <a:sym typeface="+mn-lt"/>
              </a:rPr>
              <a:t>02</a:t>
            </a:r>
            <a:endParaRPr lang="zh-CN" altLang="en-US" dirty="0">
              <a:sym typeface="+mn-lt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23FC91EC-A33E-474B-8946-3468139A7936}"/>
              </a:ext>
            </a:extLst>
          </p:cNvPr>
          <p:cNvSpPr txBox="1"/>
          <p:nvPr/>
        </p:nvSpPr>
        <p:spPr>
          <a:xfrm>
            <a:off x="1775792" y="2198027"/>
            <a:ext cx="6162260" cy="6171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sz="6600" b="1">
                <a:solidFill>
                  <a:schemeClr val="tx1">
                    <a:lumMod val="75000"/>
                    <a:lumOff val="25000"/>
                  </a:schemeClr>
                </a:solidFill>
                <a:latin typeface="汉仪粗仿宋简" panose="02010604000101010101" pitchFamily="2" charset="-122"/>
                <a:ea typeface="汉仪粗仿宋简" panose="02010604000101010101" pitchFamily="2" charset="-122"/>
              </a:defRPr>
            </a:lvl1pPr>
          </a:lstStyle>
          <a:p>
            <a:pPr>
              <a:lnSpc>
                <a:spcPts val="4000"/>
              </a:lnSpc>
            </a:pPr>
            <a:r>
              <a:rPr lang="zh-CN" altLang="en-US" sz="4800" dirty="0">
                <a:solidFill>
                  <a:srgbClr val="D00000"/>
                </a:solidFill>
                <a:latin typeface="+mn-lt"/>
                <a:ea typeface="+mn-ea"/>
                <a:cs typeface="+mn-ea"/>
                <a:sym typeface="+mn-lt"/>
              </a:rPr>
              <a:t>Teaching design</a:t>
            </a: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8E8B6E05-31A9-41F9-80B0-911FDFB1F350}"/>
              </a:ext>
            </a:extLst>
          </p:cNvPr>
          <p:cNvSpPr/>
          <p:nvPr/>
        </p:nvSpPr>
        <p:spPr>
          <a:xfrm>
            <a:off x="2772230" y="3515783"/>
            <a:ext cx="4686031" cy="605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zh-CN" altLang="en-US" sz="1050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  <a:sym typeface="+mn-lt"/>
              </a:rPr>
              <a:t>Please enter a specific description here, the text as simple as possible, the meaning can be, do not have to be too cumbersome, pay attention to the beauty of the layout.</a:t>
            </a: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98B2FC46-A089-4BDC-97CB-94226A8A2FE2}"/>
              </a:ext>
            </a:extLst>
          </p:cNvPr>
          <p:cNvSpPr/>
          <p:nvPr/>
        </p:nvSpPr>
        <p:spPr>
          <a:xfrm>
            <a:off x="2284601" y="2825874"/>
            <a:ext cx="54775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b="1" spc="4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INSTRUCTIONAL DESIGN.</a:t>
            </a:r>
            <a:endParaRPr lang="zh-CN" altLang="en-US" sz="2400" b="1" spc="4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71240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 advClick="0">
        <p14:doors dir="vert"/>
      </p:transition>
    </mc:Choice>
    <mc:Fallback xmlns:a14="http://schemas.microsoft.com/office/drawing/2010/main" xmlns:a16="http://schemas.microsoft.com/office/drawing/2014/main" xmlns="">
      <p:transition spd="slow" advClick="0">
        <p:fade/>
      </p:transition>
    </mc:Fallback>
  </mc:AlternateContent>
  <mc:AlternateContent xmlns:mc="http://schemas.openxmlformats.org/markup-compatibility/2006">
    <mc:Choice xmlns:p14="http://schemas.microsoft.com/office/powerpoint/2010/main"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afterEffect" p14:presetBounceEnd="64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4000">
                                          <p:cBhvr additive="base">
                                            <p:cTn id="7" dur="3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4000">
                                          <p:cBhvr additive="base">
                                            <p:cTn id="8" dur="3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 p14:presetBounceEnd="42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2000">
                                          <p:cBhvr additive="base">
                                            <p:cTn id="11" dur="2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2000">
                                          <p:cBhvr additive="base">
                                            <p:cTn id="12" dur="2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 p14:presetBounceEnd="52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2000">
                                          <p:cBhvr additive="base">
                                            <p:cTn id="15" dur="3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2000">
                                          <p:cBhvr additive="base">
                                            <p:cTn id="16" dur="3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1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22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4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5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6" dur="500"/>
                                            <p:tgtEl>
                                              <p:spTgt spid="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7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28" presetID="41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0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x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1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h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w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4" dur="500" tmFilter="0,0; .5, 1; 1, 1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5" fill="hold">
                                <p:stCondLst>
                                  <p:cond delay="4650"/>
                                </p:stCondLst>
                                <p:childTnLst>
                                  <p:par>
                                    <p:cTn id="36" presetID="16" presetClass="entr" presetSubtype="37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outVertical)">
                                          <p:cBhvr>
                                            <p:cTn id="38" dur="5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9" fill="hold">
                                <p:stCondLst>
                                  <p:cond delay="5150"/>
                                </p:stCondLst>
                                <p:childTnLst>
                                  <p:par>
                                    <p:cTn id="40" presetID="37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1000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43" dur="1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4" dur="900" decel="100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-.03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5" dur="100" accel="100000" fill="hold">
                                              <p:stCondLst>
                                                <p:cond delay="90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.03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6" grpId="0" animBg="1"/>
          <p:bldP spid="7" grpId="0" animBg="1"/>
          <p:bldP spid="13" grpId="0"/>
          <p:bldP spid="18" grpId="0"/>
          <p:bldP spid="19" grpId="0"/>
          <p:bldP spid="21" grpId="0"/>
          <p:bldP spid="23" grpId="0"/>
        </p:bldLst>
      </p:timing>
    </mc:Choice>
    <mc:Fallback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3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3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2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2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3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3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1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1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22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4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5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6" dur="500"/>
                                            <p:tgtEl>
                                              <p:spTgt spid="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7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28" presetID="41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iterate type="lt">
                                        <p:tmPct val="10000"/>
                                      </p:iterate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0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x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1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h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h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3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w/10"/>
                                              </p:val>
                                            </p:tav>
                                            <p:tav tm="50000">
                                              <p:val>
                                                <p:strVal val="#ppt_w+.0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4" dur="500" tmFilter="0,0; .5, 1; 1, 1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5" fill="hold">
                                <p:stCondLst>
                                  <p:cond delay="4650"/>
                                </p:stCondLst>
                                <p:childTnLst>
                                  <p:par>
                                    <p:cTn id="36" presetID="16" presetClass="entr" presetSubtype="37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outVertical)">
                                          <p:cBhvr>
                                            <p:cTn id="38" dur="5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9" fill="hold">
                                <p:stCondLst>
                                  <p:cond delay="5150"/>
                                </p:stCondLst>
                                <p:childTnLst>
                                  <p:par>
                                    <p:cTn id="40" presetID="37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1000"/>
                                            <p:tgtEl>
                                              <p:spTgt spid="21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43" dur="1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4" dur="900" decel="100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-.03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5" dur="100" accel="100000" fill="hold">
                                              <p:stCondLst>
                                                <p:cond delay="90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.03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5" grpId="0" animBg="1"/>
          <p:bldP spid="6" grpId="0" animBg="1"/>
          <p:bldP spid="7" grpId="0" animBg="1"/>
          <p:bldP spid="13" grpId="0"/>
          <p:bldP spid="18" grpId="0"/>
          <p:bldP spid="19" grpId="0"/>
          <p:bldP spid="21" grpId="0"/>
          <p:bldP spid="23" grpId="0"/>
        </p:bldLst>
      </p:timing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ULTRA_SCORM_COURSE_ID" val="3BE8E91B-7BE9-435D-97BA-259945A18F8C"/>
  <p:tag name="ISPRING_SCORM_RATE_SLIDES" val="1"/>
  <p:tag name="ISPRINGONLINEFOLDERID" val="0"/>
  <p:tag name="ISPRINGONLINEFOLDERPATH" val="Content List"/>
  <p:tag name="ISPRINGCLOUDFOLDERID" val="0"/>
  <p:tag name="ISPRINGCLOUDFOLDERPATH" val="Repository"/>
  <p:tag name="ISPRING_PLAYERS_CUSTOMIZATION" val="UEsDBBQAAgAIAESUV0cjtE77+wIAALAIAAAUAAAAdW5pdmVyc2FsL3BsYXllci54bWytVd9P2zAQfi7S/ofI79gtHQOqBMSQ0B7GhNSx7a0yiZt4TeLMdgjlr9/Zzu+lbEh7aJWc7/vufPfdxb96zlLviUnFRR6gBZ4jj+WhiHgeB+jh6+3xObq6fHfkFyndM+nxKEBlzg2ApsiLmAolLzSA76lOAtQzYGBGXiG5kFzvgfsUuNtIJ0v07mgGLrkKUKJ1sSKkqirMFSDyWIm0NCQKhyIjhWSK5ZpJ4tJAXoNd6b+j4ZeJnOh9wVQPWei3B65JWo5nxQck1RILGZOT+XxBftx9XocJy+gxz5WmeciQB5Wc2VI+0nB3J6IyZcrYZr5Lcs20NklY28zXK744zz0lwwA5h03GlKIxUzjNY0QclkyA/W1KVVLzqAGt4VU7XvNav4153zRutnOkcy7Kx5SrBI76kM46CfTJMKqf2etaBT00Cro1TMiT7FfJJYvs67dWjPMFcgFbxdk8sapCOICnWxpqIfc3AAMV1R3EbdOwaxq2oJYDt9HXHQVqbrtlVJeSNaWa+U88YuILlZIaWVxqWTKfjIw1lgzBPnFXrpvUNcRPdJae/kNvjN+oNT/Va52xgP/RmE9A1NaE5xF7vuXgo1kGNdUMim1sWBcpNjG7nFT5mPV0PTC5HOumwEU8TWXMYAwjqinp7OQQlEmqwCUs5QjbOzgITnicpPDTkwzj04M0GZW7SYbewUFwKsLdBLQ1t2Uk4zqOxNQqyCcT68QPS6VFxl+sPAd7Rq+sDl8buebouuDtwdn8j1EcxGgGc4smVpd56u2r5vDezKlWnc+mcJaBWmEemC4L59XMQlmMfCK2pWWqb/o5NfuwBx3lPDUd01zfQe+iWvMX5lU8Ml+6xdLUJGFGMwH6cL7sMUA/YbsMwlvToYhbkTd1wJjYN/dvK9ps+bp1ruuHOuxDDZ84qxzGzdRHUEcsRZlHox7iovuIqBR22rVk1EvZFm60OAGRiiJA7+GhvvPF6UV35bPFRYO1ed27wC6XN6z0OuFOQaTWdXsRv94N8PgbUEsDBBQAAgAIAHeM90qHb5M5aCsAALNWAAAXAAAAdW5pdmVyc2FsL3VuaXZlcnNhbC5wbmftfHlYU9farz32aAcErRYSgaSWVq2VxBglIJDUOtDWqVY9DgRSjCRYIRgQCJChHlvGQLRVoqJE5VhnEKIkQki0QLYaIEKrMSUQyS5EDBA3QxLIdBOwRXvaP+493/fce59PnocnyV7rXev3vusd91575X6+PmLaG7PfmDRp0rRPP1n5xaRJf8dNmjQ58bUpriuv3eif7Pp4JfmLiI8nlTX79bh+vEpdvm75pEkVvDdtMX93/X597yfbkydN8qxz/78CJJ7fNWnSPz75dOXyzYzovvZE3hXqdmdM9Ez01z4ftc47/iWZudOEJd8NSHhj5aw5h1d+cHT2vz77+ptZf3/d+63XTue9/jEm6NS0Vy4F1k96ZUbeJx9c++eg9WSd9G57jf6E6vhSrD7aEA3MC6mkUuzHlgqpZRRODcW49UTg6IiSwzb9+Cb6RLjTNqhnD3wvmOT+02DIl7jti02KWHRhMT0mley++PWKGaHdj5kam1rJLoqe4b706F59STqe5tA67aSMv493erum+0Nb8DL3j73xO1XMhg2c0Z+GPp5orHxzbA7Pk/TBSQ2EBOcNJQtVy+0btHq5rl71BbtfWUw7GSRzujvV3CiiD96aimTmbmA92SQ/9uFjmAjvHFHKGtNk1vah6si9x3hGCEASZA6V1HR9aKD4AWRFas8hR25HtCp0fT5RQTPNme0CEWOhYjB2txYIqWdpLmipbuxPymI1zK4PSemmUZXM0XCr83o5q099JVLUHKs69wBDs/cIHD0jr/kHRNtGb3mxn9oSNoRBKzPsoZ12I8d5fdoGqKIviaS1deOU5TXDdKyUWpfxtEAF9lnZRnlCubUCDTRtlY3e1/MSJOz79MG5CLRr2nv6X+RNwx9ND7izJ3rw+GBn/Ehqd7XrCsOnjuKRpxC1f1rj+V3Nw2GpbhlmiMJP6ZmNA63J4Z5yA/kjopS1FRfuXRiDrYlHyte5Rgum4YJoWbAN8ukzAvSXoocvDhqyYJ/Lh3WVDBaxyo/YYZaaay2m6crp/vwGg8IcWtL0Nhp4LclpNwtI8zoSJQkeODABrLLiq4qTzsmbGOEdCDSPus8xInCOjLTtvFwoalCsIOJpvvwCg7wc8rhN385sLhL5Kj0L2uqPLitZWi2JTy+Ggi9ZtxMeMKytA2xdF49jA9EdGyROp8PoZKsBH1VBG9c6zR9MVInh2kjDjGSmdqEWod0EGgjSDXLztjC5OJop4FnzSQCZpy0XOyysPEOh9XUw84MaASNzbhmuw/lFWGRYjfGqAV4p4TEWqlVu/du7jfYr0LrC4++YeO7yD6b82AWr8sODlZjVXGR+wa05NF80z9AQq9iYRERHe4IsQIH5J9cgt9dbC1UAOceMW93IQrSJ+9c9dsnYWMRVNk0/oLVsA+751G0meiMzuUzM3+Rd0B4iHpXPB1XiXpJzmKQk8figSUH9WB4LsuXWHFFDLMTQVdLb6U5oAGXGIgzi5tYBqa7Lsg2E5H3kq1yzS/QpRXXbiN4qf2Qa0duYSGTPdC05A6kwtliWSjvAPsg+M9E1hTVGg8ID9Db6dokf+TFDArLBwVkiX3N4NNKMlSJB8zs1gvxdIEVjHsgM7Sdr0iROsVENf8uMaT5wFcF4xWVhdfuugBSPv2H8vmFU/Qyrkb/zVsCPi8p8+cD56St+hPllwd7TZShEDQbMCbkCxAOxdDtmZ729wPCtuH1UqhvTg5+X0soaGMEldPjkjqQ4LoRG8SricpbHeXDoVhhfbhyZzgfa+KJ8q78zboMGEPeLBVCGxE+l7WIX8ZYKJeVdik6sYKQx/0CshBX2AyM95HwW5iJKm9q+DGiySP2Vh7kkcA+hQ4owyV+D66qgKiiJ6VVgaDDQBZBdaNuRY2xgWMW8Rc25vWzUW7w94TR5m/xqSP3B2eZaA3zxlFaxY3QPzK39RNwAuQezc6Hg7FJ5PmzOA90A7JD8ncXyQzBYEblrejmv7YrWODBKP9mVoCr3cjE3bCeeK6Mnhzy9ciUbwLwjbyvaCeMqyLMKXlncn8YthEzi9WFWOqsGVvnAGFDfx0fzAJiqptF+OdC4x14B9K2Q+CUizdeZ6TmiQCS47rEfjjzLT3sJ2sPEg31udX5Afs1PGwCFz0IDsWAmVUPNUYHsIiXDk94GEd4o0i1T24nv0YQOfKHoCoEEZtQNVDLCUS6Vshe2ycm5ACIxH6hGrB1bymQyR0/hvgrCN2GO1qcUlX4pCaNh2f6JvsrHb2DmFrZ9I1ZCVcPWKE+4YcZ7U44PY8Uu/heZ0uPBalzndKAJamzqStElv1VKCQOTNFslgWwZ6AC7YGHApGX1CbpKBbeYXyu43sW6QjDly5vEzmFtBVypIcr6qlMKi8EuCz5nOTqaJ+JBiSMLgekCo9gh7mCkw8y+usxYZonQKLMsy1UIrTduj1qX1bPKOU7Qlivqy8iqB2G8pYitxHkI50Cqa51udt6ooGOz/smwMkybPOYpDsWEpNbnXPXDy4VSOYvb+e7qbHE/g0RHkh/D+FFLaHJWfRe9FhqFJbuZGS7emwNSuDvoxdBI/nJsyWk4mcT9mq621GCBFHAZ3S6OJs5D5ZPA4Sh5E+Rxj9VPTRiBUCRPn4LiOVmN0FI/XsCUDnp7catLkVSZzJO8FnwH3sVv/EjtDDSQAA4iVPl8IDaGJQPZuuRqm8M9loVJNScfitcQtWZGOIKs4WjMlnB/Y1qYHGKAZCSPqgGCke6YVpcS6LI4T/K2bXm33plSyAhBIQkD8KIDMUTvFT+K40N+qL86q7ROHM+dBaaClWKWREZP1zgHquesPkQn0O3QUTMrHneWrMlTNsHewEL0csEHIQ7pHdhU4GkwagwXk7aCux/sw3gXmotreV1GNSwQiMs4Zt0eyZYYeOE0AiJRwkonQRkex0F7c4cy5bHFTmIrXY5Vgs+qZVgtiBw+oOIwywuMPQwmXQ1DZ3fZ5WJYOY8uHnVEapWrKo2GvS2s7Cce2/EdYiP9pNgxgB/jbV8gOFd1iazR7R2xT3VdeVjgCtpw0fpiLcfd3g7DeR2kG679VeMr7s/SXZpX3bG88Dv6TPdn8GdjoWvSo/nwv+pQbhngy5hTxnMIbrH78+bGxbS/ub9E3BG/7v70ex+cO9bh8H/Y4V73hXMlyzK7j1GbS1gmNfbTPOE7zd8E+1ZiyfKxjtcsd7dKk0y2QaW2ZMl7PfwG9XTqytTUzWPDfpSPdDzNFlE9Ps1Ip6/eRY1oGKc5+K/tavVGzNiMge/t/sfv/d/89PiRk/5vj0/98XeU2Jck/2+Q+EcQRlt4zYj0Xw8Jrf01Rk17mpaVqopK8z/MWAtCDeQC4HLC4YlRs0ncb8ya5A3L5iMqGY1Tml9o0072CjtYmA28g6gplPX2nh+zha+9l9k8oYh7aW/zWAIEa6ilDd0z/W5zYd6Y3sedrkP7TuPdic2PSRa09XQ/35AY7o0oVizJalJ0rMdFPoeZrTi99wPHqoF5JQyd6Xo/cQPBPjRCvoMgP7zedTX9mGsYxfPDhFgC/XeoyR411xBBabUnM16cY3Ra9j9MsLrL8Q81XalPPgwNXTBmqae+9ZTFW950t624v6qOcq/zBSkE2b5d8WEmt/PMxRjs470vsuP48fSRcPnBpb5BBzzPPS+Gyk60nxuIIRX+V02KVP+/aipVeBQvz970vBzUT308r/Rish5X/hXAGMFf4bv05wRbT9d98CcyKP/4T2eO/vZPsUre8F8/oXD7LLF1pOBrlQAMwXi0f6gPu+xEpbB055j/2/H4qSJLtjculodZafU48ectXFTo3id/ysTV3sWTz/2VkP2DU4InbOBeJ38ap/PeXQT59i+xj37+i+Wk/NVwW+7fvPCnkqm7nD9l/Z+zm/qB7x8giBD2rAiXsZmW9jN5+NG4UVhd2ZWpfyAPnCoj7ztW9EckRSs6MdXx5D9A14abNYOVt55uqydrz8H+MJ35aZ3XubpOTA5QBqKfx460P46gimjtnwF1K7x5IX+w18Kd7zEHi7UnCnOy5yMuxSSH/g/wivtYLH2oNiRTlzsvunuWyyey9zkq5OXbwYE4laHneeUzGDqzkfgaQ1lNdPeDK5FUt/fp2+P/D+hoeSnsfaPU2i8cW+LI6B0Sgdun2rosJ4hLvpS3gUn+/3h+xgJ68nYuG/Ok4WlaTpT+oOXmZK8T7cnKcBEpczfmKX70cakevVWpWUJDUJ4niwUpQw/JvJOy8JJaOKEaEUCSBJYRSm7BZHLDCmLirBVfaijEKsQUPr8BO4/P51ln8wGrf4MBEstTzjyh11tzeTHEKhQq3xrZMTfPSiysMVijOvQWYoGOnMvbTcRPaW0ZIL8JDl4wBE4oTVk5TFVJx065wcj0SJxT0gDTwU9iugs2Pj2djVgm49FHYB+A6oOJ7MFiJdpX+TdX/ffUp9xVa1kZIWWhedZpdI4rxWJ6nHAViOWYt5oRERIjI5wdJeXFQtvAKoVrNLqglIEkf8MFFtOwHVQiPs+MRfGsuQo5TwqAs3kYFBLJYfpVdzznIkbz9idwv12DERcgVYUb0WVCZvdO7rfgQAus94zYAYOVMjI1GySB/ZkhfnK7fBhgBCOU88t8jYmz+DwKLwDF21+xIEsjbooLk3cBNUymomJpXmdS2A/QjR3RCDNSlGuN4izcGPZguG3f8AvTxgS6cklVka6PfMLvQHslvVjcMT2ALAnMI5Hv5VMxcrFIWg4bKRK5byBsJOKz6ud34PtxO/BFUQhArM2fTe5mmHaFdXRZ8+Xk2St6q6EqBgkaGIDqgWU0QXhJ7+ClS/wJrVWpYODFSigwmkddiYqQTK97FMf9ht7OoOzSKMXlw30fE70busCu+ajIwgIFsDjTr4Zb3DIA3AODFLyA2bzdYY4UMAGSyrERqp2wpTTTcwah2uqRIIwJ9NXuvBnp9TVU+nDOasnw1z6l0WH5yWGD9JEA7UZbnJnRvYsoNYi3hxfGqejYDjPDRLFV01x1bpF+FOLxPsgDKm0zzPNpM3lz2AWvpNjJA+qEFyX2S5qG2xbIORzKjvJ01TGMubtmERbgV8thfuCwOHoWGE3kSPD91FmiSF4xJquw5ekZYEbfMtpqEFDzeZnXJErYvBUS53RRvqLUVZook25yN6aFOcQ8MVOz1RUalQVl5RMerFq6cxvRM3s7BkZR5S5Hra6dfqB9AH6YXswI0omZIR0Nk2AHtOKFZTj5nfkdqoFhsbbrEawuhkgNCxVm+NFrugxbXOoqM1CPrFYA19g2gzKGmOhRMgeV38bV2etBrkJHVso3R9VOTPndkudSh/eaJvzFnE+FE3L4pPXyS5L/sSRh1l6hSP/mH4omxpML55rZJqGgvQTzb4VW8TwBc6D3hr6kJpz6Sat65Nh06opUSuP/eZX5v9fh63+QrL+omtlPDyBPhLvQ64daoxmd3/oQcFD6KM9p4Q0NMuAky48+zXhbp5cg3PLoADWRY21T9teaO5ryeIk5vBC8qTf5x6BxQQVhHvQM2H+dRwjJdHHdquxpzNRaO/a9GvZ2IqPOt5kwVa3PAqnj0nKnIJLw+7sFJngweOy4+lFanm77CbU+B6SMd6gPPnfpbUKl40g58327razW2m5cHyHdZMrdwHzXTqRLnsX/qA1QqV2tT+tpiUCuA2o3+RDOlLCkwdG/xzWXiBfb/bwinREHynSHIhCfEqh+8353jzb7WbU+uF7mWVKQYfvYJmab0sFg+G9+xl08DyX7rbeTIrQNPjJLw1AyAP0WqWujhkp7EjN+Km5dziMNlPa0xYwD721Lkw6eFLrLF6JE0usuwUbaBOzRnrbEkVUGEVAO4hfT7RD7gZGsFjvi7KOPzxhiL5q3DtcaWcZYAchyzjmdJgH99YQyuxwnpZ8TZVuNMqetcrqq5nHlWiLCfCwqaKFWP+rQDXdZay5bQj9VCUILvx9XSbpap05xVXlmdVRa+/BbXuFD9/r22HYu4YrctZ9IO5D/IJFH4psrvFUcS2e2klRIQn9F5CyJ5m2kq1epFJuN5U++9YlmuKSSJYtvLIYHPAV5hBIpK10GDWCVYckOUyzkAN4Z6dnAGTVFDuoGxIKLEJ582/ZAJE2xXpH1rkCO3svn7UZCad+XETh+yHFZ6xY3XIXXkbjFGMc0cq8fWVcGUogcDeB+OIHOfLR/ajQzMixzMbvAJSCft/nZLa44sDXMmryvZVhujcwDqhM3hA//vAYPuFWpdU4iZaRR1XXwBgIHwo+XKl0Gpg+IhYEgLAIcBSvpSMjAiCQizsA+A9r4ciEWOLisA2EMyOi/oS8b8mi21HzKnxBZxR7MksIZgxUAosb+gDSrHGgjn+Km+uP4BVR6WUQDbDbYBxlWNXTFLIn2UlAPR++rNdBGSnswr1EDOlBFIMXjiEHEoydzj2LiCw3fwODkeO6DA2SP7zbaqplWGA5kLdRKr/l9xE/k8XA0kYNuUeTIivcx+39T0oayAmpC4SvJ7YzuWG5k9mJaIbDE4WjML/MxJvctCOQssd+ailwbIYnizkgOW5Nku21O0hDxe7CZ8l8Zq7sAvKmCL2EF0eRfzkajC1oWsxtZ3B9AeAl9ZEtJxY1ZysdR7IIk5rM7O1G+AeSgtasV9MW7VLWP+1rWcYtB+FnQHrWvtnFLPnKdU+cjO1qYVjM7gMI9jpmbBfPmgxRYrJnekhPiixPq7IWGhnvpMzl6Sg5wkHUlKey3cUPldGyGy6aZjgHYMqGhAJDsu6+L+Kl8IKAnJmSnHIsutbQMFtKFGd3do6NQ772ue/DESJKxciesWRod4vm7JOh77byhldCoxRoMdsGmgl0rYDhA+/Yy9kr7GUNUGsE5olR2OEyic3XtZUUBFAl+Sj1EfgKZGHP1833fBlgSp93IudNGBbsHth/f40pK20fxZEbBA2e1Ff/iXLGzJ8fY8rsVumGGNemaX10nTHWGXht/XnKBjp1txtR0pIgQTtSecFphJ31JB94R3QQjuDRXxEPO4Ml5Qp4o+xK3GKIXFJlDS6Jmk7YqDMaArM5h1QKgbtz1i9diGAXUuA5Xzq8/sMs226VY/BXdsA9XSCTMcGuFUS0+ltu2EhxuGR2OC2vuzThG127tuaj8ksgrjgkLXTw7kbefPnK5Wdw+YH7XmrnIxdKqAsNWo/Fiaf/Tb9HMOfbjXU+fuSp+ILuXGbK5cM5ee+mTloyj3P0Y36DSbETGYxu7KGD7LGdSqiR8pihXbigdNmyUaPPL+HAz64gO/r06TnQJMu9BOcsUsMXAUbEjdBG/jjqrjmwy78qChYH4B3VUl51yKEQCAmDIH8+fojTMDqpzO/ahPUV1z7z5Y0pNc4XxZ0nPusTPZJQQ5jPvS6syWICU9dvDknHW6q6rv/nVkQfOo141+bLJS1646nhS7ljg3380s8634yC7PenhMxffzoS8oF11/jUj9fPwh9h9SeJnDcNDLp+z1EUxWNoDAONC/3yDwN5L/amz0EWVT1orY4esfQYmI6P7GLW1pbA9bOB2QI8KnX3nGQWJY6JyijzTGt0B7oUGHsHBWKap8CUcZ4f9Vm/uMPcKlSXOLW+4/NHmDFrjbznCvo1KgtOm3iodODI0kTlsHq5DOhaF/7ckHJtrn/74JpVgueXVXJLefUzotCmdrwbNlYrAzDCp6tJzHe0qjl2ldj/EFOoFHIcp8r2EC5aOQiNkiS6fGHzj28re767ZKVrDRD16kVvcuns8iyj84gh907KCMTnc3HhxMe2zc4fGCIM/2yJf17Nk/FZ0xIW74g9Orh7D/mj+FjjubJ3xHMHeo565IYxuglwYVglGfz7XXMIcuNOmOkp9NvT9lIJi7egDUfS+eflm5IqD14449ByHvpdlzNSqV3iFHx41yByGNtVl7LNZniwAKdwcgdOmV04tgpF27solgXBK2hnYfl1FfXmrd56xwiLNKzcASI7t/ToW8yQgxIGVSmY3VqTNoP8GLypWw52BlR+Jxdysf5g0r+TWyHA5x84kHqlqtbCr4yTEQoHQGDIWwfYevli2mCbXWn2UGqJPIskR9TWmuv6TmQ84EV+GWeOJ3kWT1xG9VUgRkt9wambdE3d4ZmhdZmJutX5feCUbybYwr5Lw5OQoZoFxoHfd74OONjbBtuhU+XK+y7+cgpPJRIIc2BhmWFgfC1aXirWw+J2a3JbF8mZYkttViWUMOWWWKtc624iO9mqt8CZpa5jTjEnhz6FcrZAlJ4cnyR/D+IFOz0axw7LRxHjQNQr8Qj7qp6zivoKNRop41kIzVt44v58clrkE5YuOAOEJrRXj2df66PtbgKY421GGxyGo8Q7U2NglnJ8N+7IoYK3HQYWC/C+4K01jj5D1UJIk8MMp98R9A9tP0zk+UaRlWToDTlp2CbkG6ZwZE9JLHTfv0s3XjWJ4XecA/FgpFABu9ECBAMAvUjZyobkd3pObLBjzfPmJ4fMzVbK4m7ltwMHqhat/Vj8K8E+CajFSXqXOSvY4pYghKMZM0+/sRRbQBNu0k0v0WaGA7XxA+BixYi13KSaPQt5FDCq5D58cp2Fvdy0HvMFe3ya3l009xeAqzGh/MlniRzKUwrBg5nzUm/Tari7DbwrtrmHnYOSAZSMEe7eO0d3FoFBsrOPkva8rOrFlviKkMiifBFaRJUTPk6UM727YSuBqSH9iOLPQGlkYDm0TWokdqDKk6lj4m+ufLJDOBTN3c48e+erRkmca+5WWjp1yGLMXlX1kGLuUX9qYtJKrM4GVroThqZ9ySoEB5ZQ2xXnwwCC6lnw7lw+cn90Awur08/uT7VViWRe50LrN61TrnFmkc9D1kHpVEpO3UDa1btXkc79ZobWw+DvPUkYRlPSIiA9wxZMJ67T4TtavqqP8Z5b80+1n0l8A/rBv9m8LO9yIVZ6wWwCC1H78X4HeWhCqjZ64BXHGnU0GW/vTZJmOy6gvi3V/8E3/f1SAwpLM/htCmb1NFm7Nl1nyhYTRUsIyd6Ca5HfDEl1o7Blzp8/dcbwoNdcaT7ZnGmupZk2y19WNUDhCa9jyXAf80/1e/yK/djXwRXndFQZ1Lqk3Z2yZeBx3Mf7VV6ouLPgd9KotQV9Patv8HNEC349+LLfdLb9KVxtD2/7xYsvHXJLW6TCrz/NYveSef2//Jz25jVt87g8TvAp2V8FxGza9gGPS6/KmBCyt5IeLE7LZop70Fre4jaIJW/c8e5WvvAfDiZrE6ccvPheJYid/sohGK6YPLtkycav2/N0pB7/UaILA7t0XnwtHR6a9c0t8I0He9NPml4BfAv7/GfBWOI7gMvcTChR49d+JqlzBjMf8NUBPwgks9fNaFSHx/44iQUAfJDm6SM1SqCDxhPMrTdj6P++UkJjZNlKOiZ+N4/0J4zV3tTd2a8Ki/zM2qwx+OI7TzNE+TH/v32natsibvJiPJuvlBshrmstp2tvWlNXF/LlcQqJfqshLwC8B/98FXC++k2r/pdy+Y9TaXPU8wGpzR+ZPM159WPRiqTi834v5jv/HXyfkGoefn8Bd74RlzgxCSQEws3YCZsPlRCboS+UMzON8V/juTXq+sc+CEPw3Pe019RidDqM6ePf2CYGw8iCDVevE+w5XuNIgk/HaUP7E4vR+PybXHRMP5XYKxuT0c/UEb9Zd7oX64cHEpA/njQn+OmqCTTzcvfIXUp4Dc8e9kuuuTGxaqdgwtjJfRT2HbrFbNTYZXkJ6Cem/AlIbHuweewoRgWQN9bp3NJiHftqgla6MnP/i+O6E4cGVSD3Y7b4/g6d1uB8SoFu87744Q02vGH6ge7JX2F7rddI+VVRaO/vTPw7Vd5Gjp4Qd+AmLE235AxpXPmCpCQIjfrafLG5b8AcErrK4pGL3Qw3lD3xaucWY+A6WuV3v/Kq6ausfhox11f9LQOT0jF8PRTQ76adjiN7OjOrCmhdlXKUoLMZ8JSe8c827gXeex0+R/EHiUV3IWa1BL7XuJaT/IZAwtMoo59AG5z5r2o7RVS+3zb4keUnykuQlyUuSlyQvSV6SvCR5SfKS5CXJS5KXJC9J/lMS9wbqtsFv36uVBAc8t1N++OdNVIJVraQpYd8NKXTxOdh3f7+P0fT9Bny6SZOsbC/BvtfTa1ubI5wTiqX8d78y7eoQDX0vsP3qMbZB/uF/3R78ayrxyAGk7VGve3R1TcdwmVAkHb5CNXdkGm/lAm/z0AhqWEcvOEb1dKHoXLw5xBuy1Lk3jq/p20RvFzeJWala4F2Ec11/Mh+Bk9n7EgW1UEHiWmTv6TzAlxdqZYxN7Udyjqq8THf2bZ1h3cyMVwOSWaqQqr4EHyizWgFwtrto3bsFf/B6eq8BbMaXXBq9HYFPQtXE97l3vandx83wa+3JAqtGfcALz+h3b75ToPTdYVD9TDS7nzB8YUPtr5VdxjXExHT1F7aSAgPLXKNl3YkF+2oc0uihpUn+RnJqrdUok9mCy78a4bSXgYQvrPjQNnDsaAvo12sGC7b1dIZr3GK2Zg39ZG9V5HSZSGV/tX4Nrxio9gPGYOUcenyknNk18uXhKGmq4cEVfm1gVgsj02N35/1y9vBIucFAx+qSkaUUZrP7BQZp8F7518Fs9I/u42fezO4RR9lmiwoMBQqd4d0pdeJ4iUSSMNc6+0aheWMUGv9A7LTsKFTwRTUonJ1rFBujPCN4k12i39swc+nYK6zKkMjvWL1r1AlV77F55YOfhrjkJpyasrCSRyVhpjTcniWTbzscRf0gqyKekUd9Ejj1rLg8qp93KV9pTZrPpQbKT8HR5VNvwipB84LowuUZLkHR9xHRUoQcm05eSMQrBraUZ2xZdtDTh1XQa8XryDD0VlU+L50Zrv1ZrIa4xqiSk310t2qWWT691qvERX4/Dmcuu1zIYyHlTeEFSG17CpdLjw/5PKoei7PWG++MmlGrb1pSwpcBCnD7EcxHhXTM6h/pJxdJETuDiYQ3sdHl7ET06Gy1mVWvgFKW1XTAQviJNTTcyMKGOR0RJik/zNN9PMIsjg/ZRC0OvIt3nO0NipzJodSWyTg/idNXkePuoiLzqPJAQQg/d3lCWOjBYr69o4CeHD7UoDDsX8Q1eIF4oUEpr8uXri4bxafWdvRCUatMdsbMSnPt4fbuubuMmR/UNK273YFz2eHpXOTGjgGt8EYRy7Oosi1+o42RYYJIRfTBPPm9w1FV1xD8op338hTTimsrtTWhITSKGcktrlF0mL9ILS4+WGt0wfMZPu3Fml/rQFWap7ksOK7K5vV4V6XylqvHldHHEYTjbE9U3TPovrqIAnT1eo9iKM2fwlG9i/uQfY0ZMh/tbG5iWC0tg1dtoTi+bhQEquss1kVgAijNemLUXP6NlZMInHsTlYA1oiDhM0d7zpkRQ8+zte7Blqymg7WJ7iOhBh6SeWc5JerK3sGrh9spCunQWfRZQXZUewU9ub2M75IJRLyPAikefND4mJh/K962AlWXsU9HqdeHrJZCmTNlPuSbXGgRm7STiZg8BAsFVZi/oRJnmoV+08ifEzso4YtQTdLVpnQklJJ+DHCfcuR+YYTq3kBL44icZ9znU/WkUMfwUbrPAG/FJnqprdF3aUKa1iUdk9TlmTwbRC5HUsT5/tG9XYJ891p7kyZD1w+yUKkxGskZWJ48bt+hYd6rXiDQoqKYgeFcZYrtYRqM3C1eOKWBvj0sMknCGvF6o6AzmZg4konLus3ItO2Ylg1ZS2rD3WqNB76sVpAvTHlw6a4UucLvS2XYYGOfcUg4yBdSaexeMjJUtrAj2p6NztS6lBv1lnEeYs3hKHZL2wqXMla2Xc7sv6Fvztb2VtfcHVeYHFkyxipsROlen7MHmrkfHLBg+wcqLcldNVp7P98esif95FnLoF7M6z33RCfVVVpSWOq1phvb7tKwM3nv4+VdbXIylxcQzXP9K+u7oJF8Pl8ATDf7JvII89CJwiqlfqf4rla2W/MqjWiyw+QMWMPyo1Hz6nmX0Jk2CPip0w3VYCC95/krzCdCoZAbQNXaMbBcHdm3gXxerjnWy3L5Er9/Wmq8hQSg98kZ+U0fTlnNeQu2u5etU16ij1iEnaNKCjhvOrCXAVfryS6LaIwLWSQXCPmJkQ44M4qI4DQXFnG8C05jZwt4F58oh2semo3aJbS/4VBWNtdJXpK3HF3TvHej4QDWhUdhKNtypVxkW/r9mEm0WGT7Fcp1tqnJ2v2uZpcXSfvFfWTXkHIRf0bBrcD68zeYbTAcn0PjzkmyDT2CvV/aZb9cMO/UQsHbcFGBTrlHYehfYD2xMFZ0DN4A4DpSW8QhKCW3rR7w53j7g/0Z9f4C7ZNkEc/yy238PFcGsBesNAJQfGMw4xJEs5HObPS7TH9IcaYtHBMWekuBQkjCjmufA5NtIVCgiiwWJyz8GbgUm+FxS8Y2X+UPXL6QjmWahIJwjhVmO/PVKV8lheh5jPxJlDOEtlWt3+UWVSWEMWJpWVC6n4rE8axbV1AMXT/EWu9KHh7JY7W8UovXmtSRqzZM3/lRAnlsVuzmCQTf5zpz+kPjs8ZWSbNbLSChPswjIOW3veVx8A3TcxV8MJKbHMM6SSdsVyxPDGtLto3Eczm44U2p6gTKGcs2sKIB8NnwWnWchihCzAdO+QYKXq/etwmkjMmC0ql12rVKRMbj04PonLOMSGJR+xTGjV4r/bAdeeqsmGk7Ky/tzZgzpvFZF+nppj1zx76nvk393GRaO2aY/S6Xj+anbASRdXCwDTa3FGbXnXuNzymbncg7RNs9crkRkycvp7fFmVSXtlQq77ic3bH5CLNFDIISFyz2iRj7v0q7eKVAl0IxBex2imgqRdm7VsZiDFHuYwg3a5JNVaLavt6TRqZ+jaQrMDHEekU7emXQAAuJcSmY3xWvlnyu8+hKddef4JzhhLjOm5cFTektwlDhmNc9Vzt8JXGd0yMZ3jJwrJh801duCSr5HJslHRYsL1V/hCu5A+MgfAnfSR0+DeiAcc3KlQMY9t8WR/PkeopEKomijKhur1LIEvfBBFoDAgfucfVzZZoful2ukq1PY+uZN7non/Ml+nBjiGw9EUf7vt3n6ZtqMxi8GZ2RZ/2F8QvHdjwKMe7xzu8gJY48Q0yRc4LPdN2Ey+QGgyH72boLRhqprYQ64urN0/a4cgkuYWuZ8/pQ1JTqLuxHafbk3lXPxBrH9FNQo1fz4TiAsNdXFVVYbZh3X/OzGE7yVev/tVNDzKVSpP0p5WumNq19DtMA6VWSA5g7U7untNcJmzaueXBnROI1SbwEz24aj4OoIoHQwlsjwTsOHIkijFlD9qMoY8bWUf3RqFX3rxYVFIMRd0sxllWQ/qK4/Dq9ZlFJBbxvdGaOzx080s3amS5ytCMkI5yGIsjnyBUWW73+3XoFvdh94lLcvpkghblul4AHB7t/dD/cd4DdCijJRwb5yugmHGcQR3W/MNJ4aORpNoHpUHntrQh+VGnkK25LkXUDTmbUkr1y80PYU53qCTq+eSzq5tcvD+9ITB1Z9Vs0udR188bCGtp4PHEfKHig1rm8ZHrpjqWL5YJYcBlEPd/VRr6cL+IRDsgVPts7UHIpZMLY+j60MsfUALjuYNbzzgFtgBAFDkCYyw3u073Q5YLNS/rnOZj4jiC8bKt/RrZlR055bu8ghqwh5nDmz3cUNnXthetwZqSjE9nsyj4Uzqdezqe9Xo5HXq0Qt44/LUOy2WRPgqvN5Jy6vR45G22CUxaEr1w7iMkzinrZLgeAjhVdqO+cnZ2Suv1wbfj4ksTW6ylRqbXjPjzPlWte6hHEVqGsRBdYdTWa1bOmR7/TJy1eI5npSgZ7RByrSCm4ct0PRb4SzYuBqrpSdLuFModB5qg00P0qMTz+XSkJFeAyKp2TUSAz/3pm5yT/DaXlvydCbqlGXZnauTG1fXzS7zawB77vEVCrFlrD3JNWuoXao4/ZKm/6NlJEq911zUMN836gst4n2e8PZfhJ4xvBs89Wja+DfwcRphURfkA0GKBZ5ijBgGAsJuDGDTmV3nIVHqtSjkfT9Ef7p7YSforfYgpxRUjhFqi81GgFHx+gJ98Spx9/Drvk9bHFTp7I4nzdx2QyrW1aaatWlh7/W8I1qpKVjCVcNw7at2XY2lMNmIUdVZJC5BoCTX0UWBOrRfNbIOQFBtI14ECw+8DMTbaT+WpBQtV8q8UVReNbyLzwIraNH6shMvSh2mOOAx9zzGkcs266N7oczeN8/jilPLN9zRRsYURQN/SF2qyIrdcKDrE2RJ+LchR6jqfxKbbtPdN3Ia1uTDeaCcLoDE0vQ96y7mHX9rVjLzNnnxhmhAwWy0aKqZwRPueYJ9WvimMDOEz1QWCNvd/ooI26VAdnD5hC10J4F9e/jiXjVZaeh72u2mAGB9hloqMbUirbaKtsCCrSLEWF0xCGPKnhXVumzJxJTUxXRLbOwM5UFbTtMv/d9oUtfDbOxbdYqbD5+yOmuk+Pq+6Zd0Czu6Z3UyR7imFdGFzfCnZj2IeiumeamxLZgzZjB/On4o7DhcfqMjsGSwYN9SlgkJrlLij3hkDfFAR6nqjp3xTpzwDJ1bnzQGKGxgM3zC0tvqoUHt15mSvjYNl+OHaUV/EYXw6wmn4sxl2ePsrw/8l0LV/Rv+mcAyLJo8HuC5ZGKj451X16Znt1iuF9XQJ9e6qvu5w8lf1XFe1QnsAxdK5n7HTUSdkLUpu2Sp7++GbPtxO/bTY9YQN6rDAO3lyxR6rrderV4/V3RU44dhkSV+oKlM515a+Nld7zdwJ+tcG01e57As0lHMfI0OqxsdI+6y2qIDkqhULnVOW3k6fOQRe85b7+6ar1K8s+/vKf/wtQSwMEFAACAAgAd4z3SmigejpNAAAAawAAABsAAAB1bml2ZXJzYWwvdW5pdmVyc2FsLnBuZy54bWyzsa/IzVEoSy0qzszPs1Uy1DNQsrfj5bIpKEoty0wtV6gAihnpGUCAkkKlrZIJErc8M6UkA6jCwNgYIZiRmpmeUWKrZG5uChfUB5oJAFBLAQIAABQAAgAIAESUV0cjtE77+wIAALAIAAAUAAAAAAAAAAEAAAAAAAAAAAB1bml2ZXJzYWwvcGxheWVyLnhtbFBLAQIAABQAAgAIAHeM90qHb5M5aCsAALNWAAAXAAAAAAAAAAAAAAAAAC0DAAB1bml2ZXJzYWwvdW5pdmVyc2FsLnBuZ1BLAQIAABQAAgAIAHeM90pooHo6TQAAAGsAAAAbAAAAAAAAAAEAAAAAAMouAAB1bml2ZXJzYWwvdW5pdmVyc2FsLnBuZy54bWxQSwUGAAAAAAMAAwDQAAAAUC8AAAAA"/>
  <p:tag name="ISPRING_SCORM_ENDPOINT" val="&lt;endpoint&gt;&lt;enable&gt;0&lt;/enable&gt;&lt;lrs&gt;http://&lt;/lrs&gt;&lt;auth&gt;0&lt;/auth&gt;&lt;login&gt;&lt;/login&gt;&lt;password&gt;&lt;/password&gt;&lt;key&gt;&lt;/key&gt;&lt;name&gt;&lt;/name&gt;&lt;email&gt;&lt;/email&gt;&lt;/endpoint&gt;&#10;"/>
  <p:tag name="ISPRING_PRESENTATION_TITLE" val="教育培训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0NYhzz3kyjTLiMBTKV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0NYhzz3kyjTLiMBTKVx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0NYhzz3kyjTLiMBTKVx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0NYhzz3kyjTLiMBTKVxw"/>
</p:tagLst>
</file>

<file path=ppt/theme/theme1.xml><?xml version="1.0" encoding="utf-8"?>
<a:theme xmlns:a="http://schemas.openxmlformats.org/drawingml/2006/main" name="www.jpppt.com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qwokcu4">
      <a:majorFont>
        <a:latin typeface="Arial" panose="020F0302020204030204"/>
        <a:ea typeface="微软雅黑"/>
        <a:cs typeface=""/>
      </a:majorFont>
      <a:minorFont>
        <a:latin typeface="Arial" panose="020F0502020204030204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Multicolor">
    <a:dk1>
      <a:srgbClr val="5F5F5F"/>
    </a:dk1>
    <a:lt1>
      <a:srgbClr val="FFFFFF"/>
    </a:lt1>
    <a:dk2>
      <a:srgbClr val="000000"/>
    </a:dk2>
    <a:lt2>
      <a:srgbClr val="707276"/>
    </a:lt2>
    <a:accent1>
      <a:srgbClr val="009DD9"/>
    </a:accent1>
    <a:accent2>
      <a:srgbClr val="FF8300"/>
    </a:accent2>
    <a:accent3>
      <a:srgbClr val="B21DAC"/>
    </a:accent3>
    <a:accent4>
      <a:srgbClr val="D70036"/>
    </a:accent4>
    <a:accent5>
      <a:srgbClr val="707276"/>
    </a:accent5>
    <a:accent6>
      <a:srgbClr val="000000"/>
    </a:accent6>
    <a:hlink>
      <a:srgbClr val="B21DAC"/>
    </a:hlink>
    <a:folHlink>
      <a:srgbClr val="D70036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Couture">
    <a:fillStyleLst>
      <a:solidFill>
        <a:schemeClr val="phClr"/>
      </a:solidFill>
      <a:solidFill>
        <a:schemeClr val="phClr">
          <a:tint val="65000"/>
        </a:schemeClr>
      </a:solidFill>
      <a:solidFill>
        <a:schemeClr val="phClr">
          <a:shade val="80000"/>
          <a:satMod val="180000"/>
        </a:schemeClr>
      </a:solidFill>
    </a:fillStyleLst>
    <a:lnStyleLst>
      <a:ln w="9525" cap="flat" cmpd="sng" algn="ctr">
        <a:solidFill>
          <a:schemeClr val="phClr"/>
        </a:solidFill>
        <a:prstDash val="solid"/>
      </a:ln>
      <a:ln w="10795" cap="flat" cmpd="sng" algn="ctr">
        <a:solidFill>
          <a:schemeClr val="phClr"/>
        </a:solidFill>
        <a:prstDash val="solid"/>
      </a:ln>
      <a:ln w="17145" cap="flat" cmpd="sng" algn="ctr">
        <a:solidFill>
          <a:schemeClr val="phClr">
            <a:shade val="95000"/>
            <a:alpha val="50000"/>
            <a:satMod val="150000"/>
          </a:schemeClr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9050" h="31750" prst="coolSlant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Multicolor">
    <a:dk1>
      <a:srgbClr val="5F5F5F"/>
    </a:dk1>
    <a:lt1>
      <a:srgbClr val="FFFFFF"/>
    </a:lt1>
    <a:dk2>
      <a:srgbClr val="000000"/>
    </a:dk2>
    <a:lt2>
      <a:srgbClr val="707276"/>
    </a:lt2>
    <a:accent1>
      <a:srgbClr val="009DD9"/>
    </a:accent1>
    <a:accent2>
      <a:srgbClr val="FF8300"/>
    </a:accent2>
    <a:accent3>
      <a:srgbClr val="B21DAC"/>
    </a:accent3>
    <a:accent4>
      <a:srgbClr val="D70036"/>
    </a:accent4>
    <a:accent5>
      <a:srgbClr val="707276"/>
    </a:accent5>
    <a:accent6>
      <a:srgbClr val="000000"/>
    </a:accent6>
    <a:hlink>
      <a:srgbClr val="B21DAC"/>
    </a:hlink>
    <a:folHlink>
      <a:srgbClr val="D70036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Couture">
    <a:fillStyleLst>
      <a:solidFill>
        <a:schemeClr val="phClr"/>
      </a:solidFill>
      <a:solidFill>
        <a:schemeClr val="phClr">
          <a:tint val="65000"/>
        </a:schemeClr>
      </a:solidFill>
      <a:solidFill>
        <a:schemeClr val="phClr">
          <a:shade val="80000"/>
          <a:satMod val="180000"/>
        </a:schemeClr>
      </a:solidFill>
    </a:fillStyleLst>
    <a:lnStyleLst>
      <a:ln w="9525" cap="flat" cmpd="sng" algn="ctr">
        <a:solidFill>
          <a:schemeClr val="phClr"/>
        </a:solidFill>
        <a:prstDash val="solid"/>
      </a:ln>
      <a:ln w="10795" cap="flat" cmpd="sng" algn="ctr">
        <a:solidFill>
          <a:schemeClr val="phClr"/>
        </a:solidFill>
        <a:prstDash val="solid"/>
      </a:ln>
      <a:ln w="17145" cap="flat" cmpd="sng" algn="ctr">
        <a:solidFill>
          <a:schemeClr val="phClr">
            <a:shade val="95000"/>
            <a:alpha val="50000"/>
            <a:satMod val="150000"/>
          </a:schemeClr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9050" h="31750" prst="coolSlant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Multicolor">
    <a:dk1>
      <a:srgbClr val="5F5F5F"/>
    </a:dk1>
    <a:lt1>
      <a:srgbClr val="FFFFFF"/>
    </a:lt1>
    <a:dk2>
      <a:srgbClr val="000000"/>
    </a:dk2>
    <a:lt2>
      <a:srgbClr val="707276"/>
    </a:lt2>
    <a:accent1>
      <a:srgbClr val="009DD9"/>
    </a:accent1>
    <a:accent2>
      <a:srgbClr val="FF8300"/>
    </a:accent2>
    <a:accent3>
      <a:srgbClr val="B21DAC"/>
    </a:accent3>
    <a:accent4>
      <a:srgbClr val="D70036"/>
    </a:accent4>
    <a:accent5>
      <a:srgbClr val="707276"/>
    </a:accent5>
    <a:accent6>
      <a:srgbClr val="000000"/>
    </a:accent6>
    <a:hlink>
      <a:srgbClr val="B21DAC"/>
    </a:hlink>
    <a:folHlink>
      <a:srgbClr val="D70036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Couture">
    <a:fillStyleLst>
      <a:solidFill>
        <a:schemeClr val="phClr"/>
      </a:solidFill>
      <a:solidFill>
        <a:schemeClr val="phClr">
          <a:tint val="65000"/>
        </a:schemeClr>
      </a:solidFill>
      <a:solidFill>
        <a:schemeClr val="phClr">
          <a:shade val="80000"/>
          <a:satMod val="180000"/>
        </a:schemeClr>
      </a:solidFill>
    </a:fillStyleLst>
    <a:lnStyleLst>
      <a:ln w="9525" cap="flat" cmpd="sng" algn="ctr">
        <a:solidFill>
          <a:schemeClr val="phClr"/>
        </a:solidFill>
        <a:prstDash val="solid"/>
      </a:ln>
      <a:ln w="10795" cap="flat" cmpd="sng" algn="ctr">
        <a:solidFill>
          <a:schemeClr val="phClr"/>
        </a:solidFill>
        <a:prstDash val="solid"/>
      </a:ln>
      <a:ln w="17145" cap="flat" cmpd="sng" algn="ctr">
        <a:solidFill>
          <a:schemeClr val="phClr">
            <a:shade val="95000"/>
            <a:alpha val="50000"/>
            <a:satMod val="150000"/>
          </a:schemeClr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9050" h="31750" prst="coolSlant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Multicolor">
    <a:dk1>
      <a:srgbClr val="5F5F5F"/>
    </a:dk1>
    <a:lt1>
      <a:srgbClr val="FFFFFF"/>
    </a:lt1>
    <a:dk2>
      <a:srgbClr val="000000"/>
    </a:dk2>
    <a:lt2>
      <a:srgbClr val="707276"/>
    </a:lt2>
    <a:accent1>
      <a:srgbClr val="009DD9"/>
    </a:accent1>
    <a:accent2>
      <a:srgbClr val="FF8300"/>
    </a:accent2>
    <a:accent3>
      <a:srgbClr val="B21DAC"/>
    </a:accent3>
    <a:accent4>
      <a:srgbClr val="D70036"/>
    </a:accent4>
    <a:accent5>
      <a:srgbClr val="707276"/>
    </a:accent5>
    <a:accent6>
      <a:srgbClr val="000000"/>
    </a:accent6>
    <a:hlink>
      <a:srgbClr val="B21DAC"/>
    </a:hlink>
    <a:folHlink>
      <a:srgbClr val="D70036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Couture">
    <a:fillStyleLst>
      <a:solidFill>
        <a:schemeClr val="phClr"/>
      </a:solidFill>
      <a:solidFill>
        <a:schemeClr val="phClr">
          <a:tint val="65000"/>
        </a:schemeClr>
      </a:solidFill>
      <a:solidFill>
        <a:schemeClr val="phClr">
          <a:shade val="80000"/>
          <a:satMod val="180000"/>
        </a:schemeClr>
      </a:solidFill>
    </a:fillStyleLst>
    <a:lnStyleLst>
      <a:ln w="9525" cap="flat" cmpd="sng" algn="ctr">
        <a:solidFill>
          <a:schemeClr val="phClr"/>
        </a:solidFill>
        <a:prstDash val="solid"/>
      </a:ln>
      <a:ln w="10795" cap="flat" cmpd="sng" algn="ctr">
        <a:solidFill>
          <a:schemeClr val="phClr"/>
        </a:solidFill>
        <a:prstDash val="solid"/>
      </a:ln>
      <a:ln w="17145" cap="flat" cmpd="sng" algn="ctr">
        <a:solidFill>
          <a:schemeClr val="phClr">
            <a:shade val="95000"/>
            <a:alpha val="50000"/>
            <a:satMod val="150000"/>
          </a:schemeClr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9050" h="31750" prst="coolSlant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025</TotalTime>
  <Words>2130</Words>
  <Application>Microsoft Office PowerPoint</Application>
  <PresentationFormat>宽屏</PresentationFormat>
  <Paragraphs>246</Paragraphs>
  <Slides>27</Slides>
  <Notes>24</Notes>
  <HiddenSlides>0</HiddenSlides>
  <MMClips>0</MMClips>
  <ScaleCrop>false</ScaleCrop>
  <HeadingPairs>
    <vt:vector size="6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7</vt:i4>
      </vt:variant>
    </vt:vector>
  </HeadingPairs>
  <TitlesOfParts>
    <vt:vector size="34" baseType="lpstr">
      <vt:lpstr>Gill Sans</vt:lpstr>
      <vt:lpstr>等线</vt:lpstr>
      <vt:lpstr>微软雅黑</vt:lpstr>
      <vt:lpstr>Agency FB</vt:lpstr>
      <vt:lpstr>Arial</vt:lpstr>
      <vt:lpstr>Calibri</vt:lpstr>
      <vt:lpstr>www.jpppt.com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www.jpppt.co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templates</dc:title>
  <dc:creator>www.jpppt.com</dc:creator>
  <cp:keywords>www.jpppt.com</cp:keywords>
  <dc:description>www.jpppt.com</dc:description>
  <cp:lastModifiedBy>宇 之灵</cp:lastModifiedBy>
  <cp:revision>347</cp:revision>
  <dcterms:created xsi:type="dcterms:W3CDTF">2018-01-07T13:00:52Z</dcterms:created>
  <dcterms:modified xsi:type="dcterms:W3CDTF">2020-09-15T06:16:45Z</dcterms:modified>
</cp:coreProperties>
</file>